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5.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6.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9.xml" ContentType="application/vnd.openxmlformats-officedocument.theme+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1.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11" r:id="rId3"/>
    <p:sldMasterId id="2147483783" r:id="rId4"/>
    <p:sldMasterId id="2147483813" r:id="rId5"/>
    <p:sldMasterId id="2147483950" r:id="rId6"/>
    <p:sldMasterId id="2147484083" r:id="rId7"/>
    <p:sldMasterId id="2147484101" r:id="rId8"/>
    <p:sldMasterId id="2147484119" r:id="rId9"/>
    <p:sldMasterId id="2147484254" r:id="rId10"/>
  </p:sldMasterIdLst>
  <p:notesMasterIdLst>
    <p:notesMasterId r:id="rId46"/>
  </p:notesMasterIdLst>
  <p:sldIdLst>
    <p:sldId id="2147482495" r:id="rId11"/>
    <p:sldId id="361" r:id="rId12"/>
    <p:sldId id="2147482428" r:id="rId13"/>
    <p:sldId id="266" r:id="rId14"/>
    <p:sldId id="303" r:id="rId15"/>
    <p:sldId id="261" r:id="rId16"/>
    <p:sldId id="2147482545" r:id="rId17"/>
    <p:sldId id="260" r:id="rId18"/>
    <p:sldId id="272" r:id="rId19"/>
    <p:sldId id="302" r:id="rId20"/>
    <p:sldId id="2147482462" r:id="rId21"/>
    <p:sldId id="2147483607" r:id="rId22"/>
    <p:sldId id="296" r:id="rId23"/>
    <p:sldId id="265" r:id="rId24"/>
    <p:sldId id="310" r:id="rId25"/>
    <p:sldId id="312" r:id="rId26"/>
    <p:sldId id="298" r:id="rId27"/>
    <p:sldId id="311" r:id="rId28"/>
    <p:sldId id="329" r:id="rId29"/>
    <p:sldId id="297" r:id="rId30"/>
    <p:sldId id="321" r:id="rId31"/>
    <p:sldId id="322" r:id="rId32"/>
    <p:sldId id="327" r:id="rId33"/>
    <p:sldId id="2147483602" r:id="rId34"/>
    <p:sldId id="299" r:id="rId35"/>
    <p:sldId id="320" r:id="rId36"/>
    <p:sldId id="323" r:id="rId37"/>
    <p:sldId id="325" r:id="rId38"/>
    <p:sldId id="2147482107" r:id="rId39"/>
    <p:sldId id="2147483618" r:id="rId40"/>
    <p:sldId id="263" r:id="rId41"/>
    <p:sldId id="332" r:id="rId42"/>
    <p:sldId id="350" r:id="rId43"/>
    <p:sldId id="304" r:id="rId44"/>
    <p:sldId id="306"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945D4B-6216-431C-A9F8-6057E061B3B5}">
          <p14:sldIdLst>
            <p14:sldId id="2147482495"/>
            <p14:sldId id="361"/>
            <p14:sldId id="2147482428"/>
          </p14:sldIdLst>
        </p14:section>
        <p14:section name="Untitled Section" id="{F64C31CC-0C43-4394-8A9E-1CD4DB5F81EB}">
          <p14:sldIdLst>
            <p14:sldId id="266"/>
            <p14:sldId id="303"/>
            <p14:sldId id="261"/>
            <p14:sldId id="2147482545"/>
            <p14:sldId id="260"/>
            <p14:sldId id="272"/>
            <p14:sldId id="302"/>
            <p14:sldId id="2147482462"/>
            <p14:sldId id="2147483607"/>
          </p14:sldIdLst>
        </p14:section>
        <p14:section name="Untitled Section" id="{864DDCC9-48CD-46A6-A32D-D9ACB1326DE4}">
          <p14:sldIdLst>
            <p14:sldId id="296"/>
            <p14:sldId id="265"/>
            <p14:sldId id="310"/>
            <p14:sldId id="312"/>
          </p14:sldIdLst>
        </p14:section>
        <p14:section name="Untitled Section" id="{619079AC-DCC7-4429-875C-373E37F4AA58}">
          <p14:sldIdLst>
            <p14:sldId id="298"/>
            <p14:sldId id="311"/>
            <p14:sldId id="329"/>
          </p14:sldIdLst>
        </p14:section>
        <p14:section name="Untitled Section" id="{C6549F0D-9F3E-470B-B23C-C8D96FBABDDF}">
          <p14:sldIdLst>
            <p14:sldId id="297"/>
            <p14:sldId id="321"/>
            <p14:sldId id="322"/>
            <p14:sldId id="327"/>
            <p14:sldId id="2147483602"/>
          </p14:sldIdLst>
        </p14:section>
        <p14:section name="Untitled Section" id="{179A0F0A-4E65-40DD-9738-A79D56D76781}">
          <p14:sldIdLst>
            <p14:sldId id="299"/>
            <p14:sldId id="320"/>
            <p14:sldId id="323"/>
            <p14:sldId id="325"/>
            <p14:sldId id="2147482107"/>
          </p14:sldIdLst>
        </p14:section>
        <p14:section name="Untitled Section" id="{574DC0C9-89C4-4172-A308-0A9D683CA336}">
          <p14:sldIdLst>
            <p14:sldId id="2147483618"/>
            <p14:sldId id="263"/>
            <p14:sldId id="332"/>
            <p14:sldId id="350"/>
            <p14:sldId id="304"/>
            <p14:sldId id="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372" y="284"/>
      </p:cViewPr>
      <p:guideLst/>
    </p:cSldViewPr>
  </p:slideViewPr>
  <p:notesTextViewPr>
    <p:cViewPr>
      <p:scale>
        <a:sx n="1" d="1"/>
        <a:sy n="1" d="1"/>
      </p:scale>
      <p:origin x="0" y="0"/>
    </p:cViewPr>
  </p:notesTextViewPr>
  <p:sorterViewPr>
    <p:cViewPr>
      <p:scale>
        <a:sx n="83" d="100"/>
        <a:sy n="83" d="100"/>
      </p:scale>
      <p:origin x="0" y="-101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rey Bennett" userId="94abc317-d2cd-4bde-9892-5b8b4412c71c" providerId="ADAL" clId="{48A4D690-2B94-4C74-8F24-4E2BD610CF9C}"/>
    <pc:docChg chg="custSel modSld modMainMaster">
      <pc:chgData name="Jeffrey Bennett" userId="94abc317-d2cd-4bde-9892-5b8b4412c71c" providerId="ADAL" clId="{48A4D690-2B94-4C74-8F24-4E2BD610CF9C}" dt="2025-10-28T18:05:07.586" v="1" actId="478"/>
      <pc:docMkLst>
        <pc:docMk/>
      </pc:docMkLst>
      <pc:sldChg chg="delSp mod delAnim">
        <pc:chgData name="Jeffrey Bennett" userId="94abc317-d2cd-4bde-9892-5b8b4412c71c" providerId="ADAL" clId="{48A4D690-2B94-4C74-8F24-4E2BD610CF9C}" dt="2025-10-28T18:05:07.586" v="1" actId="478"/>
        <pc:sldMkLst>
          <pc:docMk/>
          <pc:sldMk cId="3338689946" sldId="2147482107"/>
        </pc:sldMkLst>
        <pc:picChg chg="del">
          <ac:chgData name="Jeffrey Bennett" userId="94abc317-d2cd-4bde-9892-5b8b4412c71c" providerId="ADAL" clId="{48A4D690-2B94-4C74-8F24-4E2BD610CF9C}" dt="2025-10-28T18:05:07.586" v="1" actId="478"/>
          <ac:picMkLst>
            <pc:docMk/>
            <pc:sldMk cId="3338689946" sldId="2147482107"/>
            <ac:picMk id="1060" creationId="{803578F5-1B68-91E5-B294-9E71F8085280}"/>
          </ac:picMkLst>
        </pc:picChg>
      </pc:sldChg>
      <pc:sldMasterChg chg="delSp mod">
        <pc:chgData name="Jeffrey Bennett" userId="94abc317-d2cd-4bde-9892-5b8b4412c71c" providerId="ADAL" clId="{48A4D690-2B94-4C74-8F24-4E2BD610CF9C}" dt="2025-10-28T18:00:56.656" v="0" actId="33475"/>
        <pc:sldMasterMkLst>
          <pc:docMk/>
          <pc:sldMasterMk cId="3508951576" sldId="2147483711"/>
        </pc:sldMasterMkLst>
        <pc:spChg chg="del">
          <ac:chgData name="Jeffrey Bennett" userId="94abc317-d2cd-4bde-9892-5b8b4412c71c" providerId="ADAL" clId="{48A4D690-2B94-4C74-8F24-4E2BD610CF9C}" dt="2025-10-28T18:00:56.656" v="0" actId="33475"/>
          <ac:spMkLst>
            <pc:docMk/>
            <pc:sldMasterMk cId="3508951576" sldId="2147483711"/>
            <ac:spMk id="5" creationId="{50A755F8-6403-A16E-80DB-5764AA71D146}"/>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0637B1-A8A7-4B52-A716-F1EDBF0EE7F0}" type="datetimeFigureOut">
              <a:rPr lang="en-US" smtClean="0"/>
              <a:t>10/2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D31A9F-2333-4BB1-92F1-59FC36D26AEE}" type="slidenum">
              <a:rPr lang="en-US" smtClean="0"/>
              <a:t>‹#›</a:t>
            </a:fld>
            <a:endParaRPr lang="en-US"/>
          </a:p>
        </p:txBody>
      </p:sp>
    </p:spTree>
    <p:extLst>
      <p:ext uri="{BB962C8B-B14F-4D97-AF65-F5344CB8AC3E}">
        <p14:creationId xmlns:p14="http://schemas.microsoft.com/office/powerpoint/2010/main" val="1104033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microsoft.com/en/customers/story/22849-chevron-iot-operations/?msockid=08d85f42b27469be0b394a6fb359689d"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microsoft.com/en/customers/story/22686-eneco-microsoft-copilot-studio"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microsoft.com/en/customers/story/1709539049606899869-pacific-gas-and-electric-microsoft-power-apps-energy-usa"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microsoft.com/en/customers/story/1802017730982552224-uniper-se-microsoft-copilot-for-microsoft-365-energy-en-germany?msockid=08d85f42b27469be0b394a6fb359689d"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microsoft.com/en/customers/story/23367-eon-uk-dynamics-365-customer-servic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microsoft.com/en/customers/story/1686511475723076178-petronas-energy-azure-en-malaysia"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icrosoft.com/en/customers/story/1711956075760053884-enerjisauretim-azure-energy-en-turkiy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microsoft.com/en/customers/story/1675611442857614824-akerbp-energy-azure-data-manager-for-energy?msockid=3e404d65e0e667d53e6058eee15c667b"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ka.ms/IndustryUseCases"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s://aka.ms/xaiagents" TargetMode="External"/><Relationship Id="rId4" Type="http://schemas.openxmlformats.org/officeDocument/2006/relationships/hyperlink" Target="https://aka.ms/xaicoe"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microsoft.com/en-us/ai/use-case?msockid=0216c8b3824e60660dfcdd0c83f961c9"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aka.ms/xaiagents" TargetMode="External"/><Relationship Id="rId4" Type="http://schemas.openxmlformats.org/officeDocument/2006/relationships/hyperlink" Target="https://aka.ms/xaicoe"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ckinsey.com/industries/oil-and-gas/our-insights/talent-squeeze-planning-for-the-energy-sectors-talent-transiti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www.bain.com/insights/the-dual-challenge-of-the-energy-transition-is-urgent-and-unprecedented-enr-report-2023/" TargetMode="External"/><Relationship Id="rId4" Type="http://schemas.openxmlformats.org/officeDocument/2006/relationships/hyperlink" Target="https://www.utilitydive.com/news/energy-infrastructure-transmission-transformers-civil-engineers/743698/"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ckinsey.com/capabilities/mckinsey-digital/our-insights/superagency-in-the-workplace-empowering-people-to-unlock-ais-full-potential-at-work"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microsoft.com/en-us/worklab/work-trend-index/2025-the-year-the-frontier-firm-is-born" TargetMode="External"/><Relationship Id="rId5" Type="http://schemas.openxmlformats.org/officeDocument/2006/relationships/hyperlink" Target="https://aiqintelligence.ae/newsroom/news-and-press-releases/ADNOC-and-AIQ-Successfully-Complete-Trial-Phase-of-Agentic-AI-Solution" TargetMode="External"/><Relationship Id="rId4" Type="http://schemas.openxmlformats.org/officeDocument/2006/relationships/hyperlink" Target="https://iea.blob.core.windows.net/assets/b3a8b37f-32d1-4873-9eca-31cec5895264/EnergyandAI.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at I’d like the share with you today is all about this notion of Becoming Frontier.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e going to hear this expression a lot. Some of you may have heard it already in the industry. Effectively, what it means is becoming AI first in everything you do. </a:t>
            </a:r>
          </a:p>
          <a:p>
            <a:endParaRPr lang="en-US" dirty="0"/>
          </a:p>
          <a:p>
            <a:r>
              <a:rPr lang="en-US" dirty="0"/>
              <a:t>Before we dive into the deck, I’d first like to ask a few questions:</a:t>
            </a:r>
          </a:p>
          <a:p>
            <a:endParaRPr lang="en-US" dirty="0"/>
          </a:p>
          <a:p>
            <a:pPr marL="228600" indent="-228600">
              <a:buFont typeface="+mj-lt"/>
              <a:buAutoNum type="arabicPeriod"/>
            </a:pPr>
            <a:r>
              <a:rPr lang="en-US" dirty="0"/>
              <a:t>What are your primary business objectives with AI? </a:t>
            </a:r>
          </a:p>
          <a:p>
            <a:pPr marL="228600" indent="-228600">
              <a:buFont typeface="+mj-lt"/>
              <a:buAutoNum type="arabicPeriod"/>
            </a:pPr>
            <a:endParaRPr lang="en-US" dirty="0"/>
          </a:p>
          <a:p>
            <a:pPr marL="228600" indent="-228600">
              <a:buFont typeface="+mj-lt"/>
              <a:buAutoNum type="arabicPeriod"/>
            </a:pPr>
            <a:r>
              <a:rPr lang="en-US" dirty="0"/>
              <a:t>What would ‘good’ or ‘great’ look like if AI were to help achieve or accelerate your business goals and objectives?</a:t>
            </a:r>
          </a:p>
          <a:p>
            <a:pPr marL="228600" indent="-228600">
              <a:buFont typeface="+mj-lt"/>
              <a:buAutoNum type="arabicPeriod"/>
            </a:pPr>
            <a:endParaRPr lang="en-US" dirty="0"/>
          </a:p>
          <a:p>
            <a:pPr marL="228600" indent="-228600">
              <a:buFont typeface="+mj-lt"/>
              <a:buAutoNum type="arabicPeriod"/>
            </a:pPr>
            <a:r>
              <a:rPr lang="en-US" dirty="0"/>
              <a:t>Have you already tried Copilot, experimented with citizen development, and/or building your own AI solution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64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C1768-839A-7B05-F24C-245FF1214F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26D15E-1BD3-3B81-D01A-4F48EEED4222}"/>
              </a:ext>
            </a:extLst>
          </p:cNvPr>
          <p:cNvSpPr>
            <a:spLocks noGrp="1" noRot="1" noChangeAspect="1"/>
          </p:cNvSpPr>
          <p:nvPr>
            <p:ph type="sldImg"/>
          </p:nvPr>
        </p:nvSpPr>
        <p:spPr>
          <a:xfrm>
            <a:off x="746125" y="1181100"/>
            <a:ext cx="5670550" cy="3189288"/>
          </a:xfrm>
        </p:spPr>
        <p:txBody>
          <a:bodyPr/>
          <a:lstStyle/>
          <a:p>
            <a:endParaRPr lang="en-US"/>
          </a:p>
        </p:txBody>
      </p:sp>
      <p:sp>
        <p:nvSpPr>
          <p:cNvPr id="3" name="Notes Placeholder 2">
            <a:extLst>
              <a:ext uri="{FF2B5EF4-FFF2-40B4-BE49-F238E27FC236}">
                <a16:creationId xmlns:a16="http://schemas.microsoft.com/office/drawing/2014/main" id="{9C1DCF0B-2CC1-7003-1CD9-995839E670A1}"/>
              </a:ext>
            </a:extLst>
          </p:cNvPr>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900">
                <a:latin typeface="Calibri"/>
                <a:ea typeface="Calibri"/>
                <a:cs typeface="Calibri"/>
              </a:rPr>
              <a:t>So how are we thinking about accelerating AI transformation in Energy and Resources?</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900">
              <a:latin typeface="Calibri"/>
              <a:ea typeface="Calibri"/>
              <a:cs typeface="Calibri"/>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w="3175">
                  <a:noFill/>
                </a:ln>
                <a:solidFill>
                  <a:srgbClr val="FFFFFF"/>
                </a:solidFill>
                <a:effectLst/>
                <a:uLnTx/>
                <a:uFillTx/>
                <a:latin typeface="Segoe Sans Display Semibold"/>
                <a:ea typeface="+mn-ea"/>
                <a:cs typeface="Segoe Sans Display Semibold"/>
              </a:rPr>
              <a:t>Enrich employee experiences</a:t>
            </a:r>
            <a:endParaRPr lang="en-US" sz="900" b="1" i="0" u="none" strike="noStrike" kern="1200" cap="none" spc="0" normalizeH="0" baseline="0" noProof="0">
              <a:ln w="3175">
                <a:noFill/>
              </a:ln>
              <a:solidFill>
                <a:srgbClr val="FFFFFF"/>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Semibold"/>
                <a:ea typeface="+mj-lt"/>
                <a:cs typeface="Segoe Sans Display Semibold"/>
              </a:rPr>
              <a:t>Automate</a:t>
            </a:r>
            <a:r>
              <a:rPr kumimoji="0" lang="en-US" sz="900" b="0" i="0" u="none" strike="noStrike" kern="1200" cap="none" spc="0" normalizeH="0" baseline="0" noProof="0">
                <a:ln>
                  <a:noFill/>
                </a:ln>
                <a:solidFill>
                  <a:srgbClr val="000000"/>
                </a:solidFill>
                <a:effectLst/>
                <a:uLnTx/>
                <a:uFillTx/>
                <a:latin typeface="Segoe Sans Display"/>
                <a:ea typeface="+mj-lt"/>
                <a:cs typeface="Segoe Sans Display"/>
              </a:rPr>
              <a:t> workflows, improve worker </a:t>
            </a:r>
            <a:r>
              <a:rPr kumimoji="0" lang="en-US" sz="900" b="0" i="0" u="none" strike="noStrike" kern="1200" cap="none" spc="0" normalizeH="0" baseline="0" noProof="0">
                <a:ln>
                  <a:noFill/>
                </a:ln>
                <a:solidFill>
                  <a:srgbClr val="000000"/>
                </a:solidFill>
                <a:effectLst/>
                <a:uLnTx/>
                <a:uFillTx/>
                <a:latin typeface="Segoe Sans Display Semibold"/>
                <a:ea typeface="+mj-lt"/>
                <a:cs typeface="Segoe Sans Display Semibold"/>
              </a:rPr>
              <a:t>safety</a:t>
            </a:r>
            <a:r>
              <a:rPr kumimoji="0" lang="en-US" sz="900" b="0" i="0" u="none" strike="noStrike" kern="1200" cap="none" spc="0" normalizeH="0" baseline="0" noProof="0">
                <a:ln>
                  <a:noFill/>
                </a:ln>
                <a:solidFill>
                  <a:srgbClr val="000000"/>
                </a:solidFill>
                <a:effectLst/>
                <a:uLnTx/>
                <a:uFillTx/>
                <a:latin typeface="Segoe Sans Display"/>
                <a:ea typeface="+mj-lt"/>
                <a:cs typeface="Segoe Sans Display"/>
              </a:rPr>
              <a:t>, and </a:t>
            </a:r>
            <a:r>
              <a:rPr kumimoji="0" lang="en-US" sz="900" b="0" i="0" u="none" strike="noStrike" kern="1200" cap="none" spc="0" normalizeH="0" baseline="0" noProof="0">
                <a:ln>
                  <a:noFill/>
                </a:ln>
                <a:solidFill>
                  <a:srgbClr val="000000"/>
                </a:solidFill>
                <a:effectLst/>
                <a:uLnTx/>
                <a:uFillTx/>
                <a:latin typeface="Segoe Sans Display Semibold"/>
                <a:ea typeface="+mj-lt"/>
                <a:cs typeface="Segoe Sans Display Semibold"/>
              </a:rPr>
              <a:t>increase productivity</a:t>
            </a:r>
            <a:endParaRPr lang="en-US" sz="900" b="0" i="0" u="none" strike="noStrike" kern="1200" cap="none" spc="0" normalizeH="0" baseline="0" noProof="0">
              <a:ln>
                <a:noFill/>
              </a:ln>
              <a:solidFill>
                <a:srgbClr val="000000"/>
              </a:solidFill>
              <a:effectLst/>
              <a:uLnTx/>
              <a:uFillTx/>
              <a:latin typeface="Segoe Sans Display Semibold"/>
              <a:ea typeface="+mj-lt"/>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1200" b="0" i="0" kern="1200">
              <a:solidFill>
                <a:schemeClr val="tx1"/>
              </a:solidFill>
              <a:effectLst/>
              <a:latin typeface="+mn-lt"/>
              <a:ea typeface="+mn-ea"/>
              <a:cs typeface="+mn-cs"/>
            </a:endParaRPr>
          </a:p>
          <a:p>
            <a:pPr defTabSz="932472" fontAlgn="base">
              <a:spcBef>
                <a:spcPct val="0"/>
              </a:spcBef>
              <a:spcAft>
                <a:spcPct val="0"/>
              </a:spcAft>
              <a:defRPr/>
            </a:pPr>
            <a:r>
              <a:rPr lang="en-US" sz="1200" b="0" i="1" kern="1200">
                <a:solidFill>
                  <a:schemeClr val="tx1"/>
                </a:solidFill>
                <a:effectLst/>
                <a:latin typeface="+mn-lt"/>
                <a:ea typeface="+mn-ea"/>
                <a:cs typeface="+mn-cs"/>
              </a:rPr>
              <a:t>Customer example: </a:t>
            </a:r>
            <a:r>
              <a:rPr lang="en-US" b="0" i="1" kern="1200">
                <a:solidFill>
                  <a:schemeClr val="tx1"/>
                </a:solidFill>
                <a:effectLst/>
              </a:rPr>
              <a:t>Chevron </a:t>
            </a:r>
            <a:r>
              <a:rPr lang="en-US" i="1"/>
              <a:t>enhances worker safety while lowering operational costs </a:t>
            </a:r>
            <a:r>
              <a:rPr lang="en-US" b="0" i="1" kern="1200">
                <a:solidFill>
                  <a:schemeClr val="tx1"/>
                </a:solidFill>
                <a:effectLst/>
              </a:rPr>
              <a:t>with </a:t>
            </a:r>
            <a:r>
              <a:rPr lang="en-US" i="1"/>
              <a:t>real-time insights</a:t>
            </a:r>
            <a:endParaRPr lang="en-US" b="0" i="1" kern="1200">
              <a:solidFill>
                <a:schemeClr val="tx1"/>
              </a:solidFill>
              <a:effectLst/>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900" i="1">
              <a:latin typeface="Calibri"/>
              <a:ea typeface="Calibri"/>
              <a:cs typeface="Calibri"/>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900" b="1">
                <a:solidFill>
                  <a:srgbClr val="FFFFFF"/>
                </a:solidFill>
                <a:latin typeface="Segoe Sans Display Semibold"/>
                <a:cs typeface="Segoe Sans Display Semibold"/>
              </a:rPr>
              <a:t>Reinvent customer engagement</a:t>
            </a:r>
            <a:endParaRPr lang="en-US" sz="900" b="1" i="0" u="none" strike="noStrike" kern="1200" cap="none" spc="0" normalizeH="0" baseline="0" noProof="0">
              <a:ln w="3175">
                <a:noFill/>
              </a:ln>
              <a:solidFill>
                <a:srgbClr val="FFFFFF"/>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Integrate AI agents </a:t>
            </a:r>
            <a:r>
              <a:rPr kumimoji="0" lang="en-US" sz="900" b="0" i="0" u="none" strike="noStrike" kern="1200" cap="none" spc="0" normalizeH="0" baseline="0" noProof="0">
                <a:ln>
                  <a:noFill/>
                </a:ln>
                <a:solidFill>
                  <a:srgbClr val="000000"/>
                </a:solidFill>
                <a:effectLst/>
                <a:uLnTx/>
                <a:uFillTx/>
                <a:latin typeface="Segoe Sans Display"/>
                <a:ea typeface="+mj-lt"/>
                <a:cs typeface="Segoe Sans Display"/>
              </a:rPr>
              <a:t>to improve frontline and field service experiences and </a:t>
            </a: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better support customers</a:t>
            </a:r>
            <a:endParaRPr lang="en-US" sz="900" b="0" i="0" u="none" strike="noStrike" kern="1200" cap="none" spc="0" normalizeH="0" baseline="0" noProof="0">
              <a:ln>
                <a:noFill/>
              </a:ln>
              <a:solidFill>
                <a:srgbClr val="000000"/>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900">
              <a:latin typeface="Calibri"/>
              <a:ea typeface="Calibri"/>
              <a:cs typeface="Calibri"/>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800" b="0" i="1" kern="1200">
                <a:solidFill>
                  <a:schemeClr val="tx1"/>
                </a:solidFill>
                <a:effectLst/>
                <a:latin typeface="+mn-lt"/>
                <a:ea typeface="+mn-ea"/>
                <a:cs typeface="+mn-cs"/>
              </a:rPr>
              <a:t>Customer example: </a:t>
            </a:r>
            <a:r>
              <a:rPr lang="en-US" sz="900" b="0" i="1" kern="1200">
                <a:solidFill>
                  <a:schemeClr val="tx1"/>
                </a:solidFill>
                <a:effectLst/>
                <a:latin typeface="+mn-lt"/>
                <a:ea typeface="+mn-ea"/>
                <a:cs typeface="+mn-cs"/>
              </a:rPr>
              <a:t>Eneco developed a new AI-driven agent using Copilot Studio and resolved 70% more customer conversations without a live representative.</a:t>
            </a:r>
            <a:endParaRPr lang="en-US" sz="800" b="0" i="1">
              <a:latin typeface="Calibri"/>
              <a:ea typeface="Calibri"/>
              <a:cs typeface="Calibr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900">
              <a:latin typeface="Calibri"/>
              <a:ea typeface="Calibri"/>
              <a:cs typeface="Calibri"/>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w="3175">
                  <a:noFill/>
                </a:ln>
                <a:solidFill>
                  <a:srgbClr val="FFFFFF"/>
                </a:solidFill>
                <a:effectLst/>
                <a:uLnTx/>
                <a:uFillTx/>
                <a:latin typeface="Segoe Sans Display Semibold"/>
                <a:ea typeface="+mn-ea"/>
                <a:cs typeface="Segoe Sans Display Semibold"/>
              </a:rPr>
              <a:t>Reshape business processes with AI</a:t>
            </a:r>
            <a:endParaRPr lang="en-US" sz="900" b="1" i="0" u="none" strike="noStrike" kern="1200" cap="none" spc="0" normalizeH="0" baseline="0" noProof="0">
              <a:ln w="3175">
                <a:noFill/>
              </a:ln>
              <a:solidFill>
                <a:srgbClr val="FFFFFF"/>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a:cs typeface="Segoe Sans Display"/>
              </a:rPr>
              <a:t>Operate for </a:t>
            </a: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a secure and efficient energy future </a:t>
            </a:r>
            <a:r>
              <a:rPr kumimoji="0" lang="en-US" sz="900" b="0" i="0" u="none" strike="noStrike" kern="1200" cap="none" spc="0" normalizeH="0" baseline="0" noProof="0">
                <a:ln>
                  <a:noFill/>
                </a:ln>
                <a:solidFill>
                  <a:srgbClr val="000000"/>
                </a:solidFill>
                <a:effectLst/>
                <a:uLnTx/>
                <a:uFillTx/>
                <a:latin typeface="Segoe Sans Display"/>
                <a:cs typeface="Segoe Sans Display"/>
              </a:rPr>
              <a:t>and power the </a:t>
            </a: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intelligent energy system</a:t>
            </a:r>
            <a:endParaRPr lang="en-US" sz="900" b="0" i="0" u="none" strike="noStrike" kern="1200" cap="none" spc="0" normalizeH="0" baseline="0" noProof="0">
              <a:ln>
                <a:noFill/>
              </a:ln>
              <a:solidFill>
                <a:srgbClr val="000000"/>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Segoe Sans Display"/>
              <a:cs typeface="Segoe Sans Display Semibold" pitchFamily="2"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Segoe Sans Display"/>
                <a:cs typeface="Segoe Sans Display"/>
              </a:rPr>
              <a:t>Customer example: </a:t>
            </a:r>
            <a:r>
              <a:rPr lang="en-US" sz="900" b="0" i="1" kern="1200">
                <a:solidFill>
                  <a:schemeClr val="tx1"/>
                </a:solidFill>
                <a:effectLst/>
                <a:latin typeface="+mn-lt"/>
                <a:ea typeface="+mn-ea"/>
                <a:cs typeface="+mn-cs"/>
              </a:rPr>
              <a:t>Powering the energy transition with AI and Copilot for Microsoft 365: Uniper optimizes processes and simplifies day-to-day operations</a:t>
            </a:r>
            <a:endParaRPr lang="en-US" sz="900" b="0" i="1" kern="1200">
              <a:solidFill>
                <a:schemeClr val="tx1"/>
              </a:solidFill>
              <a:effectLst/>
              <a:latin typeface="+mn-lt"/>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Sans Display Semibold"/>
              <a:cs typeface="Segoe Sans Display Semibold" pitchFamily="2"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w="3175">
                  <a:noFill/>
                </a:ln>
                <a:solidFill>
                  <a:srgbClr val="FFFFFF"/>
                </a:solidFill>
                <a:effectLst/>
                <a:uLnTx/>
                <a:uFillTx/>
                <a:latin typeface="Segoe Sans Display Semibold"/>
                <a:ea typeface="+mn-ea"/>
                <a:cs typeface="Segoe Sans Display Semibold"/>
              </a:rPr>
              <a:t>Bend the curve on innovati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a:cs typeface="Segoe Sans Display"/>
              </a:rPr>
              <a:t>Use</a:t>
            </a: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 data insights to ignite climate innovation </a:t>
            </a:r>
            <a:r>
              <a:rPr kumimoji="0" lang="en-US" sz="900" b="0" i="0" u="none" strike="noStrike" kern="1200" cap="none" spc="0" normalizeH="0" baseline="0" noProof="0">
                <a:ln>
                  <a:noFill/>
                </a:ln>
                <a:solidFill>
                  <a:srgbClr val="000000"/>
                </a:solidFill>
                <a:effectLst/>
                <a:uLnTx/>
                <a:uFillTx/>
                <a:latin typeface="Segoe Sans Display"/>
                <a:cs typeface="Segoe Sans Display"/>
              </a:rPr>
              <a:t>and drive </a:t>
            </a:r>
            <a:r>
              <a:rPr kumimoji="0" lang="en-US" sz="900" b="0" i="0" u="none" strike="noStrike" kern="1200" cap="none" spc="0" normalizeH="0" baseline="0" noProof="0">
                <a:ln>
                  <a:noFill/>
                </a:ln>
                <a:solidFill>
                  <a:srgbClr val="000000"/>
                </a:solidFill>
                <a:effectLst/>
                <a:uLnTx/>
                <a:uFillTx/>
                <a:latin typeface="Segoe Sans Display Semibold"/>
                <a:cs typeface="Segoe Sans Display Semibold"/>
              </a:rPr>
              <a:t>sustainable business growth</a:t>
            </a:r>
            <a:endParaRPr lang="en-US" sz="900" b="0" i="0" u="none" strike="noStrike" kern="1200" cap="none" spc="0" normalizeH="0" baseline="0" noProof="0">
              <a:ln>
                <a:noFill/>
              </a:ln>
              <a:solidFill>
                <a:srgbClr val="000000"/>
              </a:solidFill>
              <a:effectLst/>
              <a:uLnTx/>
              <a:uFillTx/>
              <a:latin typeface="Segoe Sans Display Semibold"/>
              <a:cs typeface="Segoe Sans Display Semibold"/>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1200" b="0" i="1" kern="1200">
              <a:solidFill>
                <a:schemeClr val="tx1"/>
              </a:solidFill>
              <a:effectLst/>
              <a:latin typeface="+mn-lt"/>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Segoe Sans Display Semibold"/>
                <a:cs typeface="Segoe Sans Display Semibold"/>
              </a:rPr>
              <a:t>Customer example: </a:t>
            </a:r>
            <a:r>
              <a:rPr lang="en-US" sz="1200" b="0" i="1" kern="1200">
                <a:solidFill>
                  <a:schemeClr val="tx1"/>
                </a:solidFill>
                <a:effectLst/>
                <a:latin typeface="+mn-lt"/>
                <a:ea typeface="+mn-ea"/>
                <a:cs typeface="+mn-cs"/>
              </a:rPr>
              <a:t>PETRONAS drives quality decision-making with fast, easy access to intelligent data hub built on Azure</a:t>
            </a:r>
            <a:endParaRPr lang="en-US" sz="1200" b="0" i="1" kern="1200">
              <a:solidFill>
                <a:schemeClr val="tx1"/>
              </a:solidFill>
              <a:effectLst/>
              <a:latin typeface="+mn-lt"/>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1200" b="0" i="1" kern="1200">
              <a:solidFill>
                <a:schemeClr val="tx1"/>
              </a:solidFill>
              <a:effectLst/>
              <a:latin typeface="+mn-lt"/>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Sans Display Semibold"/>
              <a:cs typeface="Segoe Sans Display Semibold" pitchFamily="2"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Sans Display Semibold"/>
              <a:cs typeface="Segoe Sans Display Semibold" pitchFamily="2"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900">
              <a:latin typeface="Calibri"/>
              <a:ea typeface="Calibri"/>
              <a:cs typeface="Calibri"/>
            </a:endParaRPr>
          </a:p>
        </p:txBody>
      </p:sp>
      <p:sp>
        <p:nvSpPr>
          <p:cNvPr id="4" name="Slide Number Placeholder 3">
            <a:extLst>
              <a:ext uri="{FF2B5EF4-FFF2-40B4-BE49-F238E27FC236}">
                <a16:creationId xmlns:a16="http://schemas.microsoft.com/office/drawing/2014/main" id="{BBFAA79D-481E-4647-9C4B-CFE36BEE688A}"/>
              </a:ext>
            </a:extLst>
          </p:cNvPr>
          <p:cNvSpPr>
            <a:spLocks noGrp="1"/>
          </p:cNvSpPr>
          <p:nvPr>
            <p:ph type="sldNum" sz="quarter" idx="5"/>
          </p:nvPr>
        </p:nvSpPr>
        <p:spPr/>
        <p:txBody>
          <a:bodyPr/>
          <a:lstStyle/>
          <a:p>
            <a:pPr marL="0" marR="0" lvl="0" indent="0" algn="r" defTabSz="1003343"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03343"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5984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C3617-40CD-B3EA-3934-473352E1AC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18487B-0325-8610-8DC9-739FF71B16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07878E-7305-C905-778F-E176A01FBF73}"/>
              </a:ext>
            </a:extLst>
          </p:cNvPr>
          <p:cNvSpPr>
            <a:spLocks noGrp="1"/>
          </p:cNvSpPr>
          <p:nvPr>
            <p:ph type="body" idx="1"/>
          </p:nvPr>
        </p:nvSpPr>
        <p:spPr/>
        <p:txBody>
          <a:bodyPr/>
          <a:lstStyle/>
          <a:p>
            <a:pPr rtl="0" fontAlgn="base"/>
            <a:r>
              <a:rPr lang="en-US" sz="1200" b="0" i="0" u="none" strike="noStrike" kern="1200">
                <a:solidFill>
                  <a:schemeClr val="tx1"/>
                </a:solidFill>
                <a:effectLst/>
                <a:latin typeface="+mn-lt"/>
                <a:ea typeface="+mn-ea"/>
                <a:cs typeface="+mn-cs"/>
              </a:rPr>
              <a:t>At Microsoft, we believe that AI is a powerful tool to empower employees across organizations and create tangible value. To ensure your AI investments are truly impactful, we’ve developed something of a checklist based on four key pillars of AI transformation.</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First, let's talk about enriching the employee experience. Is your AI strategy making your people more productive and engaged? Are they enjoying their work more? A positive employee experience is crucial for attracting and retaining top talent, which in turn drives the next generation of growth for your company. AI can help create a more dynamic and fulfilling work environment, making your company more competitive in the talent market by –</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enabling AI copilots and agents for field workers to summarize work orders, generate inspection reports, and provide safety guidance in real time</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improving training and upskilling to increase productivity and efficiency</a:t>
            </a:r>
          </a:p>
          <a:p>
            <a:pPr marL="457200" marR="0" lvl="1"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Second, consider how you are reinventing customer engagement through AI. Are you able to connect with more customers at scale through better personalization? AI can help you understand your customers' needs and preferences better, allowing you to offer tailored products and services. This enhanced connection with your clientele can significantly grow your business by –</a:t>
            </a:r>
            <a:endParaRPr lang="en-US" sz="1200" b="0" i="0" kern="1200">
              <a:solidFill>
                <a:schemeClr val="tx1"/>
              </a:solidFill>
              <a:effectLst/>
              <a:latin typeface="+mn-lt"/>
              <a:ea typeface="+mn-ea"/>
              <a:cs typeface="+mn-cs"/>
            </a:endParaRP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reducing case volumes, improving response times, and enhancing service consistency</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deploying autonomous agents to handle inquiries, complex issues, and to deliver personalized, real-time updat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forecasting market trends and demand to better plan and respond to customer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Third, think about reshaping your business processes with AI. Traditional business processes are often artifacts of human workflows. By reimagining these processes with an AI-first approach, you can streamline operations and increase efficiency. Imagine having AI agents and Copilots working alongside your team, amplifying human ambition and getting more work done.</a:t>
            </a:r>
            <a:r>
              <a:rPr lang="en-US" sz="1200" b="0" i="0" kern="1200">
                <a:solidFill>
                  <a:schemeClr val="tx1"/>
                </a:solidFill>
                <a:effectLst/>
                <a:latin typeface="+mn-lt"/>
                <a:ea typeface="+mn-ea"/>
                <a:cs typeface="+mn-cs"/>
              </a:rPr>
              <a:t>​ Reshape your business processes by –</a:t>
            </a:r>
            <a:endParaRPr kumimoji="0" lang="en-US" sz="1200" b="0" i="0" u="none" strike="noStrike" kern="1200" cap="none" spc="0" normalizeH="0" baseline="0">
              <a:ln>
                <a:noFill/>
              </a:ln>
              <a:solidFill>
                <a:schemeClr val="tx1"/>
              </a:solidFill>
              <a:effectLst/>
              <a:uLnTx/>
              <a:uFillTx/>
              <a:latin typeface="+mn-lt"/>
              <a:ea typeface="+mn-ea"/>
              <a:cs typeface="+mn-cs"/>
            </a:endParaRP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harnessing AI to optimize supply chains, secure assets, and power intelligent systems</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forecasting transformer failure or substation degradation</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optimizing vegetation management programs with AI vision models and satellite analysi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Finally, ask yourself if you are bending the curve on innovation. Are you using AI to develop products faster and bring them to market more efficiently? AI can accelerate your innovation cycle, helping you stay ahead of the competition and drive business growth.</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growing sustainable, AI-powered business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develop better battery storage materials and decarbonization method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simulate DER integration scenarios to stress-test grid flexibility and investment planning</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marL="0" indent="0" defTabSz="960912" fontAlgn="base">
              <a:spcBef>
                <a:spcPct val="0"/>
              </a:spcBef>
              <a:spcAft>
                <a:spcPct val="0"/>
              </a:spcAft>
              <a:buFont typeface="Arial" panose="020B0604020202020204" pitchFamily="34" charset="0"/>
              <a:buNone/>
              <a:defRPr/>
            </a:pPr>
            <a:endParaRPr lang="en-US" sz="900">
              <a:latin typeface="Calibri"/>
              <a:ea typeface="Calibri"/>
              <a:cs typeface="Calibri"/>
            </a:endParaRPr>
          </a:p>
          <a:p>
            <a:endParaRPr lang="en-US"/>
          </a:p>
        </p:txBody>
      </p:sp>
      <p:sp>
        <p:nvSpPr>
          <p:cNvPr id="4" name="Slide Number Placeholder 3">
            <a:extLst>
              <a:ext uri="{FF2B5EF4-FFF2-40B4-BE49-F238E27FC236}">
                <a16:creationId xmlns:a16="http://schemas.microsoft.com/office/drawing/2014/main" id="{A551EBCA-F0A1-9084-DF71-CC8F0256FD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56D9E1-727D-4D12-9D7B-7DB3DB775326}"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6830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CEC8F-BCA7-5655-F5B9-F215D6A143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5F7BDD-7AC0-AEEC-E490-244F6038A0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EE93CA-6B40-A171-E431-CBE915577375}"/>
              </a:ext>
            </a:extLst>
          </p:cNvPr>
          <p:cNvSpPr>
            <a:spLocks noGrp="1"/>
          </p:cNvSpPr>
          <p:nvPr>
            <p:ph type="body" idx="1"/>
          </p:nvPr>
        </p:nvSpPr>
        <p:spPr/>
        <p:txBody>
          <a:bodyPr/>
          <a:lstStyle/>
          <a:p>
            <a:pPr rtl="0" fontAlgn="base"/>
            <a:r>
              <a:rPr lang="en-US" sz="1200" b="0" i="0" u="none" strike="noStrike" kern="1200">
                <a:solidFill>
                  <a:schemeClr val="tx1"/>
                </a:solidFill>
                <a:effectLst/>
                <a:latin typeface="+mn-lt"/>
                <a:ea typeface="+mn-ea"/>
                <a:cs typeface="+mn-cs"/>
              </a:rPr>
              <a:t>AI is a powerful tool to empower employees across organizations and create tangible value. To ensure your AI investments are truly impactful, we’ve developed something of a checklist based on four key pillars of AI transformation.</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First, let's talk about enriching the employee experience. Is your AI strategy making your people more productive and engaged? Are they enjoying their work more? A positive employee experience is crucial for attracting and retaining top talent, which in turn drives the next generation of growth for your company. AI can help create a more dynamic and fulfilling work environment, making your company more competitive in the talent market by –</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enabling AI copilots and agents for field workers to summarize work orders, generate inspection reports, and provide safety guidance in real time</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improving training and upskilling to increase productivity and efficiency</a:t>
            </a:r>
          </a:p>
          <a:p>
            <a:pPr marL="457200" marR="0" lvl="1"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Second, consider how you are reinventing customer engagement through AI. Are you able to connect with more customers at scale through better personalization? AI can help you understand your customers' needs and preferences better, allowing you to offer tailored products and services. This enhanced connection with your clientele can significantly grow your business by –</a:t>
            </a:r>
            <a:endParaRPr lang="en-US" sz="1200" b="0" i="0" kern="1200">
              <a:solidFill>
                <a:schemeClr val="tx1"/>
              </a:solidFill>
              <a:effectLst/>
              <a:latin typeface="+mn-lt"/>
              <a:ea typeface="+mn-ea"/>
              <a:cs typeface="+mn-cs"/>
            </a:endParaRP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reducing case volumes, improving response times, and enhancing service consistency</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deploying autonomous agents to handle inquiries, complex issues, and to deliver personalized, real-time updat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forecasting market trends and demand to better plan and respond to customer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Third, think about reshaping your business processes with AI. Traditional business processes are often artifacts of human workflows. By reimagining these processes with an AI-first approach, you can streamline operations and increase efficiency. Imagine having AI agents and Copilots working alongside your team, amplifying human ambition and getting more work done.</a:t>
            </a:r>
            <a:r>
              <a:rPr lang="en-US" sz="1200" b="0" i="0" kern="1200">
                <a:solidFill>
                  <a:schemeClr val="tx1"/>
                </a:solidFill>
                <a:effectLst/>
                <a:latin typeface="+mn-lt"/>
                <a:ea typeface="+mn-ea"/>
                <a:cs typeface="+mn-cs"/>
              </a:rPr>
              <a:t>​ Reshape your business processes by –</a:t>
            </a:r>
            <a:endParaRPr kumimoji="0" lang="en-US" sz="1200" b="0" i="0" u="none" strike="noStrike" kern="1200" cap="none" spc="0" normalizeH="0" baseline="0">
              <a:ln>
                <a:noFill/>
              </a:ln>
              <a:solidFill>
                <a:schemeClr val="tx1"/>
              </a:solidFill>
              <a:effectLst/>
              <a:uLnTx/>
              <a:uFillTx/>
              <a:latin typeface="+mn-lt"/>
              <a:ea typeface="+mn-ea"/>
              <a:cs typeface="+mn-cs"/>
            </a:endParaRP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harnessing AI to optimize supply chains, secure assets, and power intelligent systems</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forecasting transformer failure or substation degradation</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optimizing vegetation management programs with AI vision models and satellite analysi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Finally, ask yourself if you are bending the curve on innovation. Are you using AI to develop products faster and bring them to market more efficiently? AI can accelerate your innovation cycle, helping you stay ahead of the competition and drive business growth.</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growing sustainable, AI-powered business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develop better battery storage materials and decarbonization method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simulate DER integration scenarios to stress-test grid flexibility and investment planning</a:t>
            </a:r>
          </a:p>
          <a:p>
            <a:endParaRPr lang="en-US"/>
          </a:p>
        </p:txBody>
      </p:sp>
      <p:sp>
        <p:nvSpPr>
          <p:cNvPr id="4" name="Slide Number Placeholder 3">
            <a:extLst>
              <a:ext uri="{FF2B5EF4-FFF2-40B4-BE49-F238E27FC236}">
                <a16:creationId xmlns:a16="http://schemas.microsoft.com/office/drawing/2014/main" id="{D1F34560-2977-CD43-94D1-2996FB0F1D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D362EB-DF38-4089-A3DB-6D3F6A37E8E8}"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5664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793A8-00F2-89EA-33DE-B590AE9CA2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A2CDB-0B76-25BD-3EF8-B70EEFB3E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F290F-1A2E-5397-8F35-0F715A1E454B}"/>
              </a:ext>
            </a:extLst>
          </p:cNvPr>
          <p:cNvSpPr>
            <a:spLocks noGrp="1"/>
          </p:cNvSpPr>
          <p:nvPr>
            <p:ph type="body" idx="1"/>
          </p:nvPr>
        </p:nvSpPr>
        <p:spPr/>
        <p:txBody>
          <a:bodyPr/>
          <a:lstStyle/>
          <a:p>
            <a:r>
              <a:rPr lang="en-US" sz="1200">
                <a:cs typeface="Segoe UI" panose="020B0502040204020203" pitchFamily="34" charset="0"/>
              </a:rPr>
              <a:t>Let’s start with enriching employee experiences:</a:t>
            </a:r>
          </a:p>
          <a:p>
            <a:endParaRPr lang="en-US" sz="1200">
              <a:cs typeface="Segoe UI" panose="020B0502040204020203" pitchFamily="34" charset="0"/>
            </a:endParaRPr>
          </a:p>
          <a:p>
            <a:r>
              <a:rPr lang="en-US" sz="1200">
                <a:cs typeface="Segoe UI" panose="020B0502040204020203" pitchFamily="34" charset="0"/>
              </a:rPr>
              <a:t>Generative AI is a transformative technology that offers significant potential for enhancing employee productivity and wellbeing.</a:t>
            </a:r>
          </a:p>
          <a:p>
            <a:endParaRPr lang="en-US" sz="1200">
              <a:cs typeface="Segoe UI" panose="020B0502040204020203" pitchFamily="34" charset="0"/>
            </a:endParaRPr>
          </a:p>
          <a:p>
            <a:r>
              <a:rPr lang="en-US" sz="1200">
                <a:cs typeface="Segoe UI" panose="020B0502040204020203" pitchFamily="34" charset="0"/>
              </a:rPr>
              <a:t>It can automate routine tasks, allowing employees to focus on more complex and creative work. This shift can lead to a more stimulating work environment and higher job satisfaction.</a:t>
            </a:r>
          </a:p>
          <a:p>
            <a:endParaRPr lang="en-US" sz="1200">
              <a:cs typeface="Segoe UI" panose="020B0502040204020203" pitchFamily="34" charset="0"/>
            </a:endParaRPr>
          </a:p>
          <a:p>
            <a:r>
              <a:rPr lang="en-US" sz="1200">
                <a:cs typeface="Segoe UI" panose="020B0502040204020203" pitchFamily="34" charset="0"/>
              </a:rPr>
              <a:t>It can provide tools that can generate new ideas, products, and services, generative AI can spark innovation within organizations. Employees can leverage AI to explore new possibilities and drive growth.</a:t>
            </a:r>
          </a:p>
          <a:p>
            <a:endParaRPr lang="en-US" sz="1200">
              <a:cs typeface="Segoe UI" panose="020B0502040204020203" pitchFamily="34" charset="0"/>
            </a:endParaRPr>
          </a:p>
          <a:p>
            <a:r>
              <a:rPr lang="en-US" sz="1200">
                <a:cs typeface="Segoe UI" panose="020B0502040204020203" pitchFamily="34" charset="0"/>
              </a:rPr>
              <a:t>AI can analyze vast amounts of data to provide insights that inform better decision-making. This can lead to more strategic and effective business outcomes.</a:t>
            </a:r>
          </a:p>
          <a:p>
            <a:endParaRPr lang="en-US" sz="1200">
              <a:cs typeface="Segoe UI" panose="020B0502040204020203" pitchFamily="34" charset="0"/>
            </a:endParaRPr>
          </a:p>
          <a:p>
            <a:r>
              <a:rPr lang="en-US" sz="1200">
                <a:cs typeface="Segoe UI" panose="020B0502040204020203" pitchFamily="34" charset="0"/>
              </a:rPr>
              <a:t>It can even support employee learning by offering personalized training and development opportunities. </a:t>
            </a:r>
          </a:p>
          <a:p>
            <a:endParaRPr lang="en-US" sz="1200">
              <a:cs typeface="Segoe UI" panose="020B0502040204020203" pitchFamily="34" charset="0"/>
            </a:endParaRPr>
          </a:p>
          <a:p>
            <a:r>
              <a:rPr lang="en-US" sz="1200">
                <a:cs typeface="Segoe UI" panose="020B0502040204020203" pitchFamily="34" charset="0"/>
              </a:rPr>
              <a:t>And ultimately, by reducing the time spent on mundane tasks, generative AI can contribute to better work-life balance. Employees can enjoy a more flexible work schedule and reduced stress levels.</a:t>
            </a:r>
          </a:p>
          <a:p>
            <a:endParaRPr lang="en-US" sz="1200">
              <a:cs typeface="Segoe UI" panose="020B0502040204020203" pitchFamily="34" charset="0"/>
            </a:endParaRPr>
          </a:p>
          <a:p>
            <a:r>
              <a:rPr lang="en-US" sz="1200">
                <a:cs typeface="Segoe UI" panose="020B0502040204020203" pitchFamily="34" charset="0"/>
              </a:rPr>
              <a:t>Let’s look at a few real-world customer examples…</a:t>
            </a:r>
          </a:p>
          <a:p>
            <a:endParaRPr lang="en-US"/>
          </a:p>
        </p:txBody>
      </p:sp>
      <p:sp>
        <p:nvSpPr>
          <p:cNvPr id="4" name="Slide Number Placeholder 3">
            <a:extLst>
              <a:ext uri="{FF2B5EF4-FFF2-40B4-BE49-F238E27FC236}">
                <a16:creationId xmlns:a16="http://schemas.microsoft.com/office/drawing/2014/main" id="{EC8973D3-2ED3-15DC-4AFF-1885FB042D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2350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F50CA-9A09-4FDF-4E0D-62FFFC982B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89D2B7-B13D-D42A-109B-62B78E0B0E9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884B682-5402-0F90-1456-3EFC86EBBD7B}"/>
              </a:ext>
            </a:extLst>
          </p:cNvPr>
          <p:cNvSpPr>
            <a:spLocks noGrp="1"/>
          </p:cNvSpPr>
          <p:nvPr>
            <p:ph type="body" idx="1"/>
          </p:nvPr>
        </p:nvSpPr>
        <p:spPr/>
        <p:txBody>
          <a:bodyPr/>
          <a:lstStyle/>
          <a:p>
            <a:pPr marL="0" marR="0" indent="0">
              <a:spcAft>
                <a:spcPts val="550"/>
              </a:spcAft>
              <a:buFont typeface="Arial" panose="020B0604020202020204" pitchFamily="34" charset="0"/>
              <a:buNone/>
            </a:pPr>
            <a:r>
              <a:rPr lang="en-US" b="1" dirty="0"/>
              <a:t>Enrich employee experiences </a:t>
            </a:r>
            <a:r>
              <a:rPr lang="en-US" dirty="0"/>
              <a:t>by using AI to help automate routine workflows and enhance learning, skilling, and collaboration. By empowering an AI-first energy and resources workforce, teams are seeing:</a:t>
            </a:r>
          </a:p>
          <a:p>
            <a:pPr marL="171450" marR="0" indent="-171450">
              <a:spcAft>
                <a:spcPts val="550"/>
              </a:spcAft>
              <a:buFont typeface="Arial" panose="020B0604020202020204" pitchFamily="34" charset="0"/>
              <a:buChar char="•"/>
            </a:pPr>
            <a:r>
              <a:rPr lang="en-US" dirty="0"/>
              <a:t>Field workers use AI copilots and agents to summarize work orders and generate inspection reports in real time. This means more time focused on high-value tasks.</a:t>
            </a:r>
          </a:p>
          <a:p>
            <a:pPr marL="171450" marR="0" indent="-171450">
              <a:spcAft>
                <a:spcPts val="550"/>
              </a:spcAft>
              <a:buFont typeface="Arial" panose="020B0604020202020204" pitchFamily="34" charset="0"/>
              <a:buChar char="•"/>
            </a:pPr>
            <a:r>
              <a:rPr lang="en-US" dirty="0"/>
              <a:t>Improved training and upskilling - increasing productivity and efficiency across teams.</a:t>
            </a:r>
          </a:p>
          <a:p>
            <a:pPr marL="171450" marR="0" indent="-171450">
              <a:spcAft>
                <a:spcPts val="550"/>
              </a:spcAft>
              <a:buFont typeface="Arial" panose="020B0604020202020204" pitchFamily="34" charset="0"/>
              <a:buChar char="•"/>
            </a:pPr>
            <a:r>
              <a:rPr lang="en-US" dirty="0"/>
              <a:t>AI-powered safety insights and simulations - helping organizations proactively identify risks and keep frontline workers safer.</a:t>
            </a:r>
          </a:p>
        </p:txBody>
      </p:sp>
      <p:sp>
        <p:nvSpPr>
          <p:cNvPr id="4" name="Header Placeholder 3">
            <a:extLst>
              <a:ext uri="{FF2B5EF4-FFF2-40B4-BE49-F238E27FC236}">
                <a16:creationId xmlns:a16="http://schemas.microsoft.com/office/drawing/2014/main" id="{BC67EDCA-7FAF-0DC4-B871-AF792DC2BA0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4822D5B-B6AD-C6FE-C419-11EB58159E6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4EDFCCD-3065-4031-3CDB-C3BFD9E6452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8/2025 11: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FFF53F8-AC7E-D62C-ED76-725E4AAA2D8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61175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690C0-B480-C3B2-608D-EC24CF39F9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87A383-B251-AE82-45E3-7CF815A9196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052AA27-0496-ACBE-BF00-D78F78C946BA}"/>
              </a:ext>
            </a:extLst>
          </p:cNvPr>
          <p:cNvSpPr>
            <a:spLocks noGrp="1"/>
          </p:cNvSpPr>
          <p:nvPr>
            <p:ph type="body" idx="1"/>
          </p:nvPr>
        </p:nvSpPr>
        <p:spPr/>
        <p:txBody>
          <a:bodyPr/>
          <a:lstStyle/>
          <a:p>
            <a:r>
              <a:rPr kumimoji="0" lang="en-US" sz="1200" i="0" u="none" strike="noStrike" kern="1200" cap="none" spc="0" normalizeH="0" baseline="0" noProof="0" dirty="0">
                <a:ln>
                  <a:noFill/>
                </a:ln>
                <a:solidFill>
                  <a:schemeClr val="tx1"/>
                </a:solidFill>
                <a:effectLst/>
                <a:uLnTx/>
                <a:uFillTx/>
                <a:latin typeface="+mn-lt"/>
                <a:ea typeface="+mn-ea"/>
                <a:cs typeface="+mn-cs"/>
              </a:rPr>
              <a:t>Real-time insights enhance worker safety while lowering operational costs at Chevron.</a:t>
            </a:r>
          </a:p>
          <a:p>
            <a:endParaRPr lang="en-US" dirty="0"/>
          </a:p>
          <a:p>
            <a:r>
              <a:rPr lang="en-US" dirty="0"/>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78D4"/>
                </a:solidFill>
                <a:effectLst/>
                <a:uLnTx/>
                <a:uFillTx/>
                <a:latin typeface="Segoe Sans Display Semibold"/>
                <a:ea typeface="+mn-ea"/>
                <a:cs typeface="+mn-cs"/>
              </a:rPr>
              <a:t>Real-time insights: </a:t>
            </a:r>
            <a:r>
              <a:rPr kumimoji="0" lang="en-US" sz="1400" b="0" i="0" u="none" strike="noStrike" kern="1200" cap="none" spc="0" normalizeH="0" baseline="0" noProof="0" dirty="0">
                <a:ln>
                  <a:noFill/>
                </a:ln>
                <a:solidFill>
                  <a:srgbClr val="000000"/>
                </a:solidFill>
                <a:effectLst/>
                <a:uLnTx/>
                <a:uFillTx/>
                <a:latin typeface="Segoe Sans Display"/>
                <a:ea typeface="+mn-ea"/>
                <a:cs typeface="+mn-cs"/>
              </a:rPr>
              <a:t>Real-time insights enhance worker safety while lowering operational costs, empowering staff to focus on complex, higher-value tasks rather than routine inspec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srgbClr val="0078D4"/>
                </a:solidFill>
                <a:latin typeface="Segoe Sans Display Semibold"/>
              </a:rPr>
              <a:t>Faster decision-making</a:t>
            </a:r>
            <a:r>
              <a:rPr kumimoji="0" lang="en-US" sz="1400" b="0" i="0" u="none" strike="noStrike" kern="1200" cap="none" spc="0" normalizeH="0" baseline="0" noProof="0" dirty="0">
                <a:ln>
                  <a:noFill/>
                </a:ln>
                <a:solidFill>
                  <a:srgbClr val="0078D4"/>
                </a:solidFill>
                <a:effectLst/>
                <a:uLnTx/>
                <a:uFillTx/>
                <a:latin typeface="Segoe Sans Display Semibold"/>
                <a:ea typeface="+mn-ea"/>
                <a:cs typeface="+mn-cs"/>
              </a:rPr>
              <a:t>: </a:t>
            </a:r>
            <a:r>
              <a:rPr kumimoji="0" lang="en-US" sz="1400" b="0" i="0" u="none" strike="noStrike" kern="1200" cap="none" spc="0" normalizeH="0" baseline="0" noProof="0" dirty="0">
                <a:ln>
                  <a:noFill/>
                </a:ln>
                <a:effectLst/>
                <a:uLnTx/>
                <a:uFillTx/>
              </a:rPr>
              <a:t>Unlocked access to connected data across a vast network of IoT devices—ultimately for greater speed to decisions</a:t>
            </a:r>
            <a:r>
              <a:rPr lang="en-US" sz="1400" dirty="0"/>
              <a:t>. More sophisticated operational oversight also enhances worker safety and productivit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srgbClr val="0078D4"/>
                </a:solidFill>
                <a:latin typeface="Segoe Sans Display Semibold"/>
              </a:rPr>
              <a:t>Minimized downtime</a:t>
            </a:r>
            <a:r>
              <a:rPr kumimoji="0" lang="en-US" sz="1400" b="0" i="0" u="none" strike="noStrike" kern="1200" cap="none" spc="0" normalizeH="0" baseline="0" noProof="0" dirty="0">
                <a:ln>
                  <a:noFill/>
                </a:ln>
                <a:solidFill>
                  <a:srgbClr val="0078D4"/>
                </a:solidFill>
                <a:effectLst/>
                <a:uLnTx/>
                <a:uFillTx/>
                <a:latin typeface="Segoe Sans Display Semibold"/>
                <a:ea typeface="+mn-ea"/>
                <a:cs typeface="+mn-cs"/>
              </a:rPr>
              <a:t>: </a:t>
            </a:r>
            <a:r>
              <a:rPr kumimoji="0" lang="en-US" sz="1200" b="0" i="0" u="none" strike="noStrike" kern="1200" cap="none" spc="0" normalizeH="0" baseline="0" noProof="0" dirty="0">
                <a:ln>
                  <a:noFill/>
                </a:ln>
                <a:effectLst/>
                <a:uLnTx/>
                <a:uFillTx/>
              </a:rPr>
              <a:t>Captured data more effectively with analytics and AI to better predict anomalies, minimizing downtime and optimizing business outcomes by equipping employees with the right tool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F2F2F"/>
              </a:solidFill>
              <a:effectLst/>
              <a:uLnTx/>
              <a:uFillTx/>
              <a:latin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200" dirty="0">
                <a:cs typeface="+mn-cs"/>
              </a:rPr>
              <a:t>“With Azure IoT Operations, we can dynamically monitor operations and make adjustments automatically to increase efficiency. More sophisticated operational oversight also enhances worker safety and productivity.”</a:t>
            </a: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Sans Display" pitchFamily="2" charset="0"/>
              </a:rPr>
              <a:t>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78D4"/>
                </a:solidFill>
                <a:effectLst/>
                <a:uLnTx/>
                <a:uFillTx/>
                <a:latin typeface="Segoe Sans Display Semibold"/>
                <a:ea typeface="+mn-ea"/>
                <a:cs typeface="Segoe Sans Display" pitchFamily="2" charset="0"/>
              </a:rPr>
              <a:t>– Raymond Smelley, </a:t>
            </a:r>
            <a:r>
              <a:rPr lang="en-US" sz="1100" dirty="0">
                <a:solidFill>
                  <a:srgbClr val="000000"/>
                </a:solidFill>
                <a:latin typeface="Segoe Sans Display"/>
              </a:rPr>
              <a:t>GM of IT Foundation Platform, Chevron</a:t>
            </a:r>
            <a:endParaRPr kumimoji="0" lang="en-US" sz="1100" b="0" i="0" u="none" strike="noStrike" kern="1200" cap="none" spc="0" normalizeH="0" baseline="0" noProof="0" dirty="0">
              <a:ln>
                <a:noFill/>
              </a:ln>
              <a:solidFill>
                <a:srgbClr val="000000"/>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dirty="0"/>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dirty="0"/>
              <a:t>Link: </a:t>
            </a:r>
            <a:r>
              <a:rPr lang="en-US" dirty="0">
                <a:hlinkClick r:id="rId3"/>
              </a:rPr>
              <a:t>https://www.microsoft.com/en/customers/story/22849-chevron-iot-operations/?msockid=08d85f42b27469be0b394a6fb359689d</a:t>
            </a:r>
            <a:endParaRPr lang="en-US" dirty="0"/>
          </a:p>
        </p:txBody>
      </p:sp>
      <p:sp>
        <p:nvSpPr>
          <p:cNvPr id="4" name="Slide Number Placeholder 3">
            <a:extLst>
              <a:ext uri="{FF2B5EF4-FFF2-40B4-BE49-F238E27FC236}">
                <a16:creationId xmlns:a16="http://schemas.microsoft.com/office/drawing/2014/main" id="{D56F91AE-0582-1503-0A6F-A7DE48D869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83657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F0529-174D-1242-4B65-C3EDC5AF68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3AD7A-FB12-592B-02CD-7AF8CC0E16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C4ECE8F-887B-DD81-E762-4C111B9A7D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mn-lt"/>
                <a:ea typeface="+mn-ea"/>
                <a:cs typeface="+mn-cs"/>
              </a:rPr>
              <a:t>South32 links people, tech, and trust in data with Microsoft Purview Unified Catalo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siness outcomes: </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800" kern="1200" dirty="0">
                <a:solidFill>
                  <a:srgbClr val="0078D4"/>
                </a:solidFill>
                <a:latin typeface="+mn-lt"/>
                <a:ea typeface="+mn-ea"/>
                <a:cs typeface="+mn-cs"/>
              </a:rPr>
              <a:t>Unified data</a:t>
            </a:r>
            <a:r>
              <a:rPr kumimoji="0" lang="en-US" sz="1800" b="0" i="0" u="none" strike="noStrike" kern="1200" cap="none" spc="0" normalizeH="0" baseline="0" noProof="0" dirty="0">
                <a:ln>
                  <a:noFill/>
                </a:ln>
                <a:solidFill>
                  <a:srgbClr val="0078D4"/>
                </a:solidFill>
                <a:effectLst/>
                <a:uLnTx/>
                <a:uFillTx/>
                <a:latin typeface="+mn-lt"/>
                <a:ea typeface="+mn-ea"/>
                <a:cs typeface="+mn-cs"/>
              </a:rPr>
              <a:t>: </a:t>
            </a:r>
            <a:r>
              <a:rPr kumimoji="0" lang="en-US" sz="1400" b="0" i="0" u="none" strike="noStrike" kern="1200" cap="none" spc="0" normalizeH="0" baseline="0" noProof="0" dirty="0">
                <a:ln>
                  <a:noFill/>
                </a:ln>
                <a:solidFill>
                  <a:srgbClr val="000000"/>
                </a:solidFill>
                <a:effectLst/>
                <a:uLnTx/>
                <a:uFillTx/>
              </a:rPr>
              <a:t>Adopted Microsoft Purview Unified Catalog to make data more trusted, accessible, and reusable, helping teams work more consistently across the business</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600" kern="1200" dirty="0">
                <a:solidFill>
                  <a:srgbClr val="0078D4"/>
                </a:solidFill>
                <a:latin typeface="+mn-lt"/>
                <a:ea typeface="+mn-ea"/>
                <a:cs typeface="+mn-cs"/>
              </a:rPr>
              <a:t>Support for critical workflows</a:t>
            </a:r>
            <a:r>
              <a:rPr kumimoji="0" lang="en-US" sz="1600" i="0" u="none" strike="noStrike" kern="1200" cap="none" spc="0" normalizeH="0" baseline="0" noProof="0" dirty="0">
                <a:ln>
                  <a:noFill/>
                </a:ln>
                <a:solidFill>
                  <a:srgbClr val="0078D4"/>
                </a:solidFill>
                <a:effectLst/>
                <a:uLnTx/>
                <a:uFillTx/>
                <a:latin typeface="+mn-lt"/>
                <a:ea typeface="+mn-ea"/>
                <a:cs typeface="+mn-cs"/>
              </a:rPr>
              <a:t>: </a:t>
            </a:r>
            <a:r>
              <a:rPr lang="en-US" sz="1200" dirty="0">
                <a:solidFill>
                  <a:srgbClr val="000000"/>
                </a:solidFill>
              </a:rPr>
              <a:t>Mad</a:t>
            </a:r>
            <a:r>
              <a:rPr kumimoji="0" lang="en-US" sz="1200" b="0" i="0" u="none" strike="noStrike" kern="1200" cap="none" spc="0" normalizeH="0" baseline="0" noProof="0" dirty="0">
                <a:ln>
                  <a:noFill/>
                </a:ln>
                <a:solidFill>
                  <a:srgbClr val="000000"/>
                </a:solidFill>
                <a:effectLst/>
                <a:uLnTx/>
                <a:uFillTx/>
              </a:rPr>
              <a:t>e trusted data available across teams, supporting critical workflows like risk and safety analytics, operational planning, and dashboard creation in tools like Power BI</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600" kern="1200" dirty="0">
                <a:solidFill>
                  <a:srgbClr val="0078D4"/>
                </a:solidFill>
                <a:latin typeface="+mn-lt"/>
                <a:ea typeface="+mn-ea"/>
                <a:cs typeface="+mn-cs"/>
              </a:rPr>
              <a:t>Improved trust in data</a:t>
            </a:r>
            <a:r>
              <a:rPr kumimoji="0" lang="en-US" sz="1600" b="0" i="0" u="none" strike="noStrike" kern="1200" cap="none" spc="0" normalizeH="0" baseline="0" noProof="0" dirty="0">
                <a:ln>
                  <a:noFill/>
                </a:ln>
                <a:solidFill>
                  <a:srgbClr val="0078D4"/>
                </a:solidFill>
                <a:effectLst/>
                <a:uLnTx/>
                <a:uFillTx/>
                <a:latin typeface="+mn-lt"/>
                <a:ea typeface="+mn-ea"/>
                <a:cs typeface="+mn-cs"/>
              </a:rPr>
              <a:t>: </a:t>
            </a:r>
            <a:r>
              <a:rPr kumimoji="0" lang="en-US" sz="1200" b="0" i="0" u="none" strike="noStrike" kern="1200" cap="none" spc="0" normalizeH="0" baseline="0" noProof="0" dirty="0">
                <a:ln>
                  <a:noFill/>
                </a:ln>
                <a:solidFill>
                  <a:srgbClr val="000000"/>
                </a:solidFill>
                <a:effectLst/>
                <a:uLnTx/>
                <a:uFillTx/>
              </a:rPr>
              <a:t>Onboarded 15 critical data domains into Purview and cataloged 30 to 50 high-priority data products across the business, including safety analytics, G360 tracking, and fleet downtime metrics</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lang="en-US" dirty="0"/>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cs typeface="+mn-cs"/>
              </a:rPr>
              <a:t>“Each mine site used to do things a little differently. Now we have a standard way of defining and documenting critical metrics in Purview, which means we’re all speaking the same language.”</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i="0" u="none" strike="noStrike" kern="1200" cap="none" spc="0" normalizeH="0" baseline="0" noProof="0" dirty="0">
                <a:ln>
                  <a:noFill/>
                </a:ln>
                <a:solidFill>
                  <a:srgbClr val="0078D4"/>
                </a:solidFill>
                <a:effectLst/>
                <a:uLnTx/>
                <a:uFillTx/>
                <a:latin typeface="+mn-lt"/>
                <a:ea typeface="+mn-ea"/>
                <a:cs typeface="+mn-cs"/>
              </a:rPr>
              <a:t>– Hari Krishna </a:t>
            </a:r>
            <a:r>
              <a:rPr kumimoji="0" lang="en-US" sz="1100" i="0" u="none" strike="noStrike" kern="1200" cap="none" spc="0" normalizeH="0" baseline="0" noProof="0" dirty="0" err="1">
                <a:ln>
                  <a:noFill/>
                </a:ln>
                <a:solidFill>
                  <a:srgbClr val="0078D4"/>
                </a:solidFill>
                <a:effectLst/>
                <a:uLnTx/>
                <a:uFillTx/>
                <a:latin typeface="+mn-lt"/>
                <a:ea typeface="+mn-ea"/>
                <a:cs typeface="+mn-cs"/>
              </a:rPr>
              <a:t>Cheeti</a:t>
            </a:r>
            <a:r>
              <a:rPr kumimoji="0" lang="en-US" sz="1100" i="0" u="none" strike="noStrike" kern="1200" cap="none" spc="0" normalizeH="0" baseline="0" noProof="0" dirty="0">
                <a:ln>
                  <a:noFill/>
                </a:ln>
                <a:solidFill>
                  <a:srgbClr val="0078D4"/>
                </a:solidFill>
                <a:effectLst/>
                <a:uLnTx/>
                <a:uFillTx/>
                <a:latin typeface="+mn-lt"/>
                <a:ea typeface="+mn-ea"/>
                <a:cs typeface="+mn-cs"/>
              </a:rPr>
              <a:t>, </a:t>
            </a:r>
            <a:r>
              <a:rPr lang="en-US" sz="1050" dirty="0">
                <a:solidFill>
                  <a:srgbClr val="000000"/>
                </a:solidFill>
                <a:cs typeface="+mn-cs"/>
              </a:rPr>
              <a:t>Data Governance Lead, South32</a:t>
            </a:r>
            <a:endParaRPr kumimoji="0" lang="en-US" sz="1100" i="0" u="none" strike="noStrike" kern="1200" cap="none" spc="0" normalizeH="0" baseline="0" noProof="0" dirty="0">
              <a:ln>
                <a:noFill/>
              </a:ln>
              <a:solidFill>
                <a:srgbClr val="0078D4"/>
              </a:solidFill>
              <a:effectLst/>
              <a:uLnTx/>
              <a:uFillTx/>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dirty="0">
              <a:ln>
                <a:noFill/>
              </a:ln>
              <a:solidFill>
                <a:srgbClr val="000000"/>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Sans Display"/>
                <a:ea typeface="+mn-ea"/>
                <a:cs typeface="Segoe Sans Display" pitchFamily="2" charset="0"/>
              </a:rPr>
              <a:t>Link: https://www.microsoft.com/en/customers/story/24642-south32-microsoft-purview-data-governance</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dirty="0"/>
          </a:p>
        </p:txBody>
      </p:sp>
      <p:sp>
        <p:nvSpPr>
          <p:cNvPr id="4" name="Slide Number Placeholder 3">
            <a:extLst>
              <a:ext uri="{FF2B5EF4-FFF2-40B4-BE49-F238E27FC236}">
                <a16:creationId xmlns:a16="http://schemas.microsoft.com/office/drawing/2014/main" id="{D2DC3B7B-60C1-3041-7D6B-B97631D80D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59703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412FF-330C-934C-9CD5-8D87311BE9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34AC0-605D-B28C-284F-D93838FF23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DBBAD2-C654-FAB8-FAEB-48FDFE8E93D4}"/>
              </a:ext>
            </a:extLst>
          </p:cNvPr>
          <p:cNvSpPr>
            <a:spLocks noGrp="1"/>
          </p:cNvSpPr>
          <p:nvPr>
            <p:ph type="body" idx="1"/>
          </p:nvPr>
        </p:nvSpPr>
        <p:spPr/>
        <p:txBody>
          <a:bodyPr/>
          <a:lstStyle/>
          <a:p>
            <a:r>
              <a:rPr lang="en-US" sz="1200" kern="1200">
                <a:solidFill>
                  <a:schemeClr val="tx1"/>
                </a:solidFill>
                <a:effectLst/>
                <a:latin typeface="+mn-lt"/>
                <a:ea typeface="+mn-ea"/>
                <a:cs typeface="+mn-cs"/>
              </a:rPr>
              <a:t>Moving onto customer engagemen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enerative AI can significantly enhance </a:t>
            </a:r>
            <a:r>
              <a:rPr lang="en-US" sz="1200" b="1" kern="1200">
                <a:solidFill>
                  <a:schemeClr val="tx1"/>
                </a:solidFill>
                <a:effectLst/>
                <a:latin typeface="+mn-lt"/>
                <a:ea typeface="+mn-ea"/>
                <a:cs typeface="+mn-cs"/>
              </a:rPr>
              <a:t>customer engagements</a:t>
            </a:r>
            <a:r>
              <a:rPr lang="en-US" sz="1200" kern="1200">
                <a:solidFill>
                  <a:schemeClr val="tx1"/>
                </a:solidFill>
                <a:effectLst/>
                <a:latin typeface="+mn-lt"/>
                <a:ea typeface="+mn-ea"/>
                <a:cs typeface="+mn-cs"/>
              </a:rPr>
              <a: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can automate content creation, producing articles, blog posts, and other written or visual materials, ensuring a consistent flow of fresh and engaging content to keep audiences engage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can provide your customers with personalized experiences through the analyzation of customer data, which aids in improving conversion rate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can improve efficiency in your operations, helping your teams activate campaigns faster.</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nd you can innovate with it to unlock experiences that wow your customers while easing the burden on your workforc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nvesting in generative AI is crucial for organizations looking to reinvent customer engagements and stay competitive in the rapidly evolving digital landscap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not only enhances customer experience but also drives business innovation and operational efficiency.</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et’s look at a few customer examples…</a:t>
            </a:r>
          </a:p>
        </p:txBody>
      </p:sp>
      <p:sp>
        <p:nvSpPr>
          <p:cNvPr id="4" name="Slide Number Placeholder 3">
            <a:extLst>
              <a:ext uri="{FF2B5EF4-FFF2-40B4-BE49-F238E27FC236}">
                <a16:creationId xmlns:a16="http://schemas.microsoft.com/office/drawing/2014/main" id="{E77BCA69-C167-AFAB-1D02-8E3402B691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27220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2B2A8-89ED-8A6C-730B-6A19DE73B6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A4B454-1DA3-7E10-2BF7-8FB27EE7A59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0659670-1CCF-C2D7-8F28-EC54707E771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Eneco moves to Microsoft Copilot Studio to better support over 1.5 million customers</a:t>
            </a:r>
            <a:endParaRPr lang="en-US"/>
          </a:p>
          <a:p>
            <a:endParaRPr lang="en-US"/>
          </a:p>
          <a:p>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ntelligent automation: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Developed a new, AI-driven customer service agent using Copilot Studio. The AI agent handles 24,000 chats per month</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ncreased effectiveness: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Compared to the previous chatbot, the new AI agent is now able to handle 70% more customer conversations without requiring hand-off to a live representativ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mproved customer service: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67% of customer conversations can be managed satisfactorily by the AI agent without requiring hand-off to a live ag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Microsoft Copilot Studio has provided us with dramatically better guard railing than our previous chatbot and also enables better intent recognition and control of responses to customer questions.”</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Ellen Van </a:t>
            </a:r>
            <a:r>
              <a:rPr kumimoji="0" lang="en-US" sz="1200" b="0" i="0" u="none" strike="noStrike" kern="1200" cap="none" spc="0" normalizeH="0" baseline="0" noProof="0" err="1">
                <a:ln>
                  <a:noFill/>
                </a:ln>
                <a:solidFill>
                  <a:srgbClr val="0078D4"/>
                </a:solidFill>
                <a:effectLst/>
                <a:uLnTx/>
                <a:uFillTx/>
                <a:latin typeface="Segoe Sans Display Semibold"/>
                <a:ea typeface="+mn-ea"/>
                <a:cs typeface="Segoe Sans Display" pitchFamily="2" charset="0"/>
              </a:rPr>
              <a:t>Caillie</a:t>
            </a: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a:t>
            </a: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Head of conversational AI, Eneco</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Link: </a:t>
            </a:r>
            <a:r>
              <a:rPr lang="en-US">
                <a:hlinkClick r:id="rId3"/>
              </a:rPr>
              <a:t>https://www.microsoft.com/en/customers/story/22686-eneco-microsoft-copilot-studio</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0054BA2D-8A3A-E8F5-4A41-9D9ECD85BC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0586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C649E-28CC-715B-B300-F57535268C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03D721-A1D5-AB7D-A492-86C2ACD4C8E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BB8DA4B-491E-6F32-A8C6-C8C2BAEC79B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Pacific Gas &amp; Electric saves millions each year by automating business processes with Power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Cost savings: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Over $75 million savings annually since 2021 due to almost 527,000 hours saved annually with Power Platform solu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Widespread adoption: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Over 2,000 Power Apps created, and over 4,200 Power Automate cloud flow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mproved employee support: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25-40% of help desk demand is now fulfilled by chatbot Peggy—saving more than $1.1 million annually. Agent workloads have been optimized and provided sizeable labor savings and service level improvements.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We chose Microsoft Power Platform because it not only provided us with a secure, scalable platform for automation but also enabled our business users to actually build their own solutions.”</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homas Bilbo, </a:t>
            </a: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Principal, Product Owner, PG&amp;E</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Link: </a:t>
            </a:r>
            <a:r>
              <a:rPr lang="en-US">
                <a:hlinkClick r:id="rId3"/>
              </a:rPr>
              <a:t>https://www.microsoft.com/en/customers/story/1709539049606899869-pacific-gas-and-electric-microsoft-power-apps-energy-usa</a:t>
            </a:r>
            <a:endParaRPr lang="en-US"/>
          </a:p>
        </p:txBody>
      </p:sp>
      <p:sp>
        <p:nvSpPr>
          <p:cNvPr id="4" name="Slide Number Placeholder 3">
            <a:extLst>
              <a:ext uri="{FF2B5EF4-FFF2-40B4-BE49-F238E27FC236}">
                <a16:creationId xmlns:a16="http://schemas.microsoft.com/office/drawing/2014/main" id="{091D516D-4CB0-23BF-C907-6AF1AFB084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3247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F8CC7-3B6F-7554-65B0-2BE4B5E96D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E988BC-C084-8DF1-37E8-B1A6A38FC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B21DDE-5864-07DD-FF7E-4C5DA3B0A63F}"/>
              </a:ext>
            </a:extLst>
          </p:cNvPr>
          <p:cNvSpPr>
            <a:spLocks noGrp="1"/>
          </p:cNvSpPr>
          <p:nvPr>
            <p:ph type="body" idx="1"/>
          </p:nvPr>
        </p:nvSpPr>
        <p:spPr/>
        <p:txBody>
          <a:bodyPr/>
          <a:lstStyle/>
          <a:p>
            <a:r>
              <a:rPr lang="en-US" b="1" dirty="0"/>
              <a:t>AI is reshaping organizations into Frontier Firms</a:t>
            </a:r>
            <a:r>
              <a:rPr lang="en-US" dirty="0"/>
              <a:t>—companies powered by human-agent teams, intelligence on tap, and dynamic, outcome-driven structures that scale rapidly and operate with agility. </a:t>
            </a:r>
          </a:p>
          <a:p>
            <a:r>
              <a:rPr lang="en-US" b="1" dirty="0"/>
              <a:t>Human-agent collaboration is redefining roles</a:t>
            </a:r>
            <a:r>
              <a:rPr lang="en-US" dirty="0"/>
              <a:t>—with agents automating workflows and employees evolving into “agent bosses” who delegate, manage, and optimize digital labor to amplify impact. </a:t>
            </a:r>
          </a:p>
          <a:p>
            <a:r>
              <a:rPr lang="en-US" b="1" dirty="0"/>
              <a:t>AI literacy and skilling are now critical workforce strategies</a:t>
            </a:r>
            <a:r>
              <a:rPr lang="en-US" dirty="0"/>
              <a:t>—as companies prioritize upskilling, agent management, and hiring for AI-specific roles to stay competitive in a rapidly transforming labor market.</a:t>
            </a:r>
          </a:p>
          <a:p>
            <a:r>
              <a:rPr lang="en-US" b="1" dirty="0"/>
              <a:t>AI is driving a shift in organizational design</a:t>
            </a:r>
            <a:r>
              <a:rPr lang="en-US" dirty="0"/>
              <a:t>—from rigid hierarchies to fluid, team-based structures where decision-making and innovation are accelerated by real-time data and intelligent systems.</a:t>
            </a:r>
          </a:p>
        </p:txBody>
      </p:sp>
      <p:sp>
        <p:nvSpPr>
          <p:cNvPr id="4" name="Slide Number Placeholder 3">
            <a:extLst>
              <a:ext uri="{FF2B5EF4-FFF2-40B4-BE49-F238E27FC236}">
                <a16:creationId xmlns:a16="http://schemas.microsoft.com/office/drawing/2014/main" id="{A9CD5B82-42D2-B041-A04F-2293C58576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1735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1B4CA-C71C-6A88-5C97-8CFCADB1A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26F0E7-CFC5-0EAF-029F-87D5F67228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0FD6C2-6147-7689-7070-F975CE2D8DFF}"/>
              </a:ext>
            </a:extLst>
          </p:cNvPr>
          <p:cNvSpPr>
            <a:spLocks noGrp="1"/>
          </p:cNvSpPr>
          <p:nvPr>
            <p:ph type="body" idx="1"/>
          </p:nvPr>
        </p:nvSpPr>
        <p:spPr/>
        <p:txBody>
          <a:bodyPr/>
          <a:lstStyle/>
          <a:p>
            <a:r>
              <a:rPr lang="en-US" sz="1200" kern="1200">
                <a:solidFill>
                  <a:schemeClr val="tx1"/>
                </a:solidFill>
                <a:effectLst/>
                <a:latin typeface="+mn-lt"/>
                <a:ea typeface="+mn-ea"/>
                <a:cs typeface="+mn-cs"/>
              </a:rPr>
              <a:t>Let’s move onto our next pillar – Reshaping </a:t>
            </a:r>
            <a:r>
              <a:rPr lang="en-US" sz="1200" b="1" kern="1200">
                <a:solidFill>
                  <a:schemeClr val="tx1"/>
                </a:solidFill>
                <a:effectLst/>
                <a:latin typeface="+mn-lt"/>
                <a:ea typeface="+mn-ea"/>
                <a:cs typeface="+mn-cs"/>
              </a:rPr>
              <a:t>business processes</a:t>
            </a:r>
            <a:r>
              <a:rPr lang="en-US" sz="1200" kern="1200">
                <a:solidFill>
                  <a:schemeClr val="tx1"/>
                </a:solidFill>
                <a:effectLst/>
                <a:latin typeface="+mn-lt"/>
                <a:ea typeface="+mn-ea"/>
                <a:cs typeface="+mn-cs"/>
              </a:rPr>
              <a: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enerative AI stands as a transformative force in the business world, offering unparalleled opportunities to innovate and streamline operations across all function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instance, in marketing, AI can generate dynamic content tailored to customer preferences, enhancing engagement and personalization. In supply chain management, it can predict and adjust to market changes in </a:t>
            </a:r>
          </a:p>
          <a:p>
            <a:r>
              <a:rPr lang="en-US" sz="1200" kern="1200">
                <a:solidFill>
                  <a:schemeClr val="tx1"/>
                </a:solidFill>
                <a:effectLst/>
                <a:latin typeface="+mn-lt"/>
                <a:ea typeface="+mn-ea"/>
                <a:cs typeface="+mn-cs"/>
              </a:rPr>
              <a:t>real time, optimizing inventory and reducing wast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Human resources can leverage AI to refine recruitment processes, automatically screening candidates and matching skills to job requirements. Financial services can benefit from AI's ability to detect fraudulent patterns </a:t>
            </a:r>
          </a:p>
          <a:p>
            <a:r>
              <a:rPr lang="en-US" sz="1200" kern="1200">
                <a:solidFill>
                  <a:schemeClr val="tx1"/>
                </a:solidFill>
                <a:effectLst/>
                <a:latin typeface="+mn-lt"/>
                <a:ea typeface="+mn-ea"/>
                <a:cs typeface="+mn-cs"/>
              </a:rPr>
              <a:t>and automate risk assessmen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y harnessing the power of generative AI, organizations can not only reshape existing processes but also create new avenues for growth and efficiency.</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et’s look at a few customer examples…</a:t>
            </a:r>
          </a:p>
        </p:txBody>
      </p:sp>
      <p:sp>
        <p:nvSpPr>
          <p:cNvPr id="4" name="Slide Number Placeholder 3">
            <a:extLst>
              <a:ext uri="{FF2B5EF4-FFF2-40B4-BE49-F238E27FC236}">
                <a16:creationId xmlns:a16="http://schemas.microsoft.com/office/drawing/2014/main" id="{4A97BDB5-7382-1CF4-3771-B6D6EADCC5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261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8950A-F6DA-AB63-B3C5-F463856B39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740B4E-A5A8-70F0-3846-C70411FE6D6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8B74D0F-6E4B-43C6-6BC5-22AE16D860D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Powering the energy transition with AI and Copilot for Microsoft 365: Uniper optimizes processes and simplifies day-to-day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dentify security risks more quickly: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Copilot for Security immediately flags incidents relating to a new report, meaning security risks can be identified up to twice as fas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ncreased productivity: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Enabled auditors to get to work right away with the help of Microsoft 365 Copilot, with an increase in audit productivity by up to 8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Enable informed decision-making: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Enabled more informed decision making with intelligent data insight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For any audit in any country, Copilot for Microsoft 365 lays out the particulars for the given standards and creates an audit plan as well as the relevant audit checklist. That means our auditors can get to work right away and we increase audit productivity by up to 80%.”</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Damian Bunyan, </a:t>
            </a: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CIO, Uniper</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Link: </a:t>
            </a:r>
            <a:r>
              <a:rPr lang="en-US" sz="1100">
                <a:hlinkClick r:id="rId3"/>
              </a:rPr>
              <a:t>https://www.microsoft.com/en/customers/story/1802017730982552224-uniper-se-microsoft-copilot-for-microsoft-365-energy-en-germany?msockid=08d85f42b27469be0b394a6fb359689d</a:t>
            </a: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E84450F-6897-A923-FE28-4121EAA2BA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653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46552-50FB-3CD8-C081-7578BE6A7E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DEAD7-5B3C-C526-D5A6-9D09677B055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6965A64-7345-FEE8-0A53-FE0E732658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E.ON UK powers transition to renewable energy with Dynamics 36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Time savings: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20% reduction in job duration and eliminated the 20-minute per site process for managing property handoff after implementing Microsoft Dynamics 365 Field Servi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Improved efficiency: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A more modern, unified CRM system with Dynamics 365 Sales, Customer Service, and capabilities of Asset Management add-on for Supply Chain Management improved employees’ efficiency while reducing IT cos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Enable informed decision-making: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Enabled more informed decision making with intelligent data insight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Intelligent use of technology keeps our customer’s needs at the heart of the transition to clean energy, and that’s why we selected Dynamics 365 to support us on that journey given it is flexible, configurable, and aligned to our overall technology strategy.”</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Lee Durham, </a:t>
            </a: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Director of Digital Technology, E.ON U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Link: </a:t>
            </a:r>
            <a:r>
              <a:rPr lang="en-US" sz="1100">
                <a:hlinkClick r:id="rId3"/>
              </a:rPr>
              <a:t>https://www.microsoft.com/en/customers/story/23367-eon-uk-dynamics-365-customer-service</a:t>
            </a: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B4BF17B1-F799-EA8C-1700-B3338272CB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765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F40D05-0223-4CD4-6C82-C18B541EE5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B067A2-9E93-A903-42B4-7810092E2A6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6CD82B-ADFD-3477-A82B-440302FDE29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Segoe Sans Display" pitchFamily="2" charset="0"/>
              </a:rPr>
              <a:t>Public utility Evergy saves over 120,000 hours per year with Power Platform</a:t>
            </a:r>
          </a:p>
          <a:p>
            <a:endParaRPr lang="en-US"/>
          </a:p>
          <a:p>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78D4"/>
                </a:solidFill>
                <a:latin typeface="Segoe Sans Display Semibold"/>
              </a:rPr>
              <a:t>Increased productivity:</a:t>
            </a: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120</a:t>
            </a:r>
            <a:r>
              <a:rPr lang="en-US" sz="1200">
                <a:solidFill>
                  <a:srgbClr val="000000"/>
                </a:solidFill>
                <a:latin typeface="Segoe Sans Display"/>
              </a:rPr>
              <a:t>,000 hours per year saved since 2020 with automation</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Process automation: </a:t>
            </a:r>
            <a:r>
              <a:rPr lang="en-US" sz="1200">
                <a:solidFill>
                  <a:srgbClr val="000000"/>
                </a:solidFill>
                <a:latin typeface="Segoe Sans Display"/>
              </a:rPr>
              <a:t>Created a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new Power App that verifies work orders, gathers approved records, and enters them into the ERP syste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78D4"/>
                </a:solidFill>
                <a:latin typeface="Segoe Sans Display Semibold"/>
              </a:rPr>
              <a:t>Successful user adoption</a:t>
            </a: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11x increase in use of Power Automate, </a:t>
            </a:r>
            <a:r>
              <a:rPr lang="en-US" sz="1200">
                <a:solidFill>
                  <a:srgbClr val="000000"/>
                </a:solidFill>
                <a:latin typeface="Segoe Sans Display"/>
              </a:rPr>
              <a:t>with over 900+ Power apps</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endParaRPr lang="en-US"/>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2F2F2F"/>
                </a:solidFill>
                <a:effectLst/>
                <a:uLnTx/>
                <a:uFillTx/>
                <a:latin typeface="Segoe UI" panose="020B0502040204020203" pitchFamily="34" charset="0"/>
                <a:ea typeface="+mn-ea"/>
                <a:cs typeface="Segoe Sans Display" pitchFamily="2" charset="0"/>
              </a:rPr>
              <a:t>“We've had users across departments and various technical capabilities quickly pick up and enjoy using Power Platform. It has become a key tool in our technology strategy.”</a:t>
            </a:r>
            <a:endParaRPr kumimoji="0" lang="en-US" sz="1200" b="0" i="0" u="none" strike="noStrike" kern="1200" cap="none" spc="0" normalizeH="0" baseline="0" noProof="0">
              <a:ln>
                <a:noFill/>
              </a:ln>
              <a:solidFill>
                <a:srgbClr val="2F2F2F"/>
              </a:solidFill>
              <a:effectLst/>
              <a:uLnTx/>
              <a:uFillTx/>
              <a:latin typeface="Segoe UI" panose="020B0502040204020203" pitchFamily="34" charset="0"/>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Chad Carsten, </a:t>
            </a:r>
            <a:r>
              <a:rPr lang="en-US" sz="1200">
                <a:solidFill>
                  <a:srgbClr val="000000"/>
                </a:solidFill>
                <a:latin typeface="Segoe Sans Display"/>
              </a:rPr>
              <a:t>Director, Operations Technology</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Link: https://www.microsoft.com/en/customers/story/1747349596437245542-evergy-power-apps-energy-en-united-states</a:t>
            </a:r>
          </a:p>
        </p:txBody>
      </p:sp>
      <p:sp>
        <p:nvSpPr>
          <p:cNvPr id="4" name="Slide Number Placeholder 3">
            <a:extLst>
              <a:ext uri="{FF2B5EF4-FFF2-40B4-BE49-F238E27FC236}">
                <a16:creationId xmlns:a16="http://schemas.microsoft.com/office/drawing/2014/main" id="{9AF50238-AE31-E7DB-52B4-013BC6EB15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3210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0C74A-BEE1-15F6-421B-A3A588294A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06581-E6EA-DA8E-16DF-5793F389B2B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BD12CC2-BCDE-EBED-9A20-E3BD3B89569A}"/>
              </a:ext>
            </a:extLst>
          </p:cNvPr>
          <p:cNvSpPr>
            <a:spLocks noGrp="1"/>
          </p:cNvSpPr>
          <p:nvPr>
            <p:ph type="body" idx="1"/>
          </p:nvPr>
        </p:nvSpPr>
        <p:spPr/>
        <p:txBody>
          <a:bodyPr/>
          <a:lstStyle/>
          <a:p>
            <a:r>
              <a:rPr lang="en-US"/>
              <a:t>*Note to sellers: The use case “</a:t>
            </a:r>
            <a:r>
              <a:rPr kumimoji="0" lang="en-US" sz="1200" b="0" i="0" u="none" strike="noStrike" kern="1200" cap="none" spc="0" normalizeH="0" baseline="0" noProof="0">
                <a:ln>
                  <a:noFill/>
                </a:ln>
                <a:solidFill>
                  <a:srgbClr val="000000"/>
                </a:solidFill>
                <a:effectLst/>
                <a:uLnTx/>
                <a:uFillTx/>
                <a:latin typeface="Segoe Sans Display Semibold"/>
                <a:ea typeface="+mn-ea"/>
                <a:cs typeface="Segoe UI" panose="020B0502040204020203" pitchFamily="34" charset="0"/>
              </a:rPr>
              <a:t>Streamline energy and resources permitting and automate complex utility rate case workflows” is a high priority use case but does not yet have a public customer story aligned to it. Please use this slide to talk to customers who are interested in this use case.</a:t>
            </a:r>
            <a:endParaRPr lang="en-US"/>
          </a:p>
          <a:p>
            <a:endParaRPr lang="en-US"/>
          </a:p>
          <a:p>
            <a:r>
              <a:rPr lang="en-US"/>
              <a:t>The Energy and Resources Permitting Accelerator is a solution that can…</a:t>
            </a:r>
          </a:p>
          <a:p>
            <a:endParaRPr lang="en-US"/>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Assess documents to quickly spot missing information, discrepancies, or areas of incomplian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Draft new documents by pulling in and refining relevant data for human review</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Query Copilot to search data sets and regulations to support permitting engineers and regulatory exper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It has the potential to bring transformative value to Energy and Resources organizations’ permitting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 Savings: </a:t>
            </a:r>
            <a:r>
              <a:rPr kumimoji="0" lang="en-US" sz="1200" b="0" i="0" u="none" strike="noStrike" kern="1200" cap="none" spc="-50" normalizeH="0" baseline="0" noProof="0">
                <a:ln w="3175">
                  <a:noFill/>
                </a:ln>
                <a:solidFill>
                  <a:srgbClr val="091F2C"/>
                </a:solidFill>
                <a:effectLst/>
                <a:uLnTx/>
                <a:uFillTx/>
                <a:latin typeface="Segoe Sans Display"/>
                <a:ea typeface="+mn-ea"/>
                <a:cs typeface="Segoe UI"/>
              </a:rPr>
              <a:t>The solution can significantly reduce the </a:t>
            </a:r>
            <a:r>
              <a:rPr kumimoji="0" lang="en-US" sz="1200" b="0" i="0" u="none" strike="noStrike" kern="1200" cap="none" spc="-50" normalizeH="0" baseline="0" noProof="0">
                <a:ln w="3175">
                  <a:noFill/>
                </a:ln>
                <a:solidFill>
                  <a:srgbClr val="091F2C"/>
                </a:solidFill>
                <a:effectLst/>
                <a:uLnTx/>
                <a:uFillTx/>
                <a:latin typeface="Segoe Sans Display Semibold"/>
                <a:ea typeface="+mn-ea"/>
                <a:cs typeface="Segoe UI"/>
              </a:rPr>
              <a:t>cost and time </a:t>
            </a:r>
            <a:r>
              <a:rPr kumimoji="0" lang="en-US" sz="1200" b="0" i="0" u="none" strike="noStrike" kern="1200" cap="none" spc="-50" normalizeH="0" baseline="0" noProof="0">
                <a:ln w="3175">
                  <a:noFill/>
                </a:ln>
                <a:solidFill>
                  <a:srgbClr val="091F2C"/>
                </a:solidFill>
                <a:effectLst/>
                <a:uLnTx/>
                <a:uFillTx/>
                <a:latin typeface="Segoe Sans Display"/>
                <a:ea typeface="+mn-ea"/>
                <a:cs typeface="Segoe UI"/>
              </a:rPr>
              <a:t>to complete permitting applications and regulatory review and approval for energy infrastructure</a:t>
            </a:r>
            <a:endParaRPr kumimoji="0" lang="en-GB" sz="1200" b="0" i="0" u="none" strike="noStrike" kern="1200" cap="none" spc="-50" normalizeH="0" baseline="0" noProof="0">
              <a:ln w="3175">
                <a:noFill/>
              </a:ln>
              <a:solidFill>
                <a:srgbClr val="091F2C"/>
              </a:solidFill>
              <a:effectLst/>
              <a:uLnTx/>
              <a:uFillTx/>
              <a:latin typeface="Segoe Sans Display"/>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UI"/>
              </a:rPr>
              <a:t>- Expanded opportunities: </a:t>
            </a:r>
            <a:r>
              <a:rPr kumimoji="0" lang="en-US" sz="1200" b="0" i="0" u="none" strike="noStrike" kern="1200" cap="none" spc="-50" normalizeH="0" baseline="0" noProof="0">
                <a:ln w="3175">
                  <a:noFill/>
                </a:ln>
                <a:solidFill>
                  <a:srgbClr val="091F2C"/>
                </a:solidFill>
                <a:effectLst/>
                <a:uLnTx/>
                <a:uFillTx/>
                <a:latin typeface="Segoe Sans Display"/>
                <a:ea typeface="+mn-ea"/>
                <a:cs typeface="Segoe UI" pitchFamily="34" charset="0"/>
              </a:rPr>
              <a:t>The solution can be extended to further scenarios (e.g., New Document Types, Translating Documents between languages or regions globally, Site Selection, etc.)</a:t>
            </a:r>
            <a:endParaRPr kumimoji="0" lang="en-GB" sz="1200" b="0" i="0" u="none" strike="noStrike" kern="1200" cap="none" spc="-50" normalizeH="0" baseline="0" noProof="0">
              <a:ln w="3175">
                <a:noFill/>
              </a:ln>
              <a:solidFill>
                <a:srgbClr val="091F2C"/>
              </a:solidFill>
              <a:effectLst/>
              <a:uLnTx/>
              <a:uFillTx/>
              <a:latin typeface="Segoe Sans Display"/>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a:endParaRPr>
          </a:p>
          <a:p>
            <a:endParaRPr lang="en-US"/>
          </a:p>
        </p:txBody>
      </p:sp>
      <p:sp>
        <p:nvSpPr>
          <p:cNvPr id="4" name="Slide Number Placeholder 3">
            <a:extLst>
              <a:ext uri="{FF2B5EF4-FFF2-40B4-BE49-F238E27FC236}">
                <a16:creationId xmlns:a16="http://schemas.microsoft.com/office/drawing/2014/main" id="{60A499AC-F2B2-40DA-9F6C-72355B9603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B4D54E-2BA2-4895-A6DE-82C2312451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3268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BE390-9860-74F7-67D9-9981DC10D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772683-D2A2-72AB-BF5E-106EA3564E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8FB666-4AF6-9C45-561F-ADD339D5F511}"/>
              </a:ext>
            </a:extLst>
          </p:cNvPr>
          <p:cNvSpPr>
            <a:spLocks noGrp="1"/>
          </p:cNvSpPr>
          <p:nvPr>
            <p:ph type="body" idx="1"/>
          </p:nvPr>
        </p:nvSpPr>
        <p:spPr/>
        <p:txBody>
          <a:bodyPr/>
          <a:lstStyle/>
          <a:p>
            <a:r>
              <a:rPr lang="en-US" sz="1200" kern="1200">
                <a:solidFill>
                  <a:schemeClr val="tx1"/>
                </a:solidFill>
                <a:effectLst/>
                <a:latin typeface="+mn-lt"/>
                <a:ea typeface="+mn-ea"/>
                <a:cs typeface="+mn-cs"/>
              </a:rPr>
              <a:t>Rounding out to the last pillar: Bending the curve on </a:t>
            </a:r>
            <a:r>
              <a:rPr lang="en-US" sz="1200" b="1" kern="1200">
                <a:solidFill>
                  <a:schemeClr val="tx1"/>
                </a:solidFill>
                <a:effectLst/>
                <a:latin typeface="+mn-lt"/>
                <a:ea typeface="+mn-ea"/>
                <a:cs typeface="+mn-cs"/>
              </a:rPr>
              <a:t>innovation</a:t>
            </a:r>
            <a:r>
              <a:rPr lang="en-US" sz="1200" kern="1200">
                <a:solidFill>
                  <a:schemeClr val="tx1"/>
                </a:solidFill>
                <a:effectLst/>
                <a:latin typeface="+mn-lt"/>
                <a:ea typeface="+mn-ea"/>
                <a:cs typeface="+mn-cs"/>
              </a:rPr>
              <a: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enerative AI stands as a transformative force in the realm of innovation, offering organizations an unprecedented ability to accelerate their creative processes and product development. By leveraging this technology, companies can generate novel ideas, design prototypes, and iterate at a pace that was previously unattainabl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instance, in the automotive industry, generative AI can be used to create efficient vehicle designs, reducing time-to-market and fueling competitive advantage. In pharmaceuticals, it can rapidly generate molecular structures for new drugs, potentially slashing years off the R&amp;D proces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reover, in the field of content creation, generative AI assists in producing original marketing material, from ad copy to personalized customer interactions, enhancing brand presence and engagemen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s business leaders, embracing generative AI means not just keeping pace with the current wave of innovation, but actively shaping its trajectory to your organization's advantag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et’s look at a few examples…</a:t>
            </a:r>
          </a:p>
        </p:txBody>
      </p:sp>
      <p:sp>
        <p:nvSpPr>
          <p:cNvPr id="4" name="Slide Number Placeholder 3">
            <a:extLst>
              <a:ext uri="{FF2B5EF4-FFF2-40B4-BE49-F238E27FC236}">
                <a16:creationId xmlns:a16="http://schemas.microsoft.com/office/drawing/2014/main" id="{F4C78B42-6797-D01F-BF55-F59EC96514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95612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CDC17-80C0-62AA-3C2F-15217C816C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0A357C-948B-72E7-8594-C40DC88E900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9FAB59F-2B17-B0C6-5EA5-8F4CB01F73A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PETRONAS drives quality decision-making with fast, easy access to intelligent data hub built o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Liberalized data on a unified platform: </a:t>
            </a:r>
            <a:r>
              <a:rPr lang="en-US" sz="1200">
                <a:solidFill>
                  <a:srgbClr val="000000"/>
                </a:solidFill>
                <a:latin typeface="Segoe Sans Display"/>
              </a:rPr>
              <a:t>Made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data available and accessible to everyone at the company through a unified platform supported by Microsoft Azur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78D4"/>
                </a:solidFill>
                <a:latin typeface="Segoe Sans Display Semibold"/>
              </a:rPr>
              <a:t>Enabled enterprise analytics at scale: </a:t>
            </a:r>
            <a:r>
              <a:rPr lang="en-US" sz="1200">
                <a:solidFill>
                  <a:srgbClr val="091F2C"/>
                </a:solidFill>
                <a:latin typeface="Segoe Sans Display" pitchFamily="2" charset="0"/>
                <a:cs typeface="Segoe Sans Display" pitchFamily="2" charset="0"/>
              </a:rPr>
              <a:t>90% of users reported spending a shorter amount of time to get inform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Empowered employees: </a:t>
            </a:r>
            <a:r>
              <a:rPr lang="en-US" sz="1200">
                <a:solidFill>
                  <a:srgbClr val="000000"/>
                </a:solidFill>
                <a:latin typeface="Segoe Sans Display"/>
              </a:rPr>
              <a:t>Empowered employees to use actionable insights for improved decision-mak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2F2F2F"/>
                </a:solidFill>
                <a:effectLst/>
                <a:uLnTx/>
                <a:uFillTx/>
                <a:ea typeface="+mn-ea"/>
                <a:cs typeface="Segoe Sans Display" pitchFamily="2" charset="0"/>
              </a:rPr>
              <a:t>“Our employees in different departments can draw new insights, discover new ideas, and take innovative actions without any need for coding knowledge to analyze data.”</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400">
                <a:solidFill>
                  <a:srgbClr val="0078D4"/>
                </a:solidFill>
                <a:latin typeface="Segoe Sans Display Semibold"/>
              </a:rPr>
              <a:t>–Datin Habsah Nordin, </a:t>
            </a:r>
            <a:r>
              <a:rPr lang="en-US" sz="1100">
                <a:solidFill>
                  <a:srgbClr val="000000"/>
                </a:solidFill>
                <a:latin typeface="Segoe Sans Display"/>
              </a:rPr>
              <a:t>Head, Enterprise Data, PETRONAS</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sz="1100">
              <a:solidFill>
                <a:srgbClr val="000000"/>
              </a:solidFill>
              <a:latin typeface="Segoe Sans Display"/>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100">
                <a:solidFill>
                  <a:srgbClr val="000000"/>
                </a:solidFill>
                <a:latin typeface="Segoe Sans Display"/>
              </a:rPr>
              <a:t>Link: </a:t>
            </a:r>
            <a:r>
              <a:rPr lang="en-US" sz="1100">
                <a:hlinkClick r:id="rId3"/>
              </a:rPr>
              <a:t>https://www.microsoft.com/en/customers/story/1686511475723076178-petronas-energy-azure-en-malaysia</a:t>
            </a:r>
            <a:endParaRPr lang="en-US" sz="1100">
              <a:solidFill>
                <a:srgbClr val="000000"/>
              </a:solidFill>
              <a:latin typeface="Segoe Sans Display"/>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4CF3981C-A0D3-E3A1-EB52-577DD61AA8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89617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6131F-B9D3-BCD8-D1FE-21557413A5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C61169-3410-8BFA-0732-1749996F6E8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A16DA5C-7945-0899-D14E-456F418F066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Enerjisa </a:t>
            </a:r>
            <a:r>
              <a:rPr kumimoji="0" lang="en-US" sz="1200" b="0" i="0" u="none" strike="noStrike" kern="1200" cap="none" spc="0" normalizeH="0" baseline="0" noProof="0" err="1">
                <a:ln>
                  <a:noFill/>
                </a:ln>
                <a:solidFill>
                  <a:srgbClr val="000000"/>
                </a:solidFill>
                <a:effectLst/>
                <a:uLnTx/>
                <a:uFillTx/>
                <a:latin typeface="Segoe Sans Display Semibold"/>
                <a:ea typeface="+mn-ea"/>
                <a:cs typeface="Segoe Sans Display" pitchFamily="2" charset="0"/>
              </a:rPr>
              <a:t>Üretim</a:t>
            </a: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 revolutionizes sustainable energy management with Microsoft Azure and A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outcom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Resolved issues remotely: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Built remote Operation Center that oversees 20 hydropower, wind, and solar plants 24/7 and can identify, assess and resolve 99% of issues remotel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Embraced AI to streamline energy operations: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Developed </a:t>
            </a:r>
            <a:r>
              <a:rPr kumimoji="0" lang="en-US" sz="1200" b="0" i="0" u="none" strike="noStrike" kern="1200" cap="none" spc="0" normalizeH="0" baseline="0" noProof="0" err="1">
                <a:ln>
                  <a:noFill/>
                </a:ln>
                <a:solidFill>
                  <a:srgbClr val="000000"/>
                </a:solidFill>
                <a:effectLst/>
                <a:uLnTx/>
                <a:uFillTx/>
                <a:latin typeface="Segoe Sans Display"/>
                <a:ea typeface="+mn-ea"/>
                <a:cs typeface="+mn-cs"/>
              </a:rPr>
              <a:t>Onepact</a:t>
            </a:r>
            <a:r>
              <a:rPr kumimoji="0" lang="en-US" sz="1200" b="0" i="0" u="none" strike="noStrike" kern="1200" cap="none" spc="0" normalizeH="0" baseline="0" noProof="0">
                <a:ln>
                  <a:noFill/>
                </a:ln>
                <a:solidFill>
                  <a:srgbClr val="000000"/>
                </a:solidFill>
                <a:effectLst/>
                <a:uLnTx/>
                <a:uFillTx/>
                <a:latin typeface="Segoe Sans Display"/>
                <a:ea typeface="+mn-ea"/>
                <a:cs typeface="+mn-cs"/>
              </a:rPr>
              <a:t> AI, which uses Azure OpenAI Service, to access and analyze </a:t>
            </a:r>
            <a:r>
              <a:rPr kumimoji="0" lang="en-US" sz="1200" b="0" i="0" u="none" strike="noStrike" kern="1200" cap="none" spc="0" normalizeH="0" baseline="0" noProof="0" err="1">
                <a:ln>
                  <a:noFill/>
                </a:ln>
                <a:solidFill>
                  <a:srgbClr val="000000"/>
                </a:solidFill>
                <a:effectLst/>
                <a:uLnTx/>
                <a:uFillTx/>
                <a:latin typeface="Segoe Sans Display"/>
                <a:ea typeface="+mn-ea"/>
                <a:cs typeface="+mn-cs"/>
              </a:rPr>
              <a:t>analyze</a:t>
            </a:r>
            <a:r>
              <a:rPr kumimoji="0" lang="en-US" sz="1200" b="0" i="0" u="none" strike="noStrike" kern="1200" cap="none" spc="0" normalizeH="0" baseline="0" noProof="0">
                <a:ln>
                  <a:noFill/>
                </a:ln>
                <a:solidFill>
                  <a:srgbClr val="000000"/>
                </a:solidFill>
                <a:effectLst/>
                <a:uLnTx/>
                <a:uFillTx/>
                <a:latin typeface="Segoe Sans Display"/>
                <a:ea typeface="+mn-ea"/>
                <a:cs typeface="+mn-cs"/>
              </a:rPr>
              <a:t> its IOT data collected from ~40.000 datapoi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Increased efficiency: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Increased efficiency and ease of operation of more than 20 power plants. With Generative AI, the company can get an answer in seconds instead of day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We can predict average daily production for turbines for the next two months. The prediction isn't a simple extrapolation of our current production values. It considers the condition of assets, upcoming site availability, weather conditions, wind speed, and even factors like rain that may reduce turbine efficiency.”</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Ali </a:t>
            </a:r>
            <a:r>
              <a:rPr kumimoji="0" lang="en-US" sz="1200" b="0" i="0" u="none" strike="noStrike" kern="1200" cap="none" spc="0" normalizeH="0" baseline="0" noProof="0" err="1">
                <a:ln>
                  <a:noFill/>
                </a:ln>
                <a:solidFill>
                  <a:srgbClr val="0078D4"/>
                </a:solidFill>
                <a:effectLst/>
                <a:uLnTx/>
                <a:uFillTx/>
                <a:latin typeface="Segoe Sans Display Semibold"/>
                <a:ea typeface="+mn-ea"/>
                <a:cs typeface="Segoe Sans Display" pitchFamily="2" charset="0"/>
              </a:rPr>
              <a:t>İnal</a:t>
            </a: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a:t>
            </a:r>
            <a:r>
              <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rPr>
              <a:t>Deputy General Manager, IT and Digital Business, Enerjisa </a:t>
            </a:r>
            <a:r>
              <a:rPr kumimoji="0" lang="en-US" sz="1100" b="0" i="0" u="none" strike="noStrike" kern="1200" cap="none" spc="0" normalizeH="0" baseline="0" noProof="0" err="1">
                <a:ln>
                  <a:noFill/>
                </a:ln>
                <a:solidFill>
                  <a:srgbClr val="000000"/>
                </a:solidFill>
                <a:effectLst/>
                <a:uLnTx/>
                <a:uFillTx/>
                <a:latin typeface="Segoe Sans Display"/>
                <a:ea typeface="+mn-ea"/>
                <a:cs typeface="Segoe Sans Display" pitchFamily="2" charset="0"/>
              </a:rPr>
              <a:t>Üretim</a:t>
            </a:r>
            <a:endParaRPr kumimoji="0" lang="en-US" sz="11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Link: </a:t>
            </a:r>
            <a:r>
              <a:rPr lang="en-US">
                <a:hlinkClick r:id="rId3"/>
              </a:rPr>
              <a:t>https://www.microsoft.com/en/customers/story/1711956075760053884-enerjisauretim-azure-energy-en-turkiye</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C7E9901A-B365-F380-2F90-FC79A9CDB8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66660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78E99-B1EF-60BB-F07B-8A6837EF7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56B383-DC17-0399-EB10-97FFBA475CB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6832DB5-496C-536C-3EB8-4C49010AB92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Semibold"/>
                <a:ea typeface="+mn-ea"/>
                <a:cs typeface="Segoe Sans Display" pitchFamily="2" charset="0"/>
              </a:rPr>
              <a:t>Aker BP transforms its data and operations with Microsoft Azure Data Manager for Energy</a:t>
            </a:r>
          </a:p>
          <a:p>
            <a:endParaRPr lang="en-US"/>
          </a:p>
          <a:p>
            <a:r>
              <a:rPr lang="en-US"/>
              <a:t>Business outcom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78D4"/>
                </a:solidFill>
                <a:latin typeface="Segoe Sans Display Semibold"/>
              </a:rPr>
              <a:t>Valuable data insights</a:t>
            </a: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Harnessed the power of Azure Data Manager for Energy to analyze vast amounts of energy-related datasets, applications, and cloud servic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Boosted data efficiency: </a:t>
            </a:r>
            <a:r>
              <a:rPr lang="en-US" sz="1200">
                <a:solidFill>
                  <a:srgbClr val="000000"/>
                </a:solidFill>
                <a:latin typeface="Segoe Sans Display"/>
              </a:rPr>
              <a:t>Enabled third-party applications—such as well planning, geological modeling tools, and productivity and analytics solutions—to work seamlessly with the company’s other data laye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78D4"/>
                </a:solidFill>
                <a:latin typeface="Segoe Sans Display Semibold"/>
              </a:rPr>
              <a:t>Decreased evaluation time</a:t>
            </a: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 </a:t>
            </a:r>
            <a:r>
              <a:rPr lang="en-US" sz="1200">
                <a:solidFill>
                  <a:srgbClr val="000000"/>
                </a:solidFill>
                <a:latin typeface="Segoe Sans Display"/>
              </a:rPr>
              <a:t>Gained valuable business insights to increase operational efficiency and reduce data evaluation tim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sz="1200">
              <a:solidFill>
                <a:srgbClr val="000000"/>
              </a:solidFill>
              <a:latin typeface="Segoe Sans Display"/>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2F2F2F"/>
                </a:solidFill>
                <a:effectLst/>
                <a:uLnTx/>
                <a:uFillTx/>
                <a:latin typeface="Segoe Sans Display" pitchFamily="2" charset="0"/>
              </a:rPr>
              <a:t>“In the heart of energy transformation, there's a drive to innovate and to build things. We've found the key lies in the power of data, while understanding that data requires discipline and commitment.”</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Kjetil Nes, </a:t>
            </a:r>
            <a:r>
              <a:rPr lang="en-US" sz="1100">
                <a:solidFill>
                  <a:srgbClr val="000000"/>
                </a:solidFill>
                <a:latin typeface="Segoe Sans Display"/>
              </a:rPr>
              <a:t>Chief of Concept Development, Aker BP</a:t>
            </a: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Link: </a:t>
            </a:r>
            <a:r>
              <a:rPr lang="en-US">
                <a:hlinkClick r:id="rId3"/>
              </a:rPr>
              <a:t>https://www.microsoft.com/en/customers/story/1675611442857614824-akerbp-energy-azure-data-manager-for-energy?msockid=3e404d65e0e667d53e6058eee15c667b</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171450"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F5359408-F4C7-DD52-D30E-1C23F6F422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7DEAD6-0AA5-48BB-B295-633A026213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36862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Demo: </a:t>
            </a:r>
            <a:r>
              <a:rPr lang="en-US" dirty="0"/>
              <a:t>Energy Asset Evaluation Accelerat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Energy Asset Evaluation Accelerator </a:t>
            </a:r>
            <a:r>
              <a:rPr kumimoji="0" lang="en-US" sz="1200" b="0" i="0" u="none" strike="noStrike" kern="1200" cap="none" spc="0" normalizeH="0" baseline="0" noProof="0" dirty="0">
                <a:ln>
                  <a:noFill/>
                </a:ln>
                <a:solidFill>
                  <a:srgbClr val="091F2C"/>
                </a:solidFill>
                <a:effectLst/>
                <a:uLnTx/>
                <a:uFillTx/>
                <a:latin typeface="Segoe Sans Display"/>
                <a:ea typeface="+mn-ea"/>
                <a:cs typeface="Segoe UI" pitchFamily="34" charset="0"/>
              </a:rPr>
              <a:t>leverages Azure Data Manger for Energy, Microsoft Fabric, and Microsoft 365 Copilot to transform the access, analysis, and sharing of energy data for rapid asset eval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91F2C"/>
              </a:solidFill>
              <a:effectLst/>
              <a:uLnTx/>
              <a:uFillTx/>
              <a:latin typeface="Segoe Sans Display"/>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91F2C"/>
                </a:solidFill>
                <a:effectLst/>
                <a:uLnTx/>
                <a:uFillTx/>
                <a:latin typeface="Segoe Sans Display"/>
                <a:ea typeface="+mn-ea"/>
                <a:cs typeface="Segoe UI" pitchFamily="34" charset="0"/>
              </a:rPr>
              <a:t>It p</a:t>
            </a:r>
            <a:r>
              <a:rPr kumimoji="0" lang="en-US" sz="1200" b="0" i="0" u="none" strike="noStrike" kern="1200" cap="none" spc="0" normalizeH="0" baseline="0" noProof="0" dirty="0">
                <a:ln>
                  <a:noFill/>
                </a:ln>
                <a:solidFill>
                  <a:srgbClr val="091F2C"/>
                </a:solidFill>
                <a:effectLst/>
                <a:uLnTx/>
                <a:uFillTx/>
                <a:latin typeface="Segoe Sans Display"/>
                <a:ea typeface="Segoe UI" pitchFamily="34" charset="0"/>
                <a:cs typeface="Segoe UI" pitchFamily="34" charset="0"/>
              </a:rPr>
              <a:t>rovides quick and actionable insights from structured and unstructured data in a single interface, enables teams to decrease time to decision, can be asked about specific well data questions and receive helpful answers without having to search through entire documents or databases, and can suggest additional prompts for deeper insights into wellbore data.</a:t>
            </a:r>
            <a:endParaRPr kumimoji="0" lang="en-US" sz="1200" b="0" i="0" u="none" strike="noStrike" kern="1200" cap="none" spc="0" normalizeH="0" baseline="0" noProof="0" dirty="0">
              <a:ln>
                <a:noFill/>
              </a:ln>
              <a:solidFill>
                <a:srgbClr val="091F2C"/>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91F2C"/>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91F2C"/>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91F2C"/>
              </a:solidFill>
              <a:effectLst/>
              <a:uLnTx/>
              <a:uFillTx/>
              <a:latin typeface="Segoe Sans Display"/>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B4D54E-2BA2-4895-A6DE-82C2312451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8024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EBF6C6-C1E6-969E-674D-5F61CDAD48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1A5382-9D50-A439-D2EF-BC8DC51F05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824D5E-82E3-D05E-8FED-17831BD5A097}"/>
              </a:ext>
            </a:extLst>
          </p:cNvPr>
          <p:cNvSpPr>
            <a:spLocks noGrp="1"/>
          </p:cNvSpPr>
          <p:nvPr>
            <p:ph type="body" idx="1"/>
          </p:nvPr>
        </p:nvSpPr>
        <p:spPr/>
        <p:txBody>
          <a:bodyPr/>
          <a:lstStyle/>
          <a:p>
            <a:pPr>
              <a:lnSpc>
                <a:spcPct val="107000"/>
              </a:lnSpc>
              <a:spcAft>
                <a:spcPts val="800"/>
              </a:spcAft>
            </a:pPr>
            <a:r>
              <a:rPr lang="en-US" sz="1800" kern="100">
                <a:effectLst/>
                <a:latin typeface="Aptos"/>
                <a:ea typeface="Aptos" panose="020B0004020202020204" pitchFamily="34" charset="0"/>
                <a:cs typeface="Arial" panose="020B0604020202020204" pitchFamily="34" charset="0"/>
              </a:rPr>
              <a:t>Every company’s experience will be different, but we see </a:t>
            </a:r>
            <a:r>
              <a:rPr lang="en-US" sz="1800" kern="100">
                <a:latin typeface="Aptos"/>
                <a:ea typeface="Aptos" panose="020B0004020202020204" pitchFamily="34" charset="0"/>
                <a:cs typeface="Arial" panose="020B0604020202020204" pitchFamily="34" charset="0"/>
              </a:rPr>
              <a:t>this journey playing</a:t>
            </a:r>
            <a:r>
              <a:rPr lang="en-US" sz="1800" kern="100">
                <a:effectLst/>
                <a:latin typeface="Aptos"/>
                <a:ea typeface="Aptos" panose="020B0004020202020204" pitchFamily="34" charset="0"/>
                <a:cs typeface="Arial" panose="020B0604020202020204" pitchFamily="34" charset="0"/>
              </a:rPr>
              <a:t> out in three phases: &lt;click&gt;</a:t>
            </a:r>
          </a:p>
          <a:p>
            <a:pPr marL="0" marR="0">
              <a:lnSpc>
                <a:spcPct val="107000"/>
              </a:lnSpc>
              <a:spcAft>
                <a:spcPts val="800"/>
              </a:spcAft>
              <a:buNone/>
            </a:pPr>
            <a:r>
              <a:rPr lang="en-US" sz="1800" kern="100">
                <a:effectLst/>
                <a:latin typeface="Aptos"/>
                <a:ea typeface="Aptos" panose="020B0004020202020204" pitchFamily="34" charset="0"/>
                <a:cs typeface="Arial" panose="020B0604020202020204" pitchFamily="34" charset="0"/>
              </a:rPr>
              <a:t> </a:t>
            </a:r>
          </a:p>
          <a:p>
            <a:pPr marL="342900" marR="0" lvl="0" indent="-342900">
              <a:lnSpc>
                <a:spcPct val="107000"/>
              </a:lnSpc>
              <a:spcAft>
                <a:spcPts val="800"/>
              </a:spcAft>
              <a:buFont typeface="Symbol" panose="05050102010706020507" pitchFamily="18" charset="2"/>
              <a:buChar char=""/>
            </a:pPr>
            <a:r>
              <a:rPr lang="en-US" sz="1800" b="1" kern="100">
                <a:effectLst/>
                <a:latin typeface="Aptos"/>
                <a:ea typeface="Aptos" panose="020B0004020202020204" pitchFamily="34" charset="0"/>
                <a:cs typeface="Arial" panose="020B0604020202020204" pitchFamily="34" charset="0"/>
              </a:rPr>
              <a:t>In the first phase, </a:t>
            </a:r>
            <a:r>
              <a:rPr lang="en-US" sz="1800" kern="100">
                <a:effectLst/>
                <a:latin typeface="Aptos"/>
                <a:ea typeface="Aptos" panose="020B0004020202020204" pitchFamily="34" charset="0"/>
                <a:cs typeface="Arial" panose="020B0604020202020204" pitchFamily="34" charset="0"/>
              </a:rPr>
              <a:t>AI acts as an assistant, helping people do the same work better and faster. &lt;click&gt;</a:t>
            </a:r>
          </a:p>
          <a:p>
            <a:pPr marL="342900" marR="0" lvl="0" indent="-342900">
              <a:lnSpc>
                <a:spcPct val="107000"/>
              </a:lnSpc>
              <a:spcAft>
                <a:spcPts val="800"/>
              </a:spcAft>
              <a:buFont typeface="Symbol" panose="05050102010706020507" pitchFamily="18" charset="2"/>
              <a:buChar char=""/>
            </a:pP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en-US" sz="1800" b="1" kern="100">
                <a:effectLst/>
                <a:latin typeface="Aptos"/>
                <a:ea typeface="Aptos" panose="020B0004020202020204" pitchFamily="34" charset="0"/>
                <a:cs typeface="Arial" panose="020B0604020202020204" pitchFamily="34" charset="0"/>
              </a:rPr>
              <a:t>In phase 3, </a:t>
            </a:r>
            <a:r>
              <a:rPr lang="en-US" sz="4400" b="0" i="0">
                <a:solidFill>
                  <a:srgbClr val="000000"/>
                </a:solidFill>
                <a:effectLst/>
                <a:latin typeface="Aptos" panose="020B0004020202020204" pitchFamily="34" charset="0"/>
              </a:rPr>
              <a:t>agents join teams as “digital colleagues,” taking on specific tasks at human direction—for instance, a researcher agent creating a go-to-market plan.</a:t>
            </a:r>
            <a:r>
              <a:rPr lang="en-US" sz="1800" kern="100">
                <a:effectLst/>
                <a:latin typeface="Aptos"/>
                <a:ea typeface="Aptos" panose="020B0004020202020204" pitchFamily="34" charset="0"/>
                <a:cs typeface="Arial" panose="020B0604020202020204" pitchFamily="34" charset="0"/>
              </a:rPr>
              <a:t> &lt;click&gt;</a:t>
            </a:r>
          </a:p>
          <a:p>
            <a:pPr marL="342900" marR="0" lvl="0" indent="-342900">
              <a:lnSpc>
                <a:spcPct val="107000"/>
              </a:lnSpc>
              <a:spcAft>
                <a:spcPts val="800"/>
              </a:spcAft>
              <a:buFont typeface="Symbol" panose="05050102010706020507" pitchFamily="18" charset="2"/>
              <a:buChar char=""/>
            </a:pP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en-US" sz="1800" kern="100">
                <a:effectLst/>
                <a:latin typeface="Aptos"/>
                <a:ea typeface="Aptos" panose="020B0004020202020204" pitchFamily="34" charset="0"/>
                <a:cs typeface="Arial" panose="020B0604020202020204" pitchFamily="34" charset="0"/>
              </a:rPr>
              <a:t>And in phase 3—</a:t>
            </a:r>
            <a:r>
              <a:rPr lang="en-US" sz="4400" b="0" i="0" kern="100">
                <a:solidFill>
                  <a:srgbClr val="000000"/>
                </a:solidFill>
                <a:effectLst/>
                <a:latin typeface="Aptos" panose="020B0004020202020204" pitchFamily="34" charset="0"/>
                <a:ea typeface="Aptos" panose="020B0004020202020204" pitchFamily="34" charset="0"/>
                <a:cs typeface="Arial" panose="020B0604020202020204" pitchFamily="34" charset="0"/>
              </a:rPr>
              <a:t>people </a:t>
            </a:r>
            <a:r>
              <a:rPr lang="en-US" sz="4400" b="0" i="0">
                <a:solidFill>
                  <a:srgbClr val="000000"/>
                </a:solidFill>
                <a:effectLst/>
                <a:latin typeface="Aptos" panose="020B0004020202020204" pitchFamily="34" charset="0"/>
              </a:rPr>
              <a:t>set direction for agents that run entire business processes and workflows, checking in as needed.</a:t>
            </a:r>
          </a:p>
          <a:p>
            <a:pPr marL="0" marR="0" lvl="0" indent="0">
              <a:lnSpc>
                <a:spcPct val="107000"/>
              </a:lnSpc>
              <a:spcAft>
                <a:spcPts val="800"/>
              </a:spcAft>
              <a:buFont typeface="Symbol" panose="05050102010706020507" pitchFamily="18" charset="2"/>
              <a:buNone/>
            </a:pP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Aft>
                <a:spcPts val="800"/>
              </a:spcAft>
              <a:buNone/>
            </a:pPr>
            <a:r>
              <a:rPr lang="en-US" sz="1800">
                <a:effectLst/>
                <a:latin typeface="Aptos"/>
                <a:ea typeface="Aptos" panose="020B0004020202020204" pitchFamily="34" charset="0"/>
                <a:cs typeface="Arial" panose="020B0604020202020204" pitchFamily="34" charset="0"/>
              </a:rPr>
              <a:t>Picture how a supply chain role may change: with agents handling end-to-end logistics, while humans guide the agent system, resolve exceptions, and manage supplier relationships. Human work isn’t replaced, it’s elevated.</a:t>
            </a:r>
            <a:br>
              <a:rPr lang="en-US" sz="1800">
                <a:effectLst/>
                <a:latin typeface="Aptos"/>
                <a:ea typeface="Aptos" panose="020B0004020202020204" pitchFamily="34" charset="0"/>
                <a:cs typeface="Arial" panose="020B0604020202020204" pitchFamily="34" charset="0"/>
              </a:rPr>
            </a:br>
            <a:br>
              <a:rPr lang="en-US" sz="1800">
                <a:effectLst/>
                <a:latin typeface="Aptos"/>
                <a:ea typeface="Aptos" panose="020B0004020202020204" pitchFamily="34" charset="0"/>
                <a:cs typeface="Arial" panose="020B0604020202020204" pitchFamily="34" charset="0"/>
              </a:rPr>
            </a:br>
            <a:r>
              <a:rPr lang="en-US" sz="1800">
                <a:effectLst/>
                <a:latin typeface="Aptos"/>
                <a:ea typeface="Aptos" panose="020B0004020202020204" pitchFamily="34" charset="0"/>
                <a:cs typeface="Arial" panose="020B0604020202020204" pitchFamily="34" charset="0"/>
              </a:rPr>
              <a:t>This won’t be a linear journey, and many companies will be in all three phases simultaneously.. </a:t>
            </a:r>
            <a:br>
              <a:rPr lang="en-US" sz="1800">
                <a:effectLst/>
                <a:latin typeface="Aptos" panose="020B0004020202020204" pitchFamily="34" charset="0"/>
                <a:ea typeface="Aptos" panose="020B0004020202020204" pitchFamily="34" charset="0"/>
                <a:cs typeface="Arial" panose="020B0604020202020204" pitchFamily="34" charset="0"/>
              </a:rPr>
            </a:br>
            <a:endParaRPr lang="en-US" sz="1800" kern="100">
              <a:effectLst/>
              <a:latin typeface="Aptos" panose="020B0004020202020204" pitchFamily="34" charset="0"/>
              <a:ea typeface="Aptos" panose="020B0004020202020204" pitchFamily="34" charset="0"/>
              <a:cs typeface="Arial" panose="020B0604020202020204" pitchFamily="34" charset="0"/>
            </a:endParaRPr>
          </a:p>
          <a:p>
            <a:pPr>
              <a:buNone/>
            </a:pPr>
            <a:endParaRPr lang="en-US"/>
          </a:p>
        </p:txBody>
      </p:sp>
      <p:sp>
        <p:nvSpPr>
          <p:cNvPr id="4" name="Header Placeholder 3">
            <a:extLst>
              <a:ext uri="{FF2B5EF4-FFF2-40B4-BE49-F238E27FC236}">
                <a16:creationId xmlns:a16="http://schemas.microsoft.com/office/drawing/2014/main" id="{16CED768-F7C5-8CFA-8803-487453F2619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7BD39B5-D163-2DE4-B666-7DBE4CB5BA4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5B081B7-3DEC-4904-18C6-4105507E704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8/2025 11: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DC145DC7-432F-866E-D3FA-C7CDE3E1B3D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96748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ller Guidance:</a:t>
            </a:r>
            <a:endParaRPr lang="en-US">
              <a:solidFill>
                <a:srgbClr val="444444"/>
              </a:solidFill>
            </a:endParaRPr>
          </a:p>
          <a:p>
            <a:r>
              <a:rPr lang="en-US"/>
              <a:t>This slide is to be used as a mini customer assessment to help you better understand where the customer is at in terms of their AI Transformation journey and use of agents. Use the question prompts to start the discussion and determine which Microsoft AI solutions can best support their functions and operations.</a:t>
            </a:r>
          </a:p>
          <a:p>
            <a:endParaRPr lang="en-US">
              <a:solidFill>
                <a:srgbClr val="444444"/>
              </a:solidFill>
            </a:endParaRPr>
          </a:p>
          <a:p>
            <a:r>
              <a:rPr lang="en-US">
                <a:solidFill>
                  <a:srgbClr val="444444"/>
                </a:solidFill>
              </a:rPr>
              <a:t>Once you’ve identified where they are, you can leverage the AI use cases deck to go deeper with the customer. For example, if they aren’t using AI so employees can get answers quickly, you can leverage the HR use cases deck to go deeper into opportunities.</a:t>
            </a:r>
          </a:p>
          <a:p>
            <a:endParaRPr lang="en-US">
              <a:solidFill>
                <a:srgbClr val="444444"/>
              </a:solidFill>
            </a:endParaRPr>
          </a:p>
          <a:p>
            <a:r>
              <a:rPr lang="en-US"/>
              <a:t>Becoming Frontier isn’t just about adopting AI—it’s about rearchitecting how your enterprise thinks, operates, and innovates. It’s a journey of transformation, not just technology.</a:t>
            </a:r>
            <a:br>
              <a:rPr lang="en-US"/>
            </a:br>
            <a:br>
              <a:rPr lang="en-US"/>
            </a:br>
            <a:br>
              <a:rPr lang="en-US"/>
            </a:br>
            <a:r>
              <a:rPr lang="en-US"/>
              <a:t>Seller Conversation Tips:</a:t>
            </a:r>
            <a:endParaRPr lang="en-US">
              <a:solidFill>
                <a:srgbClr val="444444"/>
              </a:solidFill>
            </a:endParaRPr>
          </a:p>
          <a:p>
            <a:br>
              <a:rPr lang="en-US">
                <a:solidFill>
                  <a:srgbClr val="444444"/>
                </a:solidFill>
              </a:rPr>
            </a:br>
            <a:r>
              <a:rPr lang="en-US" b="1"/>
              <a:t>Start with Phase 1</a:t>
            </a:r>
            <a:r>
              <a:rPr lang="en-US"/>
              <a:t> to validate where the organization is today. - “Let’s look at where assistants are already driving productivity—this is often the first step.”</a:t>
            </a:r>
            <a:endParaRPr lang="en-US">
              <a:solidFill>
                <a:srgbClr val="444444"/>
              </a:solidFill>
            </a:endParaRPr>
          </a:p>
          <a:p>
            <a:r>
              <a:rPr lang="en-US" b="1"/>
              <a:t>Introduce Phase 2</a:t>
            </a:r>
            <a:r>
              <a:rPr lang="en-US"/>
              <a:t> as the shift from assistants to incorporating Agents as “digital colleagues - “This is where agents begin to act with intent—guided by human strategy.”</a:t>
            </a:r>
            <a:endParaRPr lang="en-US">
              <a:solidFill>
                <a:srgbClr val="444444"/>
              </a:solidFill>
            </a:endParaRPr>
          </a:p>
          <a:p>
            <a:r>
              <a:rPr lang="en-US" b="1"/>
              <a:t>Position Phase 3</a:t>
            </a:r>
            <a:r>
              <a:rPr lang="en-US"/>
              <a:t> as the frontier of scale and autonomy - “Here, agents operate across domains—executing workflows, resolving issues, and accelerating innovation.”</a:t>
            </a:r>
            <a:endParaRPr lang="en-US">
              <a:solidFill>
                <a:srgbClr val="444444"/>
              </a:soli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1657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A94D7-464B-A80A-42A6-D986B6CA56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364821-A5BB-A0C4-5F45-5605B605DD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593AE-7C1C-4488-7D66-55F9ECD63B2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Sans Display Semibold"/>
                <a:ea typeface="+mn-ea"/>
                <a:cs typeface="Segoe Sans Display Semibold"/>
              </a:rPr>
              <a:t>Microsoft is the proven leaders for AI transformation.  The advantages we offer are:</a:t>
            </a:r>
            <a:br>
              <a:rPr lang="en-US" sz="1200" b="0" kern="1200">
                <a:solidFill>
                  <a:schemeClr val="tx1"/>
                </a:solidFill>
                <a:latin typeface="Segoe Sans Display Semibold"/>
                <a:ea typeface="+mn-ea"/>
                <a:cs typeface="Segoe Sans Display Semibold"/>
              </a:rPr>
            </a:br>
            <a:endParaRPr lang="en-US" sz="1200" b="0" kern="1200">
              <a:solidFill>
                <a:schemeClr val="tx1"/>
              </a:solidFill>
              <a:latin typeface="Segoe Sans Display Semibold"/>
              <a:ea typeface="+mn-ea"/>
              <a:cs typeface="Segoe Sans Display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Sans Display Semibold"/>
                <a:ea typeface="+mn-ea"/>
                <a:cs typeface="Segoe Sans Display Semibold"/>
              </a:rPr>
              <a:t>Essential tools for agentic business transformation to empower your workforce and redesign workflow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latin typeface="Segoe Sans Display Semibold"/>
              <a:ea typeface="+mn-ea"/>
              <a:cs typeface="Segoe Sans Display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Segoe Sans Display Semibold"/>
                <a:ea typeface="+mn-ea"/>
                <a:cs typeface="Segoe Sans Display Semibold"/>
              </a:rPr>
              <a:t>Leverage the Microsoft cloud platform to deliver AI capabilities, secure infrastructure and seamless integration with existing systems.</a:t>
            </a:r>
            <a:endParaRPr lang="en-US" sz="800" b="0">
              <a:solidFill>
                <a:schemeClr val="tx1"/>
              </a:solidFill>
              <a:latin typeface="+mn-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0000"/>
                </a:solidFill>
                <a:latin typeface="Segoe Sans Display Semibold"/>
                <a:cs typeface="Segoe UI Semibold" panose="020B0702040204020203" pitchFamily="34" charset="0"/>
              </a:rPr>
              <a:t>Use the most widely adopted AI developer tools for any platform and open-source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0000"/>
              </a:solidFill>
              <a:latin typeface="Segoe Sans Display Semibold"/>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0000"/>
                </a:solidFill>
                <a:latin typeface="Segoe Sans Display Semibold"/>
                <a:cs typeface="Segoe UI Semibold" panose="020B0702040204020203" pitchFamily="34" charset="0"/>
              </a:rPr>
              <a:t>Our Unified data platform brings together data and analytics into a single experience.</a:t>
            </a:r>
          </a:p>
          <a:p>
            <a:endParaRPr lang="en-US"/>
          </a:p>
          <a:p>
            <a:pPr>
              <a:defRPr/>
            </a:pPr>
            <a:r>
              <a:rPr lang="en-US" sz="1200" kern="0">
                <a:solidFill>
                  <a:srgbClr val="000000"/>
                </a:solidFill>
                <a:latin typeface="Segoe Sans Display Semibold"/>
                <a:cs typeface="Segoe Sans Display Semibold"/>
              </a:rPr>
              <a:t>Protect your</a:t>
            </a:r>
            <a:r>
              <a:rPr lang="en-US" kern="0">
                <a:solidFill>
                  <a:srgbClr val="000000"/>
                </a:solidFill>
                <a:latin typeface="Segoe Sans Display Semibold"/>
                <a:cs typeface="Segoe Sans Display Semibold"/>
              </a:rPr>
              <a:t> organization</a:t>
            </a:r>
            <a:r>
              <a:rPr lang="en-US" sz="1200" kern="0">
                <a:solidFill>
                  <a:srgbClr val="000000"/>
                </a:solidFill>
                <a:latin typeface="Segoe Sans Display Semibold"/>
                <a:cs typeface="Segoe Sans Display Semibold"/>
              </a:rPr>
              <a:t> with </a:t>
            </a:r>
            <a:r>
              <a:rPr lang="en-US" kern="0">
                <a:solidFill>
                  <a:srgbClr val="000000"/>
                </a:solidFill>
                <a:latin typeface="Segoe Sans Display Semibold"/>
                <a:cs typeface="Segoe Sans Display Semibold"/>
              </a:rPr>
              <a:t>Microsoft's AI-first end-to-end</a:t>
            </a:r>
            <a:r>
              <a:rPr lang="en-US" sz="1200" kern="0">
                <a:solidFill>
                  <a:srgbClr val="000000"/>
                </a:solidFill>
                <a:latin typeface="Segoe Sans Display Semibold"/>
                <a:cs typeface="Segoe Sans Display Semibold"/>
              </a:rPr>
              <a:t> security platform.</a:t>
            </a:r>
            <a:endParaRPr lang="en-US" kern="0">
              <a:latin typeface="Segoe Sans Display Semibold"/>
              <a:cs typeface="Segoe Sans Display Semibold"/>
            </a:endParaRPr>
          </a:p>
        </p:txBody>
      </p:sp>
      <p:sp>
        <p:nvSpPr>
          <p:cNvPr id="4" name="Slide Number Placeholder 3">
            <a:extLst>
              <a:ext uri="{FF2B5EF4-FFF2-40B4-BE49-F238E27FC236}">
                <a16:creationId xmlns:a16="http://schemas.microsoft.com/office/drawing/2014/main" id="{EC468FA8-FC18-9209-AB1F-4440FB2534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04237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0F4BE-3297-EEDD-CBFA-313D562014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00F299-0289-B1C9-F108-457F49D38559}"/>
              </a:ext>
            </a:extLst>
          </p:cNvPr>
          <p:cNvSpPr>
            <a:spLocks noGrp="1" noRot="1" noChangeAspect="1"/>
          </p:cNvSpPr>
          <p:nvPr>
            <p:ph type="sldImg"/>
          </p:nvPr>
        </p:nvSpPr>
        <p:spPr>
          <a:xfrm>
            <a:off x="798513" y="1212850"/>
            <a:ext cx="5821362" cy="3275013"/>
          </a:xfrm>
        </p:spPr>
      </p:sp>
      <p:sp>
        <p:nvSpPr>
          <p:cNvPr id="3" name="Notes Placeholder 2">
            <a:extLst>
              <a:ext uri="{FF2B5EF4-FFF2-40B4-BE49-F238E27FC236}">
                <a16:creationId xmlns:a16="http://schemas.microsoft.com/office/drawing/2014/main" id="{BF1688A5-84AB-ECA2-21D8-BEBDC1B6A9A1}"/>
              </a:ext>
            </a:extLst>
          </p:cNvPr>
          <p:cNvSpPr>
            <a:spLocks noGrp="1"/>
          </p:cNvSpPr>
          <p:nvPr>
            <p:ph type="body" idx="1"/>
          </p:nvPr>
        </p:nvSpPr>
        <p:spPr/>
        <p:txBody>
          <a:bodyPr/>
          <a:lstStyle/>
          <a:p>
            <a:r>
              <a:rPr lang="en-US" sz="1200" b="1" kern="1200" dirty="0">
                <a:solidFill>
                  <a:schemeClr val="tx1"/>
                </a:solidFill>
                <a:effectLst/>
                <a:latin typeface="+mn-lt"/>
                <a:ea typeface="+mn-ea"/>
                <a:cs typeface="+mn-cs"/>
              </a:rPr>
              <a:t>There are several next steps we can take together to accelerate your AI transformation:</a:t>
            </a:r>
          </a:p>
          <a:p>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chedule a follow-up conversation to explore use cases </a:t>
            </a:r>
            <a:r>
              <a:rPr lang="en-US" sz="1200" kern="1200" dirty="0">
                <a:solidFill>
                  <a:schemeClr val="tx1"/>
                </a:solidFill>
                <a:effectLst/>
                <a:latin typeface="+mn-lt"/>
                <a:ea typeface="+mn-ea"/>
                <a:cs typeface="+mn-cs"/>
              </a:rPr>
              <a:t>by industry and vertical </a:t>
            </a:r>
            <a:r>
              <a:rPr lang="en-US" sz="1200" b="1" kern="1200" dirty="0">
                <a:solidFill>
                  <a:schemeClr val="tx1"/>
                </a:solidFill>
                <a:effectLst/>
                <a:latin typeface="+mn-lt"/>
                <a:ea typeface="+mn-ea"/>
                <a:cs typeface="+mn-cs"/>
              </a:rPr>
              <a:t>(Internal Resource: </a:t>
            </a:r>
            <a:r>
              <a:rPr lang="en-US" sz="1200" u="sng" kern="1200" dirty="0">
                <a:solidFill>
                  <a:schemeClr val="tx1"/>
                </a:solidFill>
                <a:effectLst/>
                <a:latin typeface="+mn-lt"/>
                <a:ea typeface="+mn-ea"/>
                <a:cs typeface="+mn-cs"/>
                <a:hlinkClick r:id="rId3"/>
              </a:rPr>
              <a:t>https://aka.ms/IndustryUseCases</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ssess your AI maturity by running a comprehensive assessment of your existing processes and readiness</a:t>
            </a:r>
            <a:r>
              <a:rPr lang="en-US" sz="1200" kern="1200" dirty="0">
                <a:solidFill>
                  <a:schemeClr val="tx1"/>
                </a:solidFill>
                <a:effectLst/>
                <a:latin typeface="+mn-lt"/>
                <a:ea typeface="+mn-ea"/>
                <a:cs typeface="+mn-cs"/>
              </a:rPr>
              <a:t>. Schedule a conversation to understand how your peers are leveraging AI and what top use cases we are seeing for your indust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ake advantage of available AI workshops </a:t>
            </a:r>
            <a:r>
              <a:rPr lang="en-US" sz="1200" kern="1200" dirty="0">
                <a:solidFill>
                  <a:schemeClr val="tx1"/>
                </a:solidFill>
                <a:effectLst/>
                <a:latin typeface="+mn-lt"/>
                <a:ea typeface="+mn-ea"/>
                <a:cs typeface="+mn-cs"/>
              </a:rPr>
              <a:t>– we can look at your technology, data, and app readiness, AI strategy and experience, organization and culture, AI governance, security and more to help you refine your AI strategy.</a:t>
            </a:r>
            <a:r>
              <a:rPr lang="en-US" sz="1200" b="1" kern="1200" dirty="0">
                <a:solidFill>
                  <a:schemeClr val="tx1"/>
                </a:solidFill>
                <a:effectLst/>
                <a:latin typeface="+mn-lt"/>
                <a:ea typeface="+mn-ea"/>
                <a:cs typeface="+mn-cs"/>
              </a:rPr>
              <a:t>  (Internal Resource: </a:t>
            </a:r>
            <a:r>
              <a:rPr lang="en-US" sz="1200" u="sng" kern="1200" dirty="0">
                <a:solidFill>
                  <a:schemeClr val="tx1"/>
                </a:solidFill>
                <a:effectLst/>
                <a:latin typeface="+mn-lt"/>
                <a:ea typeface="+mn-ea"/>
                <a:cs typeface="+mn-cs"/>
                <a:hlinkClick r:id="rId4"/>
              </a:rPr>
              <a:t>https://aka.ms/xaicoe</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celerate your AI adoption and value capture by scheduling a process mapping and Agent prototyping workshop – </a:t>
            </a:r>
            <a:r>
              <a:rPr lang="en-US" sz="1200" kern="1200" dirty="0">
                <a:solidFill>
                  <a:schemeClr val="tx1"/>
                </a:solidFill>
                <a:effectLst/>
                <a:latin typeface="+mn-lt"/>
                <a:ea typeface="+mn-ea"/>
                <a:cs typeface="+mn-cs"/>
              </a:rPr>
              <a:t>to</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xplore what repetitive tasks and processes that can be automated in your organization through building and testing your own Agents. (</a:t>
            </a:r>
            <a:r>
              <a:rPr lang="en-US" sz="1200" b="1" kern="1200" dirty="0">
                <a:solidFill>
                  <a:schemeClr val="tx1"/>
                </a:solidFill>
                <a:effectLst/>
                <a:latin typeface="+mn-lt"/>
                <a:ea typeface="+mn-ea"/>
                <a:cs typeface="+mn-cs"/>
              </a:rPr>
              <a:t>Internal Resource</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5"/>
              </a:rPr>
              <a:t>https://aka.ms/xaiagents</a:t>
            </a: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F9D276DF-21F6-EB5C-D90E-C7795D823134}"/>
              </a:ext>
            </a:extLst>
          </p:cNvPr>
          <p:cNvSpPr>
            <a:spLocks noGrp="1"/>
          </p:cNvSpPr>
          <p:nvPr>
            <p:ph type="sldNum" sz="quarter" idx="5"/>
          </p:nvPr>
        </p:nvSpPr>
        <p:spPr/>
        <p:txBody>
          <a:bodyPr/>
          <a:lstStyle/>
          <a:p>
            <a:pPr marL="0" marR="0" lvl="0" indent="0" algn="r" defTabSz="1033945"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33945"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5808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dirty="0"/>
              <a:t>For each of these use cases, we have customers who have proven the effectiveness of Microsoft’s AI solutions within their organization, yielding transformation for their productivity and operations.</a:t>
            </a:r>
          </a:p>
          <a:p>
            <a:endParaRPr lang="en-US" dirty="0"/>
          </a:p>
          <a:p>
            <a:r>
              <a:rPr lang="en-US" dirty="0"/>
              <a:t>Let’s dive i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s you see these examples, think about which use cases might be most relevant for your organization. Are there areas where you see immediate opportunities to apply AI for similar impact?</a:t>
            </a:r>
          </a:p>
          <a:p>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o sellers: The use case “</a:t>
            </a:r>
            <a:r>
              <a:rPr kumimoji="0" lang="en-US" sz="1200" b="0" i="0" u="none" strike="noStrike" kern="1200" cap="none" spc="0" normalizeH="0" baseline="0" noProof="0" dirty="0">
                <a:ln>
                  <a:noFill/>
                </a:ln>
                <a:solidFill>
                  <a:srgbClr val="000000"/>
                </a:solidFill>
                <a:effectLst/>
                <a:uLnTx/>
                <a:uFillTx/>
                <a:latin typeface="Segoe Sans Display Semibold"/>
                <a:ea typeface="+mn-ea"/>
                <a:cs typeface="Segoe UI" panose="020B0502040204020203" pitchFamily="34" charset="0"/>
              </a:rPr>
              <a:t>Streamline energy and resources permitting and automate complex utility rate case workflows” is a high priority use case but does not yet have a public customer story aligned to it. Please see slide X in the appendix for material on this. </a:t>
            </a:r>
          </a:p>
          <a:p>
            <a:endParaRPr lang="en-US" dirty="0"/>
          </a:p>
        </p:txBody>
      </p:sp>
    </p:spTree>
    <p:extLst>
      <p:ext uri="{BB962C8B-B14F-4D97-AF65-F5344CB8AC3E}">
        <p14:creationId xmlns:p14="http://schemas.microsoft.com/office/powerpoint/2010/main" val="25701873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7CE34A-5AF8-4B5B-D7C2-F6FC7633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8B78E1-2EE2-9706-D797-DB86AB26E3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B67EAB-4BAD-2E06-0B91-68B1B8854C61}"/>
              </a:ext>
            </a:extLst>
          </p:cNvPr>
          <p:cNvSpPr>
            <a:spLocks noGrp="1"/>
          </p:cNvSpPr>
          <p:nvPr>
            <p:ph type="body" idx="1"/>
          </p:nvPr>
        </p:nvSpPr>
        <p:spPr/>
        <p:txBody>
          <a:bodyPr/>
          <a:lstStyle/>
          <a:p>
            <a:endParaRPr lang="en-US"/>
          </a:p>
          <a:p>
            <a:r>
              <a:rPr lang="en-US"/>
              <a:t>There are a number of internal sites and resources to help your customer prepare:</a:t>
            </a:r>
          </a:p>
          <a:p>
            <a:endParaRPr lang="en-US"/>
          </a:p>
          <a:p>
            <a:r>
              <a:rPr lang="en-US"/>
              <a:t>Explore use cases by function and industry: see </a:t>
            </a:r>
            <a:r>
              <a:rPr lang="en-US">
                <a:hlinkClick r:id="rId3"/>
              </a:rPr>
              <a:t>AI Use Cases: Achieve Business Goals with Microsoft AI</a:t>
            </a:r>
            <a:endParaRPr lang="en-US"/>
          </a:p>
          <a:p>
            <a:endParaRPr lang="en-US"/>
          </a:p>
          <a:p>
            <a:r>
              <a:rPr lang="en-US"/>
              <a:t>Assess your AI Readiness – schedule a conversation with the ATU</a:t>
            </a:r>
          </a:p>
          <a:p>
            <a:endParaRPr lang="en-US"/>
          </a:p>
          <a:p>
            <a:r>
              <a:rPr lang="en-US"/>
              <a:t>To develop an AI Strategy, schedule a Frontier Center of Excellence Workshop –  For guidance: </a:t>
            </a:r>
            <a:r>
              <a:rPr lang="en-US">
                <a:hlinkClick r:id="rId4"/>
              </a:rPr>
              <a:t>https://aka.ms/frontiercoe</a:t>
            </a:r>
            <a:endParaRPr lang="en-US"/>
          </a:p>
          <a:p>
            <a:endParaRPr lang="en-US"/>
          </a:p>
          <a:p>
            <a:r>
              <a:rPr lang="en-US"/>
              <a:t>Start an AI or agentic AI discovery conversation to better understand your needs, explore process mapping and agent prototyping. For guidance: </a:t>
            </a:r>
            <a:r>
              <a:rPr lang="en-US">
                <a:hlinkClick r:id="rId5"/>
              </a:rPr>
              <a:t>https://aka.ms/xaiagents</a:t>
            </a:r>
            <a:r>
              <a:rPr lang="en-US"/>
              <a:t> </a:t>
            </a:r>
          </a:p>
          <a:p>
            <a:endParaRPr lang="en-US"/>
          </a:p>
          <a:p>
            <a:endParaRPr lang="en-US"/>
          </a:p>
          <a:p>
            <a:endParaRPr lang="en-US"/>
          </a:p>
        </p:txBody>
      </p:sp>
      <p:sp>
        <p:nvSpPr>
          <p:cNvPr id="4" name="Slide Number Placeholder 3">
            <a:extLst>
              <a:ext uri="{FF2B5EF4-FFF2-40B4-BE49-F238E27FC236}">
                <a16:creationId xmlns:a16="http://schemas.microsoft.com/office/drawing/2014/main" id="{675E663F-B6F6-74E4-576C-3599E49066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6641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9F467-78B6-C4E3-6225-F434A108B2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2F7BDF-DF55-DF0A-5066-BB9D7FED8F09}"/>
              </a:ext>
            </a:extLst>
          </p:cNvPr>
          <p:cNvSpPr>
            <a:spLocks noGrp="1" noRot="1" noChangeAspect="1"/>
          </p:cNvSpPr>
          <p:nvPr>
            <p:ph type="sldImg"/>
          </p:nvPr>
        </p:nvSpPr>
        <p:spPr>
          <a:xfrm>
            <a:off x="384175" y="806450"/>
            <a:ext cx="6332538" cy="3562350"/>
          </a:xfrm>
        </p:spPr>
        <p:txBody>
          <a:bodyPr/>
          <a:lstStyle/>
          <a:p>
            <a:endParaRPr lang="en-US"/>
          </a:p>
        </p:txBody>
      </p:sp>
      <p:sp>
        <p:nvSpPr>
          <p:cNvPr id="3" name="Notes Placeholder 2">
            <a:extLst>
              <a:ext uri="{FF2B5EF4-FFF2-40B4-BE49-F238E27FC236}">
                <a16:creationId xmlns:a16="http://schemas.microsoft.com/office/drawing/2014/main" id="{94D7F99F-8EBA-27DB-79B9-C64E57A5F46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s we look across industries, one thing is clear: the pace of change is accelerating—and it's bringing with it a new wave of challenges that organizations must urgently address. We see several top challenges surface as themes across many of your peers, includ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a:solidFill>
                <a:srgbClr val="091F2C"/>
              </a:solidFill>
              <a:latin typeface="Segoe Sans Display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91F2C"/>
                </a:solidFill>
                <a:latin typeface="Segoe Sans Display Semibold"/>
              </a:rPr>
              <a:t>Cybersecurity threats and aging infrastructure</a:t>
            </a:r>
            <a:endParaRPr lang="en-US" sz="1200" b="1" i="0" u="none" strike="noStrike" kern="1200">
              <a:solidFill>
                <a:schemeClr val="tx1"/>
              </a:solidFill>
              <a:effectLst/>
              <a:latin typeface="+mn-lt"/>
              <a:ea typeface="+mn-ea"/>
              <a:cs typeface="+mn-cs"/>
            </a:endParaRPr>
          </a:p>
          <a:p>
            <a:endParaRPr lang="en-US" sz="1200" b="1"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en-US" sz="1200" b="1" i="0" u="none" strike="noStrike" kern="1200">
                <a:solidFill>
                  <a:schemeClr val="tx1"/>
                </a:solidFill>
                <a:effectLst/>
                <a:latin typeface="+mn-lt"/>
                <a:ea typeface="+mn-ea"/>
                <a:cs typeface="+mn-cs"/>
              </a:rPr>
              <a:t>40% lower AI adoption - </a:t>
            </a:r>
            <a:r>
              <a:rPr lang="en-US" sz="1200" b="0" i="0" u="none" strike="noStrike" kern="1200">
                <a:solidFill>
                  <a:schemeClr val="tx1"/>
                </a:solidFill>
                <a:effectLst/>
                <a:latin typeface="+mn-lt"/>
                <a:ea typeface="+mn-ea"/>
                <a:cs typeface="+mn-cs"/>
              </a:rPr>
              <a:t>Power systems are increasingly complex as demand for electricity grows and decarbonization efforts ramp up. The adoption of AI-specific skills has been ~40% lower in certain segments of the energy sector compared to other industries1 </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Source: IEA 2025 Report -https://iea.blob.core.windows.net/assets/b3a8b37f-32d1-4873-9eca-31cec5895264/EnergyandAI.pdf)</a:t>
            </a: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en-US" sz="1200" b="1" i="0" kern="1200">
                <a:solidFill>
                  <a:schemeClr val="tx1"/>
                </a:solidFill>
                <a:effectLst/>
                <a:latin typeface="+mn-lt"/>
                <a:ea typeface="+mn-ea"/>
                <a:cs typeface="+mn-cs"/>
              </a:rPr>
              <a:t>US energy infrastructure gets a D+ from American Society of Civil Engineers - </a:t>
            </a:r>
            <a:r>
              <a:rPr lang="en-US" sz="1200" b="0" i="0" kern="1200">
                <a:solidFill>
                  <a:schemeClr val="tx1"/>
                </a:solidFill>
                <a:effectLst/>
                <a:latin typeface="+mn-lt"/>
                <a:ea typeface="+mn-ea"/>
                <a:cs typeface="+mn-cs"/>
              </a:rPr>
              <a:t>The energy sector’s 2025 Infrastructure Report Card grade dropped from the C-  it received in 2021, with ASCE citing several threats facing the aging grid. (Source: https://www.utilitydive.com/news/energy-infrastructure-transmission-transformers-civil-engineers/743698/)</a:t>
            </a:r>
          </a:p>
          <a:p>
            <a:pPr marL="171450" indent="-171450">
              <a:buFont typeface="Arial" panose="020B0604020202020204" pitchFamily="34" charset="0"/>
              <a:buChar char="•"/>
            </a:pPr>
            <a:endParaRPr lang="en-US" sz="1200" b="0" i="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i="0" u="none" strike="noStrike" kern="1200">
                <a:solidFill>
                  <a:schemeClr val="tx1"/>
                </a:solidFill>
                <a:effectLst/>
                <a:latin typeface="+mn-lt"/>
                <a:ea typeface="+mn-ea"/>
                <a:cs typeface="+mn-cs"/>
              </a:rPr>
              <a:t>Less than one-third </a:t>
            </a:r>
            <a:r>
              <a:rPr lang="en-US" sz="1200" b="0" i="0" u="none" strike="noStrike" kern="1200">
                <a:solidFill>
                  <a:schemeClr val="tx1"/>
                </a:solidFill>
                <a:effectLst/>
                <a:latin typeface="+mn-lt"/>
                <a:ea typeface="+mn-ea"/>
                <a:cs typeface="+mn-cs"/>
              </a:rPr>
              <a:t>of power and utility companies have a formal data strategy that serves both IT and </a:t>
            </a:r>
            <a:r>
              <a:rPr lang="en-US" sz="1200" b="0" i="0" kern="1200">
                <a:solidFill>
                  <a:schemeClr val="tx1"/>
                </a:solidFill>
                <a:effectLst/>
                <a:latin typeface="+mn-lt"/>
                <a:ea typeface="+mn-ea"/>
                <a:cs typeface="+mn-cs"/>
              </a:rPr>
              <a:t>​</a:t>
            </a:r>
            <a:r>
              <a:rPr lang="en-US" sz="1200" b="0" i="0" u="none" strike="noStrike" kern="1200">
                <a:solidFill>
                  <a:schemeClr val="tx1"/>
                </a:solidFill>
                <a:effectLst/>
                <a:latin typeface="+mn-lt"/>
                <a:ea typeface="+mn-ea"/>
                <a:cs typeface="+mn-cs"/>
              </a:rPr>
              <a:t>business needs, and many energy companies are at the nascent stages of establishing a modern data plan, hampering successful AI adoption </a:t>
            </a:r>
            <a:r>
              <a:rPr lang="en-US" sz="1200" b="0" i="0" kern="1200">
                <a:solidFill>
                  <a:schemeClr val="tx1"/>
                </a:solidFill>
                <a:effectLst/>
                <a:latin typeface="+mn-lt"/>
                <a:ea typeface="+mn-ea"/>
                <a:cs typeface="+mn-cs"/>
              </a:rPr>
              <a:t>(Source: https://www.ey.com/en_us/insights/power-utilities/power-utilities-why-the-future-of-power-and-utilities-depends-on-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3x </a:t>
            </a:r>
            <a:r>
              <a:rPr lang="en-US" sz="1200" b="1" i="0" u="none" strike="noStrike" kern="1200">
                <a:solidFill>
                  <a:schemeClr val="tx1"/>
                </a:solidFill>
                <a:effectLst/>
                <a:latin typeface="+mn-lt"/>
                <a:ea typeface="+mn-ea"/>
                <a:cs typeface="+mn-cs"/>
              </a:rPr>
              <a:t>more cyberattacks </a:t>
            </a:r>
            <a:r>
              <a:rPr lang="en-US" sz="1200" b="0" i="0" u="none" strike="noStrike" kern="1200">
                <a:solidFill>
                  <a:schemeClr val="tx1"/>
                </a:solidFill>
                <a:effectLst/>
                <a:latin typeface="+mn-lt"/>
                <a:ea typeface="+mn-ea"/>
                <a:cs typeface="+mn-cs"/>
              </a:rPr>
              <a:t>on energy utilities in the past four years, and have become more sophisticated because of AI (Source: IEA 2025 Report -https://iea.blob.core.windows.net/assets/b3a8b37f-32d1-4873-9eca-31cec5895264/EnergyandAI.pd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Cyberattacks targeting US utilities spiked 70% </a:t>
            </a:r>
            <a:r>
              <a:rPr lang="en-US" sz="1200" b="0" i="0" kern="1200">
                <a:solidFill>
                  <a:schemeClr val="tx1"/>
                </a:solidFill>
                <a:effectLst/>
                <a:latin typeface="+mn-lt"/>
                <a:ea typeface="+mn-ea"/>
                <a:cs typeface="+mn-cs"/>
              </a:rPr>
              <a:t>this year, with 1,162 attacks reported through August, compared to the same period last year, which saw 689 (Source - https://www.smart-energy.com/industry-sectors/cybersecurity/utilities-saw-cyberattacks-spike-this-year-can-they-stay-safe/)</a:t>
            </a: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0">
                <a:solidFill>
                  <a:srgbClr val="091F2C"/>
                </a:solidFill>
                <a:latin typeface="Segoe Sans Display Semibold"/>
              </a:rPr>
              <a:t>Attracting and skilling tal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a:ln w="3175">
                  <a:noFill/>
                </a:ln>
                <a:solidFill>
                  <a:schemeClr val="accent2"/>
                </a:solidFill>
                <a:latin typeface="Segoe Sans Display Semibold"/>
              </a:rPr>
              <a:t>Hard skills gap</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a:t>
            </a:r>
            <a:r>
              <a:rPr lang="en-US" sz="1200">
                <a:solidFill>
                  <a:srgbClr val="091F2C"/>
                </a:solidFill>
                <a:latin typeface="Segoe Sans Display"/>
              </a:rPr>
              <a:t>Many parts of the energy sector are reporting an </a:t>
            </a:r>
            <a:r>
              <a:rPr lang="en-US" sz="1200">
                <a:solidFill>
                  <a:srgbClr val="091F2C"/>
                </a:solidFill>
              </a:rPr>
              <a:t>acute shortage of hard technical skills </a:t>
            </a:r>
            <a:r>
              <a:rPr lang="en-US" sz="1200">
                <a:solidFill>
                  <a:srgbClr val="091F2C"/>
                </a:solidFill>
                <a:latin typeface="Segoe Sans Display"/>
              </a:rPr>
              <a:t>related to project design, engineering and operation </a:t>
            </a:r>
            <a:r>
              <a:rPr lang="en-US" sz="1200" b="0" i="0" u="none" strike="noStrike" kern="1200">
                <a:solidFill>
                  <a:schemeClr val="tx1"/>
                </a:solidFill>
                <a:effectLst/>
                <a:latin typeface="+mn-lt"/>
                <a:ea typeface="+mn-ea"/>
                <a:cs typeface="+mn-cs"/>
              </a:rPr>
              <a:t>(Source: IEA 2025 Report -https://iea.blob.core.windows.net/assets/b3a8b37f-32d1-4873-9eca-31cec5895264/EnergyandAI.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n the United States alone, as many as </a:t>
            </a:r>
            <a:r>
              <a:rPr kumimoji="0" lang="en-US" sz="1200" b="0" i="0" u="none" strike="noStrike" kern="1200" cap="none" spc="0" normalizeH="0" baseline="0" noProof="0">
                <a:ln>
                  <a:noFill/>
                </a:ln>
                <a:solidFill>
                  <a:srgbClr val="091F2C"/>
                </a:solidFill>
                <a:effectLst/>
                <a:uLnTx/>
                <a:uFillTx/>
                <a:ea typeface="+mn-ea"/>
                <a:cs typeface="+mn-cs"/>
              </a:rPr>
              <a:t>400,000 employees in the Energy sector are approaching retirement</a:t>
            </a:r>
            <a:r>
              <a:rPr kumimoji="0" lang="en-US" sz="1200" b="0" i="0" u="none" strike="noStrike" kern="1200" cap="none" spc="0" normalizeH="0" baseline="0" noProof="0">
                <a:ln>
                  <a:noFill/>
                </a:ln>
                <a:solidFill>
                  <a:srgbClr val="091F2C"/>
                </a:solidFill>
                <a:effectLst/>
                <a:uLnTx/>
                <a:uFillTx/>
                <a:latin typeface="Segoe Sans Display"/>
                <a:ea typeface="+mn-ea"/>
                <a:cs typeface="+mn-cs"/>
              </a:rPr>
              <a:t>, expected to retire in the next 10 years. (Source: </a:t>
            </a:r>
            <a:r>
              <a:rPr lang="en-US">
                <a:hlinkClick r:id="rId3"/>
              </a:rPr>
              <a:t>https://www.mckinsey.com/industries/oil-and-gas/our-insights/talent-squeeze-planning-for-the-energy-sectors-talent-transition</a:t>
            </a:r>
            <a:r>
              <a:rPr lang="en-US"/>
              <a:t>)</a:t>
            </a:r>
            <a:endParaRPr lang="en-US" sz="1200" b="0" i="0" u="none" strike="noStrike"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EA’s survey of over 190 energy employers across 27 countries reported plans to hire but had </a:t>
            </a:r>
            <a:r>
              <a:rPr lang="en-US" b="1"/>
              <a:t>difficulties finding qualified applicants for nearly all occupation categories</a:t>
            </a:r>
            <a:r>
              <a:rPr lang="en-US"/>
              <a:t>. Though </a:t>
            </a:r>
            <a:r>
              <a:rPr lang="en-US" err="1"/>
              <a:t>labour</a:t>
            </a:r>
            <a:r>
              <a:rPr lang="en-US"/>
              <a:t> shortages in construction have fallen from recent highs in many advanced economies, supply remains tight, with 75% of respondents struggling to hire for these roles (Source: https://www.iea.org/reports/world-energy-employment-2024/executive-summary)</a:t>
            </a:r>
            <a:endParaRPr lang="en-US" sz="1200" b="0" i="0" u="none" strike="noStrike" kern="1200">
              <a:solidFill>
                <a:schemeClr val="tx1"/>
              </a:solidFill>
              <a:effectLst/>
              <a:latin typeface="+mn-lt"/>
              <a:ea typeface="+mn-ea"/>
              <a:cs typeface="+mn-cs"/>
            </a:endParaRPr>
          </a:p>
          <a:p>
            <a:pPr>
              <a:buFont typeface="Arial" panose="020B0604020202020204" pitchFamily="34" charset="0"/>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91F2C"/>
                </a:solidFill>
                <a:latin typeface="Segoe Sans Display Semibold"/>
              </a:rPr>
              <a:t>Meeting rising energy dem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a:solidFill>
                <a:srgbClr val="091F2C"/>
              </a:solidFill>
              <a:latin typeface="Segoe Sans Display Semibold"/>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Global energy demand grew by 2.2% in 2024 – faster than the average rate over the past decade.</a:t>
            </a:r>
            <a:r>
              <a:rPr lang="en-US" sz="1200" b="0" i="0" kern="1200">
                <a:solidFill>
                  <a:schemeClr val="tx1"/>
                </a:solidFill>
                <a:effectLst/>
                <a:latin typeface="+mn-lt"/>
                <a:ea typeface="+mn-ea"/>
                <a:cs typeface="+mn-cs"/>
              </a:rPr>
              <a:t> </a:t>
            </a:r>
            <a:r>
              <a:rPr lang="en-US" sz="1200" b="1" i="0" kern="1200">
                <a:solidFill>
                  <a:schemeClr val="tx1"/>
                </a:solidFill>
                <a:effectLst/>
                <a:latin typeface="+mn-lt"/>
                <a:ea typeface="+mn-ea"/>
                <a:cs typeface="+mn-cs"/>
              </a:rPr>
              <a:t>Demand for all fuels and technologies expanded in 2024.</a:t>
            </a:r>
            <a:r>
              <a:rPr lang="en-US" sz="1200" b="0" i="0" kern="1200">
                <a:solidFill>
                  <a:schemeClr val="tx1"/>
                </a:solidFill>
                <a:effectLst/>
                <a:latin typeface="+mn-lt"/>
                <a:ea typeface="+mn-ea"/>
                <a:cs typeface="+mn-cs"/>
              </a:rPr>
              <a:t> The increase was led by the power sector as electricity demand surged by 4.3%, well above the 3.2% growth in global GDP, driven by record temperatures, electrification and digitalization. Renewables accounted for the largest share of the growth in global energy supply (38%), followed by natural gas (28%), coal (15%), oil (11%) and nuclear (8%).</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a:ln w="3175">
                  <a:noFill/>
                </a:ln>
                <a:solidFill>
                  <a:schemeClr val="accent2"/>
                </a:solidFill>
                <a:latin typeface="Segoe Sans Display Semibold"/>
              </a:rPr>
              <a:t>$578 billion investment gap</a:t>
            </a:r>
            <a:r>
              <a:rPr kumimoji="0" lang="en-US" sz="1200" b="1"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091F2C"/>
                </a:solidFill>
                <a:effectLst/>
                <a:uLnTx/>
                <a:uFillTx/>
                <a:latin typeface="Segoe Sans Display" pitchFamily="2" charset="0"/>
                <a:ea typeface="+mn-ea"/>
                <a:cs typeface="Segoe Sans Display" pitchFamily="2" charset="0"/>
              </a:rPr>
              <a:t>S</a:t>
            </a:r>
            <a:r>
              <a:rPr lang="en-US" sz="1200" err="1">
                <a:solidFill>
                  <a:srgbClr val="091F2C"/>
                </a:solidFill>
                <a:latin typeface="Segoe Sans Display" pitchFamily="2" charset="0"/>
                <a:cs typeface="Segoe Sans Display" pitchFamily="2" charset="0"/>
              </a:rPr>
              <a:t>tate</a:t>
            </a:r>
            <a:r>
              <a:rPr lang="en-US" sz="1200">
                <a:solidFill>
                  <a:srgbClr val="091F2C"/>
                </a:solidFill>
                <a:latin typeface="Segoe Sans Display Semibold"/>
              </a:rPr>
              <a:t> </a:t>
            </a:r>
            <a:r>
              <a:rPr lang="en-US" sz="1200">
                <a:solidFill>
                  <a:srgbClr val="091F2C"/>
                </a:solidFill>
                <a:latin typeface="Segoe Sans Display"/>
              </a:rPr>
              <a:t>renewable portfolio standards and federal decarbonization initiatives, combined with </a:t>
            </a:r>
            <a:r>
              <a:rPr lang="en-US" sz="1200">
                <a:solidFill>
                  <a:srgbClr val="091F2C"/>
                </a:solidFill>
              </a:rPr>
              <a:t>surging energy demand</a:t>
            </a:r>
            <a:r>
              <a:rPr lang="en-US" sz="1200">
                <a:solidFill>
                  <a:srgbClr val="091F2C"/>
                </a:solidFill>
                <a:latin typeface="Segoe Sans Display"/>
              </a:rPr>
              <a:t>, are leading to escalating funding needs—with a potential </a:t>
            </a:r>
            <a:r>
              <a:rPr lang="en-US" sz="1200">
                <a:solidFill>
                  <a:srgbClr val="091F2C"/>
                </a:solidFill>
              </a:rPr>
              <a:t>$578 billion investment gap </a:t>
            </a:r>
            <a:r>
              <a:rPr lang="en-US" sz="1200">
                <a:solidFill>
                  <a:srgbClr val="091F2C"/>
                </a:solidFill>
                <a:latin typeface="Segoe Sans Display"/>
              </a:rPr>
              <a:t>by 2033. (Source: </a:t>
            </a:r>
            <a:r>
              <a:rPr lang="en-US" sz="1400">
                <a:hlinkClick r:id="rId4"/>
              </a:rPr>
              <a:t>https://www.utilitydive.com/news/energy-infrastructure-transmission-transformers-civil-engineers/743698/</a:t>
            </a:r>
            <a:r>
              <a:rPr lang="en-US" sz="1400"/>
              <a:t>)</a:t>
            </a:r>
            <a:endParaRPr lang="en-US" sz="1400" baseline="30000">
              <a:solidFill>
                <a:srgbClr val="091F2C"/>
              </a:solidFill>
              <a:latin typeface="Segoe Sans Display"/>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About 675 million people lack access to electricity, and 2.3 billion people—almost 30% of the world’s population—don’t have access to clean cooking fuels and technologies that prevent premature death from indoor air pollution. </a:t>
            </a:r>
            <a:r>
              <a:rPr kumimoji="0" lang="en-US" sz="1200" b="0" i="0" u="none" strike="noStrike" kern="1200" cap="none" spc="0" normalizeH="0" baseline="0" noProof="0">
                <a:ln>
                  <a:noFill/>
                </a:ln>
                <a:solidFill>
                  <a:schemeClr val="tx1"/>
                </a:solidFill>
                <a:effectLst/>
                <a:uLnTx/>
                <a:uFillTx/>
                <a:latin typeface="+mn-lt"/>
                <a:ea typeface="+mn-ea"/>
                <a:cs typeface="+mn-cs"/>
              </a:rPr>
              <a:t>(Source: https://www.bain.com/insights/the-dual-challenge-of-the-energy-transition-is-urgent-and-unprecedented-enr-report-2023/)</a:t>
            </a:r>
          </a:p>
          <a:p>
            <a:endParaRPr lang="en-US"/>
          </a:p>
          <a:p>
            <a:pPr>
              <a:defRPr/>
            </a:pPr>
            <a:r>
              <a:rPr lang="en-US" b="1">
                <a:solidFill>
                  <a:srgbClr val="091F2C"/>
                </a:solidFill>
              </a:rPr>
              <a:t>Managing GHG emissions and sustainability </a:t>
            </a:r>
            <a:endParaRPr lang="en-US">
              <a:solidFill>
                <a:srgbClr val="444444"/>
              </a:solidFill>
            </a:endParaRPr>
          </a:p>
          <a:p>
            <a:pPr>
              <a:defRPr/>
            </a:pPr>
            <a:endParaRPr lang="en-US">
              <a:solidFill>
                <a:srgbClr val="444444"/>
              </a:solidFill>
            </a:endParaRPr>
          </a:p>
          <a:p>
            <a:pPr marL="171450" indent="-171450">
              <a:buFont typeface="Arial,Sans-Serif"/>
              <a:buChar char="•"/>
              <a:defRPr/>
            </a:pPr>
            <a:r>
              <a:rPr lang="en-US">
                <a:solidFill>
                  <a:srgbClr val="000000"/>
                </a:solidFill>
              </a:rPr>
              <a:t>By one well-known measure, the IEA’s Net Zero Emissions by 2050 Scenario, the world would need to approximately double its 2022 pace of total energy investment by 2030 and sustain this level, or slightly lower, through 2050 to achieve net-zero emissions. This includes nearly tripling annual investment in clean energy. (Source: </a:t>
            </a:r>
            <a:r>
              <a:rPr lang="en-US">
                <a:solidFill>
                  <a:srgbClr val="000000"/>
                </a:solidFill>
                <a:hlinkClick r:id="rId5"/>
              </a:rPr>
              <a:t>https://www.bain.com/insights/the-dual-challenge-of-the-energy-transition-is-urgent-and-unprecedented-enr-report-2023/</a:t>
            </a:r>
            <a:r>
              <a:rPr lang="en-US">
                <a:solidFill>
                  <a:srgbClr val="000000"/>
                </a:solidFill>
              </a:rPr>
              <a:t>)</a:t>
            </a:r>
            <a:endParaRPr lang="en-US"/>
          </a:p>
          <a:p>
            <a:pPr marL="0" marR="0" lvl="0" indent="0" algn="l" defTabSz="914400">
              <a:lnSpc>
                <a:spcPct val="100000"/>
              </a:lnSpc>
              <a:spcBef>
                <a:spcPts val="0"/>
              </a:spcBef>
              <a:spcAft>
                <a:spcPts val="0"/>
              </a:spcAft>
              <a:buClrTx/>
              <a:buSzTx/>
              <a:buFontTx/>
              <a:buNone/>
              <a:tabLst/>
              <a:defRPr/>
            </a:pPr>
            <a:endParaRPr lang="en-US" sz="1200">
              <a:solidFill>
                <a:srgbClr val="000000"/>
              </a:solidFill>
              <a:latin typeface="Aptos" panose="02110004020202020204"/>
            </a:endParaRPr>
          </a:p>
          <a:p>
            <a:pPr>
              <a:buFont typeface="Arial" panose="020B0604020202020204" pitchFamily="34" charset="0"/>
            </a:pPr>
            <a:endParaRPr lang="en-US">
              <a:solidFill>
                <a:srgbClr val="091F2C"/>
              </a:solidFill>
              <a:latin typeface="Segoe Sans Display"/>
              <a:cs typeface="Segoe Sans Display"/>
            </a:endParaRPr>
          </a:p>
          <a:p>
            <a:endParaRPr lang="en-US"/>
          </a:p>
        </p:txBody>
      </p:sp>
      <p:sp>
        <p:nvSpPr>
          <p:cNvPr id="4" name="Slide Number Placeholder 3">
            <a:extLst>
              <a:ext uri="{FF2B5EF4-FFF2-40B4-BE49-F238E27FC236}">
                <a16:creationId xmlns:a16="http://schemas.microsoft.com/office/drawing/2014/main" id="{AD1A848D-C58B-6299-BCC9-54BC6748CA22}"/>
              </a:ext>
            </a:extLst>
          </p:cNvPr>
          <p:cNvSpPr>
            <a:spLocks noGrp="1"/>
          </p:cNvSpPr>
          <p:nvPr>
            <p:ph type="sldNum" sz="quarter" idx="4294967295"/>
          </p:nvPr>
        </p:nvSpPr>
        <p:spPr/>
        <p:txBody>
          <a:bodyPr lIns="89136" tIns="44568" rIns="89136" bIns="44568"/>
          <a:lstStyle/>
          <a:p>
            <a:pPr marL="0" marR="0" lvl="0" indent="0" algn="r" defTabSz="891357" rtl="0" eaLnBrk="1" fontAlgn="auto" latinLnBrk="0" hangingPunct="1">
              <a:lnSpc>
                <a:spcPct val="100000"/>
              </a:lnSpc>
              <a:spcBef>
                <a:spcPts val="0"/>
              </a:spcBef>
              <a:spcAft>
                <a:spcPts val="0"/>
              </a:spcAft>
              <a:buClrTx/>
              <a:buSzTx/>
              <a:buFontTx/>
              <a:buNone/>
              <a:tabLst/>
              <a:defRPr/>
            </a:pPr>
            <a:fld id="{49301562-1F76-46F1-B92B-8412168FE45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9135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1224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F8B50-670D-81E5-6938-4C01487BD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1ECE4-B904-CC73-46F1-59F7E42F373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7DB374F-2BE6-1267-7734-98F2089B9252}"/>
              </a:ext>
            </a:extLst>
          </p:cNvPr>
          <p:cNvSpPr>
            <a:spLocks noGrp="1"/>
          </p:cNvSpPr>
          <p:nvPr>
            <p:ph type="body" idx="1"/>
          </p:nvPr>
        </p:nvSpPr>
        <p:spPr/>
        <p:txBody>
          <a:bodyPr/>
          <a:lstStyle/>
          <a:p>
            <a:pPr algn="l" rtl="0" fontAlgn="base">
              <a:buFont typeface="Arial" panose="020B0604020202020204" pitchFamily="34" charset="0"/>
              <a:buNone/>
            </a:pPr>
            <a:r>
              <a:rPr lang="en-US"/>
              <a:t>At the same time, AI is transforming the </a:t>
            </a:r>
            <a:r>
              <a:rPr lang="en-US">
                <a:solidFill>
                  <a:schemeClr val="accent2"/>
                </a:solidFill>
              </a:rPr>
              <a:t>Energy and Resources industry, and the data shows it:</a:t>
            </a:r>
          </a:p>
          <a:p>
            <a:pPr lvl="1" algn="l" rtl="0" fontAlgn="base">
              <a:buFont typeface="Arial" panose="020B0604020202020204" pitchFamily="34" charset="0"/>
              <a:buNone/>
            </a:pPr>
            <a:endParaRPr lang="en-US">
              <a:solidFill>
                <a:schemeClr val="accent2"/>
              </a:solidFill>
              <a:latin typeface="Segoe UI" panose="020B0502040204020203" pitchFamily="34" charset="0"/>
              <a:cs typeface="Segoe UI" panose="020B0502040204020203" pitchFamily="34" charset="0"/>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Sans Display Semibold"/>
                <a:ea typeface="+mn-ea"/>
                <a:cs typeface="Segoe UI" pitchFamily="34" charset="0"/>
              </a:rPr>
              <a:t>92%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of companies will increase their AI investments, particularly in generative AI, over the next three years</a:t>
            </a:r>
            <a:r>
              <a:rPr kumimoji="0" lang="en-US" sz="1200" b="0" i="0" u="none" strike="noStrike" kern="1200" cap="none" spc="0" normalizeH="0" baseline="30000" noProof="0">
                <a:ln>
                  <a:noFill/>
                </a:ln>
                <a:solidFill>
                  <a:srgbClr val="000000"/>
                </a:solidFill>
                <a:effectLst/>
                <a:uLnTx/>
                <a:uFillTx/>
                <a:latin typeface="Segoe Sans Display Semibold"/>
                <a:ea typeface="+mn-ea"/>
                <a:cs typeface="+mn-cs"/>
              </a:rPr>
              <a:t>1</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15 billion potential </a:t>
            </a:r>
            <a:r>
              <a:rPr lang="en-US" sz="1200">
                <a:solidFill>
                  <a:srgbClr val="000000"/>
                </a:solidFill>
                <a:latin typeface="Segoe Sans Display"/>
              </a:rPr>
              <a:t>annual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savings</a:t>
            </a:r>
            <a:r>
              <a:rPr lang="en-US" sz="1200">
                <a:solidFill>
                  <a:srgbClr val="000000"/>
                </a:solidFill>
              </a:rPr>
              <a:t> in grid investment costs</a:t>
            </a:r>
            <a:r>
              <a:rPr kumimoji="0" lang="en-US" sz="1200" b="0" i="0" u="none" strike="noStrike" kern="1200" cap="none" spc="0" normalizeH="0" baseline="30000" noProof="0">
                <a:ln>
                  <a:noFill/>
                </a:ln>
                <a:solidFill>
                  <a:srgbClr val="000000"/>
                </a:solidFill>
                <a:effectLst/>
                <a:uLnTx/>
                <a:uFillTx/>
                <a:latin typeface="Segoe Sans Display"/>
                <a:ea typeface="+mn-ea"/>
                <a:cs typeface="+mn-cs"/>
              </a:rPr>
              <a:t>2</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70% i</a:t>
            </a:r>
            <a:r>
              <a:rPr lang="en-US" sz="1200" err="1">
                <a:solidFill>
                  <a:srgbClr val="000000"/>
                </a:solidFill>
                <a:latin typeface="Segoe Sans Display"/>
              </a:rPr>
              <a:t>mprovement</a:t>
            </a:r>
            <a:r>
              <a:rPr lang="en-US" sz="1200">
                <a:solidFill>
                  <a:srgbClr val="000000"/>
                </a:solidFill>
                <a:latin typeface="Segoe Sans Display"/>
              </a:rPr>
              <a:t> in seismic interpretation accuracy</a:t>
            </a:r>
            <a:r>
              <a:rPr lang="en-US" sz="1200" baseline="30000">
                <a:solidFill>
                  <a:srgbClr val="000000"/>
                </a:solidFill>
                <a:latin typeface="Segoe Sans Display"/>
              </a:rPr>
              <a:t>3</a:t>
            </a:r>
            <a:endParaRPr lang="en-US" sz="1200">
              <a:solidFill>
                <a:srgbClr val="000000"/>
              </a:solidFill>
              <a:latin typeface="Segoe Sans Display"/>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82% of leaders across industries expect to use agents to meet the demand for more workforce capacity</a:t>
            </a:r>
            <a:r>
              <a:rPr lang="en-US" sz="1200" baseline="30000">
                <a:ln w="3175">
                  <a:noFill/>
                </a:ln>
                <a:solidFill>
                  <a:srgbClr val="000000"/>
                </a:solidFill>
                <a:latin typeface="Segoe Sans Display"/>
              </a:rPr>
              <a:t>4</a:t>
            </a: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30-50% potential reduction in outage durations due to AI-based fault detection can help rapidly identify and precisely pinpoint grid faults</a:t>
            </a:r>
            <a:r>
              <a:rPr kumimoji="0" lang="en-US" sz="1200" b="0" i="0" u="none" strike="noStrike" kern="1200" cap="none" spc="0" normalizeH="0" baseline="30000" noProof="0">
                <a:ln w="3175">
                  <a:noFill/>
                </a:ln>
                <a:solidFill>
                  <a:srgbClr val="000000"/>
                </a:solidFill>
                <a:effectLst/>
                <a:uLnTx/>
                <a:uFillTx/>
                <a:latin typeface="Segoe Sans Display"/>
                <a:ea typeface="+mn-ea"/>
                <a:cs typeface="+mn-cs"/>
              </a:rPr>
              <a:t>2</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30000" noProof="0">
              <a:ln w="3175">
                <a:noFill/>
              </a:ln>
              <a:solidFill>
                <a:srgbClr val="000000"/>
              </a:solidFill>
              <a:effectLst/>
              <a:uLnTx/>
              <a:uFillTx/>
              <a:latin typeface="Segoe Sans Display"/>
              <a:ea typeface="+mn-ea"/>
              <a:cs typeface="+mn-cs"/>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30000" noProof="0">
              <a:ln w="3175">
                <a:noFill/>
              </a:ln>
              <a:solidFill>
                <a:srgbClr val="000000"/>
              </a:solidFill>
              <a:effectLst/>
              <a:uLnTx/>
              <a:uFillTx/>
              <a:latin typeface="Segoe Sans Display"/>
              <a:ea typeface="+mn-ea"/>
              <a:cs typeface="+mn-cs"/>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Sources:</a:t>
            </a:r>
          </a:p>
          <a:p>
            <a:pPr marL="120650" marR="0" lvl="0" indent="-120650" algn="l" defTabSz="932563" rtl="0" eaLnBrk="1" fontAlgn="auto" latinLnBrk="0" hangingPunct="1">
              <a:lnSpc>
                <a:spcPct val="100000"/>
              </a:lnSpc>
              <a:spcBef>
                <a:spcPts val="0"/>
              </a:spcBef>
              <a:spcAft>
                <a:spcPts val="600"/>
              </a:spcAft>
              <a:buClrTx/>
              <a:buSzPct val="90000"/>
              <a:buFont typeface="Wingdings" panose="05000000000000000000" pitchFamily="2" charset="2"/>
              <a:buAutoNum type="arabicPeriod"/>
              <a:tabLst/>
              <a:defRPr/>
            </a:pPr>
            <a:r>
              <a:rPr kumimoji="0" lang="en-US" sz="1200" b="0" i="0" u="none" strike="noStrike" kern="0" cap="none" spc="0" normalizeH="0" baseline="0" noProof="0">
                <a:ln>
                  <a:noFill/>
                </a:ln>
                <a:solidFill>
                  <a:srgbClr val="000000"/>
                </a:solidFill>
                <a:effectLst/>
                <a:uLnTx/>
                <a:uFillTx/>
                <a:latin typeface="Segoe Sans Display"/>
                <a:ea typeface="+mn-ea"/>
                <a:cs typeface="+mn-cs"/>
              </a:rPr>
              <a:t>McKinsey: </a:t>
            </a:r>
            <a:r>
              <a:rPr kumimoji="0" lang="en-US" sz="1200" b="0" i="0" u="none" strike="noStrike" kern="0" cap="none" spc="0" normalizeH="0" baseline="0" noProof="0">
                <a:ln>
                  <a:noFill/>
                </a:ln>
                <a:solidFill>
                  <a:srgbClr val="0078D4"/>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Superagency in the workplace: Empowering people to unlock AI’s full potential</a:t>
            </a:r>
            <a:r>
              <a:rPr kumimoji="0" lang="en-US" sz="1200" b="0" i="0" u="none" strike="noStrike" kern="0" cap="none" spc="0" normalizeH="0" baseline="0" noProof="0">
                <a:ln>
                  <a:noFill/>
                </a:ln>
                <a:solidFill>
                  <a:srgbClr val="000000"/>
                </a:solidFill>
                <a:effectLst/>
                <a:uLnTx/>
                <a:uFillTx/>
                <a:latin typeface="Segoe Sans Display"/>
                <a:ea typeface="+mn-ea"/>
                <a:cs typeface="+mn-cs"/>
              </a:rPr>
              <a:t>. January 2025.</a:t>
            </a:r>
          </a:p>
          <a:p>
            <a:pPr marL="120650" marR="0" lvl="0" indent="-120650" algn="l" defTabSz="932563" rtl="0" eaLnBrk="1" fontAlgn="auto" latinLnBrk="0" hangingPunct="1">
              <a:lnSpc>
                <a:spcPct val="100000"/>
              </a:lnSpc>
              <a:spcBef>
                <a:spcPts val="0"/>
              </a:spcBef>
              <a:spcAft>
                <a:spcPts val="600"/>
              </a:spcAft>
              <a:buClrTx/>
              <a:buSzPct val="90000"/>
              <a:buFont typeface="Wingdings" panose="05000000000000000000" pitchFamily="2" charset="2"/>
              <a:buAutoNum type="arabicPeriod"/>
              <a:tabLst/>
              <a:defRPr/>
            </a:pPr>
            <a:r>
              <a:rPr kumimoji="0" lang="en-US" sz="1200" b="0" i="0" u="none" strike="noStrike" kern="0" cap="none" spc="0" normalizeH="0" baseline="0" noProof="0">
                <a:ln>
                  <a:noFill/>
                </a:ln>
                <a:solidFill>
                  <a:srgbClr val="000000"/>
                </a:solidFill>
                <a:effectLst/>
                <a:uLnTx/>
                <a:uFillTx/>
                <a:latin typeface="Segoe Sans Display"/>
                <a:ea typeface="+mn-ea"/>
                <a:cs typeface="+mn-cs"/>
              </a:rPr>
              <a:t>International Energy Agency: </a:t>
            </a:r>
            <a:r>
              <a:rPr kumimoji="0" lang="en-US" sz="1200" b="0" i="0" u="none" strike="noStrike" kern="0" cap="none" spc="0" normalizeH="0" baseline="0" noProof="0">
                <a:ln>
                  <a:noFill/>
                </a:ln>
                <a:solidFill>
                  <a:srgbClr val="0078D4"/>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Energy and AI</a:t>
            </a:r>
            <a:r>
              <a:rPr kumimoji="0" lang="en-US" sz="1200" b="0" i="0" u="none" strike="noStrike" kern="0" cap="none" spc="0" normalizeH="0" baseline="0" noProof="0">
                <a:ln>
                  <a:noFill/>
                </a:ln>
                <a:solidFill>
                  <a:srgbClr val="000000"/>
                </a:solidFill>
                <a:effectLst/>
                <a:uLnTx/>
                <a:uFillTx/>
                <a:latin typeface="Segoe Sans Display"/>
                <a:ea typeface="+mn-ea"/>
                <a:cs typeface="+mn-cs"/>
              </a:rPr>
              <a:t>. 2025.</a:t>
            </a:r>
          </a:p>
          <a:p>
            <a:pPr marL="120650" lvl="0" indent="-120650" defTabSz="932563">
              <a:spcAft>
                <a:spcPts val="600"/>
              </a:spcAft>
              <a:buSzPct val="90000"/>
              <a:buFont typeface="Wingdings" panose="05000000000000000000" pitchFamily="2" charset="2"/>
              <a:buAutoNum type="arabicPeriod"/>
              <a:defRPr/>
            </a:pPr>
            <a:r>
              <a:rPr lang="en-US" sz="1200">
                <a:solidFill>
                  <a:schemeClr val="accent2"/>
                </a:solidFill>
                <a:hlinkClick r:id="rId5">
                  <a:extLst>
                    <a:ext uri="{A12FA001-AC4F-418D-AE19-62706E023703}">
                      <ahyp:hlinkClr xmlns:ahyp="http://schemas.microsoft.com/office/drawing/2018/hyperlinkcolor" val="tx"/>
                    </a:ext>
                  </a:extLst>
                </a:hlinkClick>
              </a:rPr>
              <a:t>ADNOC and AIQ Successfully Complete Trial Phase of Agentic AI Solution | AIQ</a:t>
            </a:r>
            <a:r>
              <a:rPr lang="en-US" sz="1200"/>
              <a:t>, January 2025</a:t>
            </a:r>
            <a:endParaRPr lang="en-US" sz="1200" kern="0">
              <a:solidFill>
                <a:srgbClr val="000000"/>
              </a:solidFill>
              <a:latin typeface="Segoe Sans Display"/>
            </a:endParaRPr>
          </a:p>
          <a:p>
            <a:pPr marL="120650" marR="0" lvl="0" indent="-120650" algn="l" defTabSz="932563" rtl="0" eaLnBrk="1" fontAlgn="auto" latinLnBrk="0" hangingPunct="1">
              <a:lnSpc>
                <a:spcPct val="100000"/>
              </a:lnSpc>
              <a:spcBef>
                <a:spcPts val="0"/>
              </a:spcBef>
              <a:spcAft>
                <a:spcPts val="600"/>
              </a:spcAft>
              <a:buClrTx/>
              <a:buSzPct val="90000"/>
              <a:buFont typeface="Wingdings" panose="05000000000000000000" pitchFamily="2" charset="2"/>
              <a:buAutoNum type="arabicPeriod"/>
              <a:tabLst/>
              <a:defRPr/>
            </a:pPr>
            <a:r>
              <a:rPr kumimoji="0" lang="en-US" sz="1200" b="0" i="0" u="none" strike="noStrike" kern="0" cap="none" spc="0" normalizeH="0" baseline="0" noProof="0">
                <a:ln>
                  <a:noFill/>
                </a:ln>
                <a:solidFill>
                  <a:srgbClr val="000000"/>
                </a:solidFill>
                <a:effectLst/>
                <a:uLnTx/>
                <a:uFillTx/>
                <a:latin typeface="Segoe Sans Display"/>
                <a:ea typeface="+mn-ea"/>
                <a:cs typeface="+mn-cs"/>
              </a:rPr>
              <a:t>Microsoft Work Trend Index: </a:t>
            </a:r>
            <a:r>
              <a:rPr kumimoji="0" lang="en-US" sz="1200" b="0" i="0" u="none" strike="noStrike" kern="1200" cap="none" spc="0" normalizeH="0" baseline="0" noProof="0">
                <a:ln>
                  <a:noFill/>
                </a:ln>
                <a:solidFill>
                  <a:srgbClr val="0078D4"/>
                </a:solidFill>
                <a:effectLst/>
                <a:uLnTx/>
                <a:uFillTx/>
                <a:latin typeface="Segoe Sans Display"/>
                <a:ea typeface="+mn-ea"/>
                <a:cs typeface="+mn-cs"/>
                <a:hlinkClick r:id="rId6" tooltip="https://www.microsoft.com/en-us/worklab/work-trend-index/2025-the-year-the-frontier-firm-is-born">
                  <a:extLst>
                    <a:ext uri="{A12FA001-AC4F-418D-AE19-62706E023703}">
                      <ahyp:hlinkClr xmlns:ahyp="http://schemas.microsoft.com/office/drawing/2018/hyperlinkcolor" val="tx"/>
                    </a:ext>
                  </a:extLst>
                </a:hlinkClick>
              </a:rPr>
              <a:t>2025: The Year the Frontier Firm Is Born</a:t>
            </a:r>
            <a:r>
              <a:rPr kumimoji="0" lang="en-US" sz="1200" b="0" i="0" u="none" strike="noStrike" kern="1200" cap="none" spc="0" normalizeH="0" baseline="0" noProof="0">
                <a:ln>
                  <a:noFill/>
                </a:ln>
                <a:solidFill>
                  <a:srgbClr val="0078D4"/>
                </a:solidFill>
                <a:effectLst/>
                <a:uLnTx/>
                <a:uFillTx/>
                <a:latin typeface="Segoe Sans Display"/>
                <a:ea typeface="+mn-ea"/>
                <a:cs typeface="+mn-cs"/>
              </a:rPr>
              <a:t>.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2025.</a:t>
            </a:r>
            <a:endParaRPr kumimoji="0" lang="en-US" sz="1200" b="0" i="0" u="none" strike="noStrike" kern="0" cap="none" spc="0" normalizeH="0" baseline="0" noProof="0">
              <a:ln>
                <a:noFill/>
              </a:ln>
              <a:solidFill>
                <a:srgbClr val="000000"/>
              </a:solidFill>
              <a:effectLst/>
              <a:uLnTx/>
              <a:uFillTx/>
              <a:latin typeface="Segoe Sans Display"/>
              <a:ea typeface="+mn-ea"/>
              <a:cs typeface="+mn-cs"/>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Sans Display"/>
              <a:ea typeface="+mn-ea"/>
              <a:cs typeface="+mn-c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a:p>
            <a:pPr marL="171450" indent="-171450" algn="l" rtl="0" fontAlgn="base">
              <a:buFont typeface="Arial" panose="020B0604020202020204" pitchFamily="34" charset="0"/>
              <a:buChar char="•"/>
            </a:pPr>
            <a:endParaRPr lang="en-US">
              <a:latin typeface="Segoe UI" panose="020B0502040204020203" pitchFamily="34" charset="0"/>
              <a:cs typeface="Segoe UI" panose="020B0502040204020203" pitchFamily="34" charset="0"/>
            </a:endParaRPr>
          </a:p>
        </p:txBody>
      </p:sp>
      <p:sp>
        <p:nvSpPr>
          <p:cNvPr id="4" name="Slide Number Placeholder 3">
            <a:extLst>
              <a:ext uri="{FF2B5EF4-FFF2-40B4-BE49-F238E27FC236}">
                <a16:creationId xmlns:a16="http://schemas.microsoft.com/office/drawing/2014/main" id="{C7DDBC8D-7A14-E5A9-53B4-6F8794E77916}"/>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350F348-B0B8-4737-851A-46BCE1E711D3}"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6080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C4406-9BC2-0EBE-8017-18EF08CD7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666CF9-627E-E233-6453-85C36F0E5A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BCD8D4-A4ED-9253-CC49-59BBD54C748B}"/>
              </a:ext>
            </a:extLst>
          </p:cNvPr>
          <p:cNvSpPr>
            <a:spLocks noGrp="1"/>
          </p:cNvSpPr>
          <p:nvPr>
            <p:ph type="body" idx="1"/>
          </p:nvPr>
        </p:nvSpPr>
        <p:spPr/>
        <p:txBody>
          <a:bodyPr/>
          <a:lstStyle/>
          <a:p>
            <a:r>
              <a:rPr lang="en-US"/>
              <a:t>And at Microsoft, we’ve pulled together a framework for success on how to enable AI transformation across these four pillars you see on the screen. </a:t>
            </a:r>
          </a:p>
          <a:p>
            <a:endParaRPr lang="en-US"/>
          </a:p>
          <a:p>
            <a:r>
              <a:rPr lang="en-US"/>
              <a:t>What really matters the most is </a:t>
            </a:r>
            <a:r>
              <a:rPr lang="en-US" sz="1200" kern="1200">
                <a:solidFill>
                  <a:schemeClr val="tx1"/>
                </a:solidFill>
                <a:effectLst/>
                <a:latin typeface="+mn-lt"/>
                <a:ea typeface="+mn-ea"/>
                <a:cs typeface="+mn-cs"/>
              </a:rPr>
              <a:t>how you empower people, how you enable them to break through in the things that matter most for their business and enrichment to the employee experience.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an they hire the best people in the industry to come work for their company? Are they delivering world-class tools for those people to us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an you help them break through with their customers, drive pipeline revenue growth, become more efficient at customer acquisition, and deliver more personalized solution?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Can you help them reshape their business processes? Can you help them bend the curve on innovation?</a:t>
            </a:r>
          </a:p>
          <a:p>
            <a:endParaRPr lang="en-US"/>
          </a:p>
        </p:txBody>
      </p:sp>
      <p:sp>
        <p:nvSpPr>
          <p:cNvPr id="4" name="Slide Number Placeholder 3">
            <a:extLst>
              <a:ext uri="{FF2B5EF4-FFF2-40B4-BE49-F238E27FC236}">
                <a16:creationId xmlns:a16="http://schemas.microsoft.com/office/drawing/2014/main" id="{5E0D3554-17FA-7EA4-4D9A-D465D6F5D8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611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things we talk a lot about in this notion of becoming frontier is this formula for AI first differentiation: Agents + Copilot + human ambition making the differenc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magine a scenario where you want to research a topic as well as analyze a set of documents and then be able to synthesize all of that into a presentation for your leadership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ow, what if you were able to have agents working on your behalf for the first portion of that task, and then have Copilot serving as your personal assistant take the output of those agents and pull it all togeth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That’s just an example of putting AI first – and when you combine these two things in agents and Copilot with human ambition, your organization can really flouris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4220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869"/>
              </a:lnSpc>
              <a:spcBef>
                <a:spcPts val="467"/>
              </a:spcBef>
              <a:spcAft>
                <a:spcPts val="779"/>
              </a:spcAft>
            </a:pPr>
            <a:r>
              <a:rPr lang="en-US" sz="1200" kern="1200">
                <a:solidFill>
                  <a:schemeClr val="tx1"/>
                </a:solidFill>
                <a:effectLst/>
                <a:latin typeface="+mn-lt"/>
                <a:ea typeface="+mn-ea"/>
                <a:cs typeface="+mn-cs"/>
              </a:rPr>
              <a:t>This is the mission for us to drive AI-first differentiation in every pillar of engagement with every organization and customer across every industry around the world. </a:t>
            </a:r>
          </a:p>
          <a:p>
            <a:pPr>
              <a:lnSpc>
                <a:spcPts val="1869"/>
              </a:lnSpc>
              <a:spcBef>
                <a:spcPts val="467"/>
              </a:spcBef>
              <a:spcAft>
                <a:spcPts val="779"/>
              </a:spcAft>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These four pillars of AI transformation and the framework for success, for becoming frontier, empowered by Microsoft’s solutions across:</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AI Business Solutions – powerful tools, such as Copilot and agents, that can be integrated with your human capital to push the limits of productivity. </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Cloud and AI Platforms – that are scalable and flexible, allowing you to pick and choose what best fit your business needs, allowing you to perform the necessary groundwork – with content safety and </a:t>
            </a:r>
            <a:r>
              <a:rPr lang="en-US" sz="1200">
                <a:solidFill>
                  <a:srgbClr val="D6D6D6"/>
                </a:solidFill>
                <a:latin typeface="Segoe Sans"/>
              </a:rPr>
              <a:t>observability</a:t>
            </a:r>
            <a:r>
              <a:rPr lang="en-US" sz="1200" kern="1200">
                <a:solidFill>
                  <a:schemeClr val="tx1"/>
                </a:solidFill>
                <a:effectLst/>
                <a:latin typeface="+mn-lt"/>
                <a:ea typeface="+mn-ea"/>
                <a:cs typeface="+mn-cs"/>
              </a:rPr>
              <a:t> – to ensure your AI apps are yielding the desired results. And..</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Security – solutions that empower you to </a:t>
            </a:r>
            <a:r>
              <a:rPr lang="en-US" sz="1200">
                <a:solidFill>
                  <a:srgbClr val="D6D6D6"/>
                </a:solidFill>
                <a:latin typeface="Segoe Sans"/>
              </a:rPr>
              <a:t>build a zero-trust environment with appropriate endpoint protection, identity management, and incident response capabilities, so that you can ensure that your AI initiatives are secure. </a:t>
            </a:r>
            <a:endParaRPr lang="en-US" sz="1200" kern="1200">
              <a:solidFill>
                <a:schemeClr val="tx1"/>
              </a:solidFill>
              <a:effectLst/>
              <a:latin typeface="+mn-lt"/>
              <a:ea typeface="+mn-ea"/>
              <a:cs typeface="+mn-cs"/>
            </a:endParaRPr>
          </a:p>
          <a:p>
            <a:pPr>
              <a:lnSpc>
                <a:spcPts val="1869"/>
              </a:lnSpc>
              <a:spcBef>
                <a:spcPts val="467"/>
              </a:spcBef>
              <a:spcAft>
                <a:spcPts val="779"/>
              </a:spcAft>
            </a:pPr>
            <a:endParaRPr lang="en-US" sz="1200">
              <a:solidFill>
                <a:srgbClr val="D6D6D6"/>
              </a:solidFill>
              <a:latin typeface="Segoe Sans"/>
            </a:endParaRPr>
          </a:p>
          <a:p>
            <a:pPr>
              <a:lnSpc>
                <a:spcPts val="1869"/>
              </a:lnSpc>
              <a:spcBef>
                <a:spcPts val="467"/>
              </a:spcBef>
              <a:spcAft>
                <a:spcPts val="779"/>
              </a:spcAft>
            </a:pPr>
            <a:r>
              <a:rPr lang="en-US" sz="1200">
                <a:solidFill>
                  <a:srgbClr val="D6D6D6"/>
                </a:solidFill>
                <a:latin typeface="Segoe Sans"/>
              </a:rPr>
              <a:t>So, let’s see how all of this comes to life through a company called Zava.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9DC74-ADDC-49D4-B0D9-266D11FBDF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1657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0F4BE-3297-EEDD-CBFA-313D562014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00F299-0289-B1C9-F108-457F49D38559}"/>
              </a:ext>
            </a:extLst>
          </p:cNvPr>
          <p:cNvSpPr>
            <a:spLocks noGrp="1" noRot="1" noChangeAspect="1"/>
          </p:cNvSpPr>
          <p:nvPr>
            <p:ph type="sldImg"/>
          </p:nvPr>
        </p:nvSpPr>
        <p:spPr>
          <a:xfrm>
            <a:off x="798513" y="1212850"/>
            <a:ext cx="5821362" cy="3275013"/>
          </a:xfrm>
        </p:spPr>
        <p:txBody>
          <a:bodyPr/>
          <a:lstStyle/>
          <a:p>
            <a:endParaRPr lang="en-US"/>
          </a:p>
        </p:txBody>
      </p:sp>
      <p:sp>
        <p:nvSpPr>
          <p:cNvPr id="3" name="Notes Placeholder 2">
            <a:extLst>
              <a:ext uri="{FF2B5EF4-FFF2-40B4-BE49-F238E27FC236}">
                <a16:creationId xmlns:a16="http://schemas.microsoft.com/office/drawing/2014/main" id="{BF1688A5-84AB-ECA2-21D8-BEBDC1B6A9A1}"/>
              </a:ext>
            </a:extLst>
          </p:cNvPr>
          <p:cNvSpPr>
            <a:spLocks noGrp="1"/>
          </p:cNvSpPr>
          <p:nvPr>
            <p:ph type="body" idx="1"/>
          </p:nvPr>
        </p:nvSpPr>
        <p:spPr/>
        <p:txBody>
          <a:bodyPr/>
          <a:lstStyle/>
          <a:p>
            <a:pPr marL="0" indent="0">
              <a:buFont typeface="Arial" panose="020B0604020202020204" pitchFamily="34" charset="0"/>
              <a:buNone/>
            </a:pPr>
            <a:r>
              <a:rPr lang="en-US" sz="1200" b="0" i="0" kern="1200">
                <a:solidFill>
                  <a:schemeClr val="tx1"/>
                </a:solidFill>
                <a:effectLst/>
                <a:latin typeface="+mn-lt"/>
                <a:ea typeface="+mn-ea"/>
                <a:cs typeface="+mn-cs"/>
              </a:rPr>
              <a:t>From the lens of the Energy and Resources sector, becoming a frontier firm means embracing AI to solve the industry’s most pressing challenges—decarbonization, energy transition, and workforce transformation. </a:t>
            </a:r>
            <a:r>
              <a:rPr lang="en-US" sz="1200" b="0" i="0" u="none" strike="noStrike" kern="1200">
                <a:solidFill>
                  <a:schemeClr val="tx1"/>
                </a:solidFill>
                <a:effectLst/>
                <a:latin typeface="+mn-lt"/>
                <a:ea typeface="+mn-ea"/>
                <a:cs typeface="+mn-cs"/>
              </a:rPr>
              <a:t>We believe that AI is a powerful tool to empower employees across organizations and create tangible value. To ensure your AI investments are truly impactful, we’ve developed something of a checklist based on four key pillars of AI transformation.</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First, let's talk about enriching the employee experience. Is your AI strategy making your people more productive and engaged? Are they enjoying their work more? A positive employee experience is crucial for attracting and retaining top talent, which in turn drives the next generation of growth for your company. AI can help create a more dynamic and fulfilling work environment, making your company more competitive in the talent market by –</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enabling AI copilots and agents for field workers to summarize work orders, generate inspection reports, and provide safety guidance in real time</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By improving training and upskilling to increase productivity and efficiency</a:t>
            </a:r>
          </a:p>
          <a:p>
            <a:pPr marL="457200" marR="0" lvl="1"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Second, consider how you are reinventing customer engagement through AI. Are you able to connect with more customers at scale through better personalization? AI can help you understand your customers' needs and preferences better, allowing you to offer tailored products and services. This enhanced connection with your clientele can significantly grow your business by –</a:t>
            </a:r>
            <a:endParaRPr lang="en-US" sz="1200" b="0" i="0" kern="1200">
              <a:solidFill>
                <a:schemeClr val="tx1"/>
              </a:solidFill>
              <a:effectLst/>
              <a:latin typeface="+mn-lt"/>
              <a:ea typeface="+mn-ea"/>
              <a:cs typeface="+mn-cs"/>
            </a:endParaRP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reducing case volumes, improving response times, and enhancing service consistency</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deploying autonomous agents to handle inquiries, complex issues, and to deliver personalized, real-time updat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forecasting market trends and demand to better plan and respond to customer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Third, think about reshaping your business processes with AI. Traditional business processes are often artifacts of human workflows. By reimagining these processes with an AI-first approach, you can streamline operations and increase efficiency. Imagine having AI agents and Copilots working alongside your team, amplifying human ambition and getting more work done.</a:t>
            </a:r>
            <a:r>
              <a:rPr lang="en-US" sz="1200" b="0" i="0" kern="1200">
                <a:solidFill>
                  <a:schemeClr val="tx1"/>
                </a:solidFill>
                <a:effectLst/>
                <a:latin typeface="+mn-lt"/>
                <a:ea typeface="+mn-ea"/>
                <a:cs typeface="+mn-cs"/>
              </a:rPr>
              <a:t>​ Reshape your business processes by –</a:t>
            </a:r>
            <a:endParaRPr kumimoji="0" lang="en-US" sz="1200" b="0" i="0" u="none" strike="noStrike" kern="1200" cap="none" spc="0" normalizeH="0" baseline="0">
              <a:ln>
                <a:noFill/>
              </a:ln>
              <a:solidFill>
                <a:schemeClr val="tx1"/>
              </a:solidFill>
              <a:effectLst/>
              <a:uLnTx/>
              <a:uFillTx/>
              <a:latin typeface="+mn-lt"/>
              <a:ea typeface="+mn-ea"/>
              <a:cs typeface="+mn-cs"/>
            </a:endParaRP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harnessing AI to optimize supply chains, secure assets, and power intelligent systems</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forecasting transformer failure or substation degradation</a:t>
            </a:r>
          </a:p>
          <a:p>
            <a:pPr marL="742950" lvl="1" indent="-285750" rtl="0" fontAlgn="base">
              <a:buFont typeface="Arial" panose="020B0604020202020204" pitchFamily="34" charset="0"/>
              <a:buChar char="•"/>
            </a:pPr>
            <a:r>
              <a:rPr lang="en-US" sz="1200" b="0" i="0" kern="1200">
                <a:solidFill>
                  <a:schemeClr val="tx1"/>
                </a:solidFill>
                <a:effectLst/>
                <a:latin typeface="+mn-lt"/>
                <a:ea typeface="+mn-ea"/>
                <a:cs typeface="+mn-cs"/>
              </a:rPr>
              <a:t>By optimizing vegetation management programs with AI vision models and satellite analysis</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Finally, ask yourself if you are bending the curve on innovation. Are you using AI to develop products faster and bring them to market more efficiently? AI can accelerate your innovation cycle, helping you stay ahead of the competition and drive business growth.</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growing sustainable, AI-powered businesse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develop better battery storage materials and decarbonization methods</a:t>
            </a:r>
          </a:p>
          <a:p>
            <a:pPr marL="628650" lvl="1" indent="-171450" rtl="0" fontAlgn="base">
              <a:buFont typeface="Arial" panose="020B0604020202020204" pitchFamily="34" charset="0"/>
              <a:buChar char="•"/>
            </a:pPr>
            <a:r>
              <a:rPr lang="en-US" sz="1200" b="0" i="0" kern="1200">
                <a:solidFill>
                  <a:schemeClr val="tx1"/>
                </a:solidFill>
                <a:effectLst/>
                <a:latin typeface="+mn-lt"/>
                <a:ea typeface="+mn-ea"/>
                <a:cs typeface="+mn-cs"/>
              </a:rPr>
              <a:t>By using AI to simulate DER integration scenarios to stress-test grid flexibility and investment planning</a:t>
            </a: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marL="457200" lvl="1" indent="0" rtl="0" fontAlgn="base">
              <a:buFont typeface="Arial" panose="020B0604020202020204" pitchFamily="34" charset="0"/>
              <a:buNone/>
            </a:pPr>
            <a:endParaRPr lang="en-US" sz="1200" b="0" i="0" kern="1200">
              <a:solidFill>
                <a:schemeClr val="tx1"/>
              </a:solidFill>
              <a:effectLst/>
              <a:latin typeface="+mn-lt"/>
              <a:ea typeface="+mn-ea"/>
              <a:cs typeface="+mn-cs"/>
            </a:endParaRPr>
          </a:p>
          <a:p>
            <a:pPr marL="0" indent="0" defTabSz="960912" fontAlgn="base">
              <a:spcBef>
                <a:spcPct val="0"/>
              </a:spcBef>
              <a:spcAft>
                <a:spcPct val="0"/>
              </a:spcAft>
              <a:buFont typeface="Arial" panose="020B0604020202020204" pitchFamily="34" charset="0"/>
              <a:buNone/>
              <a:defRPr/>
            </a:pPr>
            <a:endParaRPr lang="en-US" sz="900">
              <a:latin typeface="Calibri"/>
              <a:ea typeface="Calibri"/>
              <a:cs typeface="Calibri"/>
            </a:endParaRPr>
          </a:p>
        </p:txBody>
      </p:sp>
      <p:sp>
        <p:nvSpPr>
          <p:cNvPr id="4" name="Slide Number Placeholder 3">
            <a:extLst>
              <a:ext uri="{FF2B5EF4-FFF2-40B4-BE49-F238E27FC236}">
                <a16:creationId xmlns:a16="http://schemas.microsoft.com/office/drawing/2014/main" id="{F9D276DF-21F6-EB5C-D90E-C7795D823134}"/>
              </a:ext>
            </a:extLst>
          </p:cNvPr>
          <p:cNvSpPr>
            <a:spLocks noGrp="1"/>
          </p:cNvSpPr>
          <p:nvPr>
            <p:ph type="sldNum" sz="quarter" idx="5"/>
          </p:nvPr>
        </p:nvSpPr>
        <p:spPr/>
        <p:txBody>
          <a:bodyPr/>
          <a:lstStyle/>
          <a:p>
            <a:pPr marL="0" marR="0" lvl="0" indent="0" algn="r" defTabSz="1033945"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33945"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5808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8.jpeg"/><Relationship Id="rId4" Type="http://schemas.openxmlformats.org/officeDocument/2006/relationships/image" Target="../media/image45.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8.jpeg"/><Relationship Id="rId4" Type="http://schemas.openxmlformats.org/officeDocument/2006/relationships/image" Target="../media/image45.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3.xml"/><Relationship Id="rId4" Type="http://schemas.openxmlformats.org/officeDocument/2006/relationships/image" Target="../media/image61.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3.xml"/><Relationship Id="rId4" Type="http://schemas.openxmlformats.org/officeDocument/2006/relationships/image" Target="../media/image61.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61.svg"/><Relationship Id="rId4" Type="http://schemas.openxmlformats.org/officeDocument/2006/relationships/image" Target="../media/image60.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38.png"/><Relationship Id="rId7" Type="http://schemas.openxmlformats.org/officeDocument/2006/relationships/image" Target="../media/image66.jpe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 Id="rId9" Type="http://schemas.openxmlformats.org/officeDocument/2006/relationships/image" Target="../media/image68.jpe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image" Target="../media/image38.png"/><Relationship Id="rId7" Type="http://schemas.openxmlformats.org/officeDocument/2006/relationships/image" Target="../media/image72.jpe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71.jpeg"/><Relationship Id="rId11" Type="http://schemas.openxmlformats.org/officeDocument/2006/relationships/image" Target="../media/image76.jpeg"/><Relationship Id="rId5" Type="http://schemas.openxmlformats.org/officeDocument/2006/relationships/image" Target="../media/image70.jpeg"/><Relationship Id="rId10" Type="http://schemas.openxmlformats.org/officeDocument/2006/relationships/image" Target="../media/image75.jpeg"/><Relationship Id="rId4" Type="http://schemas.openxmlformats.org/officeDocument/2006/relationships/image" Target="../media/image69.jpeg"/><Relationship Id="rId9" Type="http://schemas.openxmlformats.org/officeDocument/2006/relationships/image" Target="../media/image74.jpe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38.png"/><Relationship Id="rId7" Type="http://schemas.openxmlformats.org/officeDocument/2006/relationships/image" Target="../media/image80.jpe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79.jpeg"/><Relationship Id="rId11" Type="http://schemas.openxmlformats.org/officeDocument/2006/relationships/image" Target="../media/image84.jpeg"/><Relationship Id="rId5" Type="http://schemas.openxmlformats.org/officeDocument/2006/relationships/image" Target="../media/image78.jpeg"/><Relationship Id="rId10" Type="http://schemas.openxmlformats.org/officeDocument/2006/relationships/image" Target="../media/image83.jpeg"/><Relationship Id="rId4" Type="http://schemas.openxmlformats.org/officeDocument/2006/relationships/image" Target="../media/image77.jpeg"/><Relationship Id="rId9" Type="http://schemas.openxmlformats.org/officeDocument/2006/relationships/image" Target="../media/image82.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85.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86.jpe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sv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5.xml"/><Relationship Id="rId4" Type="http://schemas.openxmlformats.org/officeDocument/2006/relationships/image" Target="../media/image95.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96.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9.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6.xml"/><Relationship Id="rId4" Type="http://schemas.openxmlformats.org/officeDocument/2006/relationships/image" Target="../media/image95.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6.xml"/><Relationship Id="rId5" Type="http://schemas.microsoft.com/office/2007/relationships/hdphoto" Target="../media/hdphoto2.wdp"/><Relationship Id="rId4" Type="http://schemas.openxmlformats.org/officeDocument/2006/relationships/image" Target="../media/image9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8.png"/><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8.jpeg"/><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8.jpeg"/><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8.jpeg"/><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8.jpeg"/><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9.xml"/><Relationship Id="rId4" Type="http://schemas.openxmlformats.org/officeDocument/2006/relationships/image" Target="../media/image95.pn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9.xml"/><Relationship Id="rId5" Type="http://schemas.microsoft.com/office/2007/relationships/hdphoto" Target="../media/hdphoto2.wdp"/><Relationship Id="rId4" Type="http://schemas.openxmlformats.org/officeDocument/2006/relationships/image" Target="../media/image96.pn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7.png"/><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8.png"/><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9.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png"/><Relationship Id="rId1" Type="http://schemas.openxmlformats.org/officeDocument/2006/relationships/slideMaster" Target="../slideMasters/slideMaster10.xml"/><Relationship Id="rId4" Type="http://schemas.openxmlformats.org/officeDocument/2006/relationships/image" Target="../media/image36.pn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10.xml"/><Relationship Id="rId4" Type="http://schemas.openxmlformats.org/officeDocument/2006/relationships/image" Target="../media/image40.pn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10.xml"/><Relationship Id="rId4" Type="http://schemas.openxmlformats.org/officeDocument/2006/relationships/image" Target="../media/image40.png"/></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sv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8.jpeg"/><Relationship Id="rId4" Type="http://schemas.openxmlformats.org/officeDocument/2006/relationships/image" Target="../media/image45.png"/></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58.jpeg"/><Relationship Id="rId4" Type="http://schemas.openxmlformats.org/officeDocument/2006/relationships/image" Target="../media/image4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40.png"/></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0.xml"/><Relationship Id="rId4" Type="http://schemas.openxmlformats.org/officeDocument/2006/relationships/image" Target="../media/image61.sv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0.xml"/><Relationship Id="rId4" Type="http://schemas.openxmlformats.org/officeDocument/2006/relationships/image" Target="../media/image61.sv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7.png"/><Relationship Id="rId1" Type="http://schemas.openxmlformats.org/officeDocument/2006/relationships/slideMaster" Target="../slideMasters/slideMaster10.xml"/><Relationship Id="rId5" Type="http://schemas.openxmlformats.org/officeDocument/2006/relationships/image" Target="../media/image61.svg"/><Relationship Id="rId4" Type="http://schemas.openxmlformats.org/officeDocument/2006/relationships/image" Target="../media/image60.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5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38.png"/><Relationship Id="rId7" Type="http://schemas.openxmlformats.org/officeDocument/2006/relationships/image" Target="../media/image66.jpe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 Id="rId9" Type="http://schemas.openxmlformats.org/officeDocument/2006/relationships/image" Target="../media/image68.jpeg"/></Relationships>
</file>

<file path=ppt/slideLayouts/_rels/slideLayout657.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image" Target="../media/image38.png"/><Relationship Id="rId7" Type="http://schemas.openxmlformats.org/officeDocument/2006/relationships/image" Target="../media/image72.jpe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71.jpeg"/><Relationship Id="rId11" Type="http://schemas.openxmlformats.org/officeDocument/2006/relationships/image" Target="../media/image76.jpeg"/><Relationship Id="rId5" Type="http://schemas.openxmlformats.org/officeDocument/2006/relationships/image" Target="../media/image70.jpeg"/><Relationship Id="rId10" Type="http://schemas.openxmlformats.org/officeDocument/2006/relationships/image" Target="../media/image75.jpeg"/><Relationship Id="rId4" Type="http://schemas.openxmlformats.org/officeDocument/2006/relationships/image" Target="../media/image69.jpeg"/><Relationship Id="rId9" Type="http://schemas.openxmlformats.org/officeDocument/2006/relationships/image" Target="../media/image74.jpeg"/></Relationships>
</file>

<file path=ppt/slideLayouts/_rels/slideLayout658.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38.png"/><Relationship Id="rId7" Type="http://schemas.openxmlformats.org/officeDocument/2006/relationships/image" Target="../media/image80.jpe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79.jpeg"/><Relationship Id="rId11" Type="http://schemas.openxmlformats.org/officeDocument/2006/relationships/image" Target="../media/image84.jpeg"/><Relationship Id="rId5" Type="http://schemas.openxmlformats.org/officeDocument/2006/relationships/image" Target="../media/image78.jpeg"/><Relationship Id="rId10" Type="http://schemas.openxmlformats.org/officeDocument/2006/relationships/image" Target="../media/image83.jpeg"/><Relationship Id="rId4" Type="http://schemas.openxmlformats.org/officeDocument/2006/relationships/image" Target="../media/image77.jpeg"/><Relationship Id="rId9" Type="http://schemas.openxmlformats.org/officeDocument/2006/relationships/image" Target="../media/image82.jpe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40.png"/></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4" Type="http://schemas.openxmlformats.org/officeDocument/2006/relationships/image" Target="../media/image85.jpe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 Id="rId4" Type="http://schemas.openxmlformats.org/officeDocument/2006/relationships/image" Target="../media/image86.jpeg"/></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png"/><Relationship Id="rId1" Type="http://schemas.openxmlformats.org/officeDocument/2006/relationships/slideMaster" Target="../slideMasters/slideMaster10.xml"/><Relationship Id="rId4" Type="http://schemas.openxmlformats.org/officeDocument/2006/relationships/image" Target="../media/image36.png"/></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sv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10.jpeg"/><Relationship Id="rId1" Type="http://schemas.openxmlformats.org/officeDocument/2006/relationships/slideMaster" Target="../slideMasters/slideMaster10.xml"/><Relationship Id="rId4" Type="http://schemas.openxmlformats.org/officeDocument/2006/relationships/image" Target="../media/image32.emf"/></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111.jpe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7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3.png"/><Relationship Id="rId1" Type="http://schemas.openxmlformats.org/officeDocument/2006/relationships/slideMaster" Target="../slideMasters/slideMaster10.xml"/></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1.png"/><Relationship Id="rId1" Type="http://schemas.openxmlformats.org/officeDocument/2006/relationships/slideMaster" Target="../slideMasters/slideMaster10.xml"/><Relationship Id="rId4" Type="http://schemas.openxmlformats.org/officeDocument/2006/relationships/image" Target="../media/image50.jpeg"/></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45.png"/></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7.jpeg"/></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7.jpeg"/></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7.jpeg"/></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8.jpeg"/></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7.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7.jpeg"/></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12.jpeg"/><Relationship Id="rId1" Type="http://schemas.openxmlformats.org/officeDocument/2006/relationships/slideMaster" Target="../slideMasters/slideMaster10.xml"/><Relationship Id="rId4" Type="http://schemas.openxmlformats.org/officeDocument/2006/relationships/image" Target="../media/image58.jpeg"/></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29.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jpeg"/><Relationship Id="rId2" Type="http://schemas.openxmlformats.org/officeDocument/2006/relationships/image" Target="../media/image112.jpeg"/><Relationship Id="rId1" Type="http://schemas.openxmlformats.org/officeDocument/2006/relationships/slideMaster" Target="../slideMasters/slideMaster10.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3.xml"/><Relationship Id="rId4" Type="http://schemas.openxmlformats.org/officeDocument/2006/relationships/image" Target="../media/image50.jpeg"/></Relationships>
</file>

<file path=ppt/slideLayouts/_rels/slideLayout730.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image" Target="../media/image112.jpeg"/><Relationship Id="rId1" Type="http://schemas.openxmlformats.org/officeDocument/2006/relationships/slideMaster" Target="../slideMasters/slideMaster10.xml"/><Relationship Id="rId6" Type="http://schemas.openxmlformats.org/officeDocument/2006/relationships/image" Target="../media/image72.jpeg"/><Relationship Id="rId5" Type="http://schemas.openxmlformats.org/officeDocument/2006/relationships/image" Target="../media/image71.jpeg"/><Relationship Id="rId10" Type="http://schemas.openxmlformats.org/officeDocument/2006/relationships/image" Target="../media/image76.jpeg"/><Relationship Id="rId4" Type="http://schemas.openxmlformats.org/officeDocument/2006/relationships/image" Target="../media/image70.jpeg"/><Relationship Id="rId9" Type="http://schemas.openxmlformats.org/officeDocument/2006/relationships/image" Target="../media/image75.jpeg"/></Relationships>
</file>

<file path=ppt/slideLayouts/_rels/slideLayout731.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image" Target="../media/image77.jpeg"/><Relationship Id="rId7" Type="http://schemas.openxmlformats.org/officeDocument/2006/relationships/image" Target="../media/image81.jpeg"/><Relationship Id="rId2" Type="http://schemas.openxmlformats.org/officeDocument/2006/relationships/image" Target="../media/image112.jpeg"/><Relationship Id="rId1" Type="http://schemas.openxmlformats.org/officeDocument/2006/relationships/slideMaster" Target="../slideMasters/slideMaster10.xml"/><Relationship Id="rId6" Type="http://schemas.openxmlformats.org/officeDocument/2006/relationships/image" Target="../media/image80.jpeg"/><Relationship Id="rId5" Type="http://schemas.openxmlformats.org/officeDocument/2006/relationships/image" Target="../media/image79.jpeg"/><Relationship Id="rId10" Type="http://schemas.openxmlformats.org/officeDocument/2006/relationships/image" Target="../media/image84.jpeg"/><Relationship Id="rId4" Type="http://schemas.openxmlformats.org/officeDocument/2006/relationships/image" Target="../media/image78.jpeg"/><Relationship Id="rId9" Type="http://schemas.openxmlformats.org/officeDocument/2006/relationships/image" Target="../media/image83.jpeg"/></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svg"/><Relationship Id="rId2" Type="http://schemas.openxmlformats.org/officeDocument/2006/relationships/image" Target="../media/image37.png"/><Relationship Id="rId1" Type="http://schemas.openxmlformats.org/officeDocument/2006/relationships/slideMaster" Target="../slideMasters/slideMaster10.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7.jpeg"/><Relationship Id="rId1" Type="http://schemas.openxmlformats.org/officeDocument/2006/relationships/slideMaster" Target="../slideMasters/slideMaster10.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Master" Target="../slideMasters/slideMaster10.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2.jpeg"/><Relationship Id="rId1" Type="http://schemas.openxmlformats.org/officeDocument/2006/relationships/slideMaster" Target="../slideMasters/slideMaster10.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sv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7.jpeg"/><Relationship Id="rId4" Type="http://schemas.openxmlformats.org/officeDocument/2006/relationships/image" Target="../media/image45.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7.jpeg"/><Relationship Id="rId4" Type="http://schemas.openxmlformats.org/officeDocument/2006/relationships/image" Target="../media/image4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F39A6-3F1A-7434-4DE8-BBCAFA67F6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C98D36-C95F-273E-E87C-1AFF6C1571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68263C-966B-10DB-A3CE-319323032FDB}"/>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0C8ADC2B-B125-88E3-1605-52690B9F29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1E1302-7A7F-A884-9619-BEF25EDFADE8}"/>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1037766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0F26D-00F4-5E3C-38FB-29A69EEC4D8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E0757E0-4B86-6D27-578F-EA93A46B25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6D264C-3F76-8F5C-92B6-A0122C29FDC8}"/>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6D35CC3A-7C16-CC18-A3B1-27EA4A68F8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453D21-FA5C-5BFE-D3AF-79F1884B3E70}"/>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79108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 Images with title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210354E-5467-C896-DA54-72B8A9FBB0D1}"/>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51084DD3-F6DB-AB19-B193-0F23DA9777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23" name="Picture 22">
              <a:extLst>
                <a:ext uri="{FF2B5EF4-FFF2-40B4-BE49-F238E27FC236}">
                  <a16:creationId xmlns:a16="http://schemas.microsoft.com/office/drawing/2014/main" id="{905300BF-8950-E605-E5AB-49BCA18AE9B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 name="Text Placeholder 35">
            <a:extLst>
              <a:ext uri="{FF2B5EF4-FFF2-40B4-BE49-F238E27FC236}">
                <a16:creationId xmlns:a16="http://schemas.microsoft.com/office/drawing/2014/main" id="{119B2796-E50C-EB49-F1F5-31A39C9E15BC}"/>
              </a:ext>
            </a:extLst>
          </p:cNvPr>
          <p:cNvSpPr>
            <a:spLocks noGrp="1"/>
          </p:cNvSpPr>
          <p:nvPr>
            <p:ph type="body" sz="quarter" idx="21" hasCustomPrompt="1"/>
          </p:nvPr>
        </p:nvSpPr>
        <p:spPr>
          <a:xfrm>
            <a:off x="584201" y="3727201"/>
            <a:ext cx="1458761"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Text Placeholder 35">
            <a:extLst>
              <a:ext uri="{FF2B5EF4-FFF2-40B4-BE49-F238E27FC236}">
                <a16:creationId xmlns:a16="http://schemas.microsoft.com/office/drawing/2014/main" id="{2991ADBB-4E46-A512-E714-73BF3F49D1B9}"/>
              </a:ext>
            </a:extLst>
          </p:cNvPr>
          <p:cNvSpPr>
            <a:spLocks noGrp="1"/>
          </p:cNvSpPr>
          <p:nvPr>
            <p:ph type="body" sz="quarter" idx="29" hasCustomPrompt="1"/>
          </p:nvPr>
        </p:nvSpPr>
        <p:spPr>
          <a:xfrm>
            <a:off x="584201"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7" name="Text Placeholder 35">
            <a:extLst>
              <a:ext uri="{FF2B5EF4-FFF2-40B4-BE49-F238E27FC236}">
                <a16:creationId xmlns:a16="http://schemas.microsoft.com/office/drawing/2014/main" id="{182A81C3-4BB6-D158-FEE2-FF4A5FAF1A18}"/>
              </a:ext>
            </a:extLst>
          </p:cNvPr>
          <p:cNvSpPr>
            <a:spLocks noGrp="1"/>
          </p:cNvSpPr>
          <p:nvPr>
            <p:ph type="body" sz="quarter" idx="26" hasCustomPrompt="1"/>
          </p:nvPr>
        </p:nvSpPr>
        <p:spPr>
          <a:xfrm>
            <a:off x="249798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2E0E1073-8B82-D6BA-F524-C80B0EA3512F}"/>
              </a:ext>
            </a:extLst>
          </p:cNvPr>
          <p:cNvSpPr>
            <a:spLocks noGrp="1"/>
          </p:cNvSpPr>
          <p:nvPr>
            <p:ph type="body" sz="quarter" idx="30" hasCustomPrompt="1"/>
          </p:nvPr>
        </p:nvSpPr>
        <p:spPr>
          <a:xfrm>
            <a:off x="249797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8" name="Text Placeholder 35">
            <a:extLst>
              <a:ext uri="{FF2B5EF4-FFF2-40B4-BE49-F238E27FC236}">
                <a16:creationId xmlns:a16="http://schemas.microsoft.com/office/drawing/2014/main" id="{166F6DAA-0E05-7D33-DF48-CD3D1CB61534}"/>
              </a:ext>
            </a:extLst>
          </p:cNvPr>
          <p:cNvSpPr>
            <a:spLocks noGrp="1"/>
          </p:cNvSpPr>
          <p:nvPr>
            <p:ph type="body" sz="quarter" idx="27" hasCustomPrompt="1"/>
          </p:nvPr>
        </p:nvSpPr>
        <p:spPr>
          <a:xfrm>
            <a:off x="441176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AD700B9-F0BF-1056-83E4-7EFD3D02A1AD}"/>
              </a:ext>
            </a:extLst>
          </p:cNvPr>
          <p:cNvSpPr>
            <a:spLocks noGrp="1"/>
          </p:cNvSpPr>
          <p:nvPr>
            <p:ph type="body" sz="quarter" idx="31" hasCustomPrompt="1"/>
          </p:nvPr>
        </p:nvSpPr>
        <p:spPr>
          <a:xfrm>
            <a:off x="441175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9" name="Text Placeholder 35">
            <a:extLst>
              <a:ext uri="{FF2B5EF4-FFF2-40B4-BE49-F238E27FC236}">
                <a16:creationId xmlns:a16="http://schemas.microsoft.com/office/drawing/2014/main" id="{5105ED6F-D384-1BBE-BD4F-8951360571BD}"/>
              </a:ext>
            </a:extLst>
          </p:cNvPr>
          <p:cNvSpPr>
            <a:spLocks noGrp="1"/>
          </p:cNvSpPr>
          <p:nvPr>
            <p:ph type="body" sz="quarter" idx="28" hasCustomPrompt="1"/>
          </p:nvPr>
        </p:nvSpPr>
        <p:spPr>
          <a:xfrm>
            <a:off x="632554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59EE9454-25F0-AA75-5E45-246F4ED13A43}"/>
              </a:ext>
            </a:extLst>
          </p:cNvPr>
          <p:cNvSpPr>
            <a:spLocks noGrp="1"/>
          </p:cNvSpPr>
          <p:nvPr>
            <p:ph type="body" sz="quarter" idx="32" hasCustomPrompt="1"/>
          </p:nvPr>
        </p:nvSpPr>
        <p:spPr>
          <a:xfrm>
            <a:off x="632553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43" name="Text Placeholder 35">
            <a:extLst>
              <a:ext uri="{FF2B5EF4-FFF2-40B4-BE49-F238E27FC236}">
                <a16:creationId xmlns:a16="http://schemas.microsoft.com/office/drawing/2014/main" id="{41CBB04E-43B7-DCBF-8F6B-8D20F8DBCA1E}"/>
              </a:ext>
            </a:extLst>
          </p:cNvPr>
          <p:cNvSpPr>
            <a:spLocks noGrp="1"/>
          </p:cNvSpPr>
          <p:nvPr>
            <p:ph type="body" sz="quarter" idx="34" hasCustomPrompt="1"/>
          </p:nvPr>
        </p:nvSpPr>
        <p:spPr>
          <a:xfrm>
            <a:off x="823932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6F77CE56-CAAF-9433-0DCF-F0D49B504DFD}"/>
              </a:ext>
            </a:extLst>
          </p:cNvPr>
          <p:cNvSpPr>
            <a:spLocks noGrp="1"/>
          </p:cNvSpPr>
          <p:nvPr>
            <p:ph type="body" sz="quarter" idx="35" hasCustomPrompt="1"/>
          </p:nvPr>
        </p:nvSpPr>
        <p:spPr>
          <a:xfrm>
            <a:off x="823931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45" name="Text Placeholder 35">
            <a:extLst>
              <a:ext uri="{FF2B5EF4-FFF2-40B4-BE49-F238E27FC236}">
                <a16:creationId xmlns:a16="http://schemas.microsoft.com/office/drawing/2014/main" id="{025E90EA-2C28-E6C2-F2B5-84A08F2F5B53}"/>
              </a:ext>
            </a:extLst>
          </p:cNvPr>
          <p:cNvSpPr>
            <a:spLocks noGrp="1"/>
          </p:cNvSpPr>
          <p:nvPr>
            <p:ph type="body" sz="quarter" idx="41" hasCustomPrompt="1"/>
          </p:nvPr>
        </p:nvSpPr>
        <p:spPr>
          <a:xfrm>
            <a:off x="10163737"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Text Placeholder 35">
            <a:extLst>
              <a:ext uri="{FF2B5EF4-FFF2-40B4-BE49-F238E27FC236}">
                <a16:creationId xmlns:a16="http://schemas.microsoft.com/office/drawing/2014/main" id="{BCE46786-82C4-1E69-8DB3-6199CE524C9E}"/>
              </a:ext>
            </a:extLst>
          </p:cNvPr>
          <p:cNvSpPr>
            <a:spLocks noGrp="1"/>
          </p:cNvSpPr>
          <p:nvPr>
            <p:ph type="body" sz="quarter" idx="42" hasCustomPrompt="1"/>
          </p:nvPr>
        </p:nvSpPr>
        <p:spPr>
          <a:xfrm>
            <a:off x="10163736"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3114527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 speakers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B0C7CBE9-25ED-87EA-1681-22A22FCC2C5C}"/>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39C32F9C-E976-07CF-E8A6-A91C215CB36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8" name="Picture 17">
              <a:extLst>
                <a:ext uri="{FF2B5EF4-FFF2-40B4-BE49-F238E27FC236}">
                  <a16:creationId xmlns:a16="http://schemas.microsoft.com/office/drawing/2014/main" id="{A16356B1-94B0-1798-E629-A5B7CA0A4E50}"/>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26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26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3485662"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3485662"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63887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63887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9292780"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9292780"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0160342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 Speakers slide (Dark)">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D92EA39-61E4-3951-F223-22385E4811F4}"/>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5" name="Picture 4" descr="A picture containing blue, electric blue, majorelle blue, blur&#10;&#10;Description automatically generated">
              <a:extLst>
                <a:ext uri="{FF2B5EF4-FFF2-40B4-BE49-F238E27FC236}">
                  <a16:creationId xmlns:a16="http://schemas.microsoft.com/office/drawing/2014/main" id="{E7FCC180-6FDC-F9EF-1B84-0E21FE3DF6B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5" name="Picture 14">
              <a:extLst>
                <a:ext uri="{FF2B5EF4-FFF2-40B4-BE49-F238E27FC236}">
                  <a16:creationId xmlns:a16="http://schemas.microsoft.com/office/drawing/2014/main" id="{4BB9465A-4DF9-6146-BAC5-A1C31D7CF1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20" name="Picture 19">
            <a:extLst>
              <a:ext uri="{FF2B5EF4-FFF2-40B4-BE49-F238E27FC236}">
                <a16:creationId xmlns:a16="http://schemas.microsoft.com/office/drawing/2014/main" id="{F58F077D-AD83-5BF8-FB02-676B81572C85}"/>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21" name="Rectangle 20">
            <a:extLst>
              <a:ext uri="{FF2B5EF4-FFF2-40B4-BE49-F238E27FC236}">
                <a16:creationId xmlns:a16="http://schemas.microsoft.com/office/drawing/2014/main" id="{D6ECC369-2C29-D532-9E7E-8C4FE487A76E}"/>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B1940E9D-6D9D-0130-946D-3054594670E0}"/>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32" name="Freeform: Shape 31">
              <a:extLst>
                <a:ext uri="{FF2B5EF4-FFF2-40B4-BE49-F238E27FC236}">
                  <a16:creationId xmlns:a16="http://schemas.microsoft.com/office/drawing/2014/main" id="{76D281CC-6A0E-B1F5-67B5-8219B7AA9A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33" name="Freeform: Shape 32">
              <a:extLst>
                <a:ext uri="{FF2B5EF4-FFF2-40B4-BE49-F238E27FC236}">
                  <a16:creationId xmlns:a16="http://schemas.microsoft.com/office/drawing/2014/main" id="{ACEB436E-0A50-E046-D24D-FFE89B6B2DC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0" y="4150959"/>
            <a:ext cx="1933578"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0" y="4873101"/>
            <a:ext cx="1933578"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869826"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869826"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5141355"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5141355"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7412884"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7412884"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9684412"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9684412"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5453997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 speakers slide (Dark)">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2C96A17-7F33-9136-FAEB-5C3D157112BF}"/>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5" name="Picture 4" descr="A picture containing blue, electric blue, majorelle blue, blur&#10;&#10;Description automatically generated">
              <a:extLst>
                <a:ext uri="{FF2B5EF4-FFF2-40B4-BE49-F238E27FC236}">
                  <a16:creationId xmlns:a16="http://schemas.microsoft.com/office/drawing/2014/main" id="{4707BE70-988F-C4F9-FD61-4E435E81504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5" name="Picture 14">
              <a:extLst>
                <a:ext uri="{FF2B5EF4-FFF2-40B4-BE49-F238E27FC236}">
                  <a16:creationId xmlns:a16="http://schemas.microsoft.com/office/drawing/2014/main" id="{1DE42749-1B7C-4092-961F-298A6C6AD4E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7" name="Picture 6">
            <a:extLst>
              <a:ext uri="{FF2B5EF4-FFF2-40B4-BE49-F238E27FC236}">
                <a16:creationId xmlns:a16="http://schemas.microsoft.com/office/drawing/2014/main" id="{56CE2223-793E-DC36-6096-9A224C75A598}"/>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8" name="Rectangle 7">
            <a:extLst>
              <a:ext uri="{FF2B5EF4-FFF2-40B4-BE49-F238E27FC236}">
                <a16:creationId xmlns:a16="http://schemas.microsoft.com/office/drawing/2014/main" id="{21E1321F-0FDD-E7D4-2A40-C00D72A456A0}"/>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F27FD47A-7C97-5667-ADA3-E0AE7D1B3492}"/>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9878666-54D5-F6EF-2ACC-80649371323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4" name="Freeform: Shape 13">
              <a:extLst>
                <a:ext uri="{FF2B5EF4-FFF2-40B4-BE49-F238E27FC236}">
                  <a16:creationId xmlns:a16="http://schemas.microsoft.com/office/drawing/2014/main" id="{AA39B6E0-B067-A29A-8E1F-5700A6E6527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1" y="3952119"/>
            <a:ext cx="1458761"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1"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49798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49797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441176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441175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632554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632553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823932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823931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9" name="Text Placeholder 35">
            <a:extLst>
              <a:ext uri="{FF2B5EF4-FFF2-40B4-BE49-F238E27FC236}">
                <a16:creationId xmlns:a16="http://schemas.microsoft.com/office/drawing/2014/main" id="{617E7719-FAEE-A779-D036-99FBACC045AF}"/>
              </a:ext>
            </a:extLst>
          </p:cNvPr>
          <p:cNvSpPr>
            <a:spLocks noGrp="1"/>
          </p:cNvSpPr>
          <p:nvPr>
            <p:ph type="body" sz="quarter" idx="41" hasCustomPrompt="1"/>
          </p:nvPr>
        </p:nvSpPr>
        <p:spPr>
          <a:xfrm>
            <a:off x="10163737"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39714483-8AAD-2FC7-F030-69AE44D86130}"/>
              </a:ext>
            </a:extLst>
          </p:cNvPr>
          <p:cNvSpPr>
            <a:spLocks noGrp="1"/>
          </p:cNvSpPr>
          <p:nvPr>
            <p:ph type="body" sz="quarter" idx="42" hasCustomPrompt="1"/>
          </p:nvPr>
        </p:nvSpPr>
        <p:spPr>
          <a:xfrm>
            <a:off x="10163736"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504913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3F8F33C-36B0-3938-4FB3-06AED66B33A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10CFB731-0428-6760-37AA-C747C08253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633FBA36-16CB-70E7-4769-F07A4F61212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BDEFB36A-0DF8-50F5-7642-DDF68D674174}"/>
              </a:ext>
              <a:ext uri="{C183D7F6-B498-43B3-948B-1728B52AA6E4}">
                <adec:decorative xmlns:adec="http://schemas.microsoft.com/office/drawing/2017/decorative" val="1"/>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071324C1-6F80-F13D-F260-83A883C5060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E657F75-11EF-3D83-BBAE-6A2F198193D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061AFDB9-2434-2087-EA70-17BFABFA74E6}"/>
              </a:ext>
              <a:ext uri="{C183D7F6-B498-43B3-948B-1728B52AA6E4}">
                <adec:decorative xmlns:adec="http://schemas.microsoft.com/office/drawing/2017/decorative" val="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p:nvSpPr>
        <p:spPr>
          <a:xfrm>
            <a:off x="582611" y="625475"/>
            <a:ext cx="3740149" cy="7632859"/>
          </a:xfrm>
          <a:prstGeom prst="rect">
            <a:avLst/>
          </a:prstGeom>
          <a:noFill/>
        </p:spPr>
        <p:txBody>
          <a:bodyPr wrap="square" lIns="0" tIns="0" rIns="0" bIns="0" rtlCol="0">
            <a:spAutoFit/>
          </a:bodyPr>
          <a:lstStyle/>
          <a:p>
            <a:pPr algn="l"/>
            <a:r>
              <a:rPr lang="en-US"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rPr>
              <a:t>1</a:t>
            </a:r>
            <a:endParaRPr lang="en-IN" sz="49600" b="1" err="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ndParaRPr>
          </a:p>
        </p:txBody>
      </p:sp>
      <p:sp>
        <p:nvSpPr>
          <p:cNvPr id="14" name="Freeform: Shape 13">
            <a:extLst>
              <a:ext uri="{FF2B5EF4-FFF2-40B4-BE49-F238E27FC236}">
                <a16:creationId xmlns:a16="http://schemas.microsoft.com/office/drawing/2014/main" id="{A6531176-52DB-A5CB-CFF7-9197A9918E07}"/>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0926838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3F8F33C-36B0-3938-4FB3-06AED66B33A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10CFB731-0428-6760-37AA-C747C08253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633FBA36-16CB-70E7-4769-F07A4F61212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BDEFB36A-0DF8-50F5-7642-DDF68D674174}"/>
              </a:ext>
              <a:ext uri="{C183D7F6-B498-43B3-948B-1728B52AA6E4}">
                <adec:decorative xmlns:adec="http://schemas.microsoft.com/office/drawing/2017/decorative" val="1"/>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071324C1-6F80-F13D-F260-83A883C5060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E657F75-11EF-3D83-BBAE-6A2F198193D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061AFDB9-2434-2087-EA70-17BFABFA74E6}"/>
              </a:ext>
              <a:ext uri="{C183D7F6-B498-43B3-948B-1728B52AA6E4}">
                <adec:decorative xmlns:adec="http://schemas.microsoft.com/office/drawing/2017/decorative" val="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p:nvSpPr>
        <p:spPr>
          <a:xfrm>
            <a:off x="582611" y="640715"/>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2</a:t>
            </a:r>
            <a:endParaRPr lang="en-IN" err="1"/>
          </a:p>
        </p:txBody>
      </p:sp>
      <p:sp>
        <p:nvSpPr>
          <p:cNvPr id="14" name="Freeform: Shape 13">
            <a:extLst>
              <a:ext uri="{FF2B5EF4-FFF2-40B4-BE49-F238E27FC236}">
                <a16:creationId xmlns:a16="http://schemas.microsoft.com/office/drawing/2014/main" id="{A6531176-52DB-A5CB-CFF7-9197A9918E07}"/>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12615937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907CB34-064C-D7F8-98AC-E5FB408A860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C24D999D-197C-5B5A-F889-A232F8EBFF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2F12E30-B628-6D7A-45C9-F273BE0EB1E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6D24C534-F7D2-D3B5-8F97-B07BDD082782}"/>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EDF752B1-0604-19FC-E97B-656FA2FB3858}"/>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AC366D49-A0F0-DCF8-8D94-20E0FEADA3C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81A52E7A-D47D-F281-F56C-DBE38B3BDA7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595B6817-63E0-0980-A442-A9BA67C2C39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3</a:t>
            </a:r>
            <a:endParaRPr lang="en-IN"/>
          </a:p>
        </p:txBody>
      </p:sp>
      <p:sp>
        <p:nvSpPr>
          <p:cNvPr id="14" name="Freeform: Shape 13">
            <a:extLst>
              <a:ext uri="{FF2B5EF4-FFF2-40B4-BE49-F238E27FC236}">
                <a16:creationId xmlns:a16="http://schemas.microsoft.com/office/drawing/2014/main" id="{FE777CC7-B6C5-7088-B772-CD2E90937096}"/>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10458710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24008C6-7FA5-45DD-90E5-4D92D6E44F4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4183580B-BD77-72FD-90DA-1596E60D14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5F8D123-B5D0-6A40-F57E-32827378D30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4A883064-0295-F799-5179-E0B8DC3A9EA6}"/>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D3C73739-74F9-9DD7-9C59-D4E06A789AC6}"/>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165902BB-16D8-C91F-EA68-7EBF7E5B578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23119770-54E3-5B0C-7437-D1E56DDAC30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F52CDA68-0512-4E3D-D85E-352EDEDF2F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640715"/>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4</a:t>
            </a:r>
            <a:endParaRPr lang="en-IN" err="1"/>
          </a:p>
        </p:txBody>
      </p:sp>
      <p:sp>
        <p:nvSpPr>
          <p:cNvPr id="14" name="Freeform: Shape 13">
            <a:extLst>
              <a:ext uri="{FF2B5EF4-FFF2-40B4-BE49-F238E27FC236}">
                <a16:creationId xmlns:a16="http://schemas.microsoft.com/office/drawing/2014/main" id="{2C44267B-8E19-5FCB-8D3B-4E294F011114}"/>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8882161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CB00D89-2DA2-92B9-46B2-B0A446AA071D}"/>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CC971C12-893B-5608-36A6-D0D07162BE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C44E1FD0-9347-DBC3-547E-91C88B9835A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46CE0E17-E206-56E0-CEBC-2293BDE84A96}"/>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1BBF723D-56FD-73AE-5D59-E8E4EE504D60}"/>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43645C1F-46DE-9214-DDE6-280FCA94F11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09FC4963-B1AB-9AF1-3D4B-86D52962922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557F2FAE-BD39-BE39-FF6E-6F9DF36D644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5</a:t>
            </a:r>
            <a:endParaRPr lang="en-IN"/>
          </a:p>
        </p:txBody>
      </p:sp>
      <p:sp>
        <p:nvSpPr>
          <p:cNvPr id="14" name="Freeform: Shape 13">
            <a:extLst>
              <a:ext uri="{FF2B5EF4-FFF2-40B4-BE49-F238E27FC236}">
                <a16:creationId xmlns:a16="http://schemas.microsoft.com/office/drawing/2014/main" id="{F4E3460B-2E73-E573-4A5B-D550D76654D9}"/>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21400036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E58D21F-A93E-CD03-EC47-FB8DD1022D5B}"/>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900035A3-ECA5-E0C2-9DE5-EDA7B308584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D654B9A9-43CC-7953-82D9-11C16809A625}"/>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30A3B1A0-D6E6-90ED-A38D-424143A4B1A5}"/>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DE58E119-8C7B-9D2F-9583-620FEFA0423A}"/>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115ECAC6-1FAE-5C1C-CFA2-9D2975BD9F33}"/>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F3152805-8DA0-5167-7E35-DCAC3B2B2EB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D2BA64A5-B92C-C9FE-7215-04FBF69D9DD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6</a:t>
            </a:r>
            <a:endParaRPr lang="en-IN"/>
          </a:p>
        </p:txBody>
      </p:sp>
      <p:sp>
        <p:nvSpPr>
          <p:cNvPr id="14" name="Freeform: Shape 13">
            <a:extLst>
              <a:ext uri="{FF2B5EF4-FFF2-40B4-BE49-F238E27FC236}">
                <a16:creationId xmlns:a16="http://schemas.microsoft.com/office/drawing/2014/main" id="{C93D4AA9-DE5D-D31E-3D1D-D7FCDA9FD312}"/>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2648761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7D8FC8-52BA-24B5-EEE7-443C7804C0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F6CFAF0-994D-B1C4-05AB-914C1ABFB7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CCAC13-A953-F5C9-111A-1991AEEF2160}"/>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2880684C-B0F5-E178-BDFC-7E2E283010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BCC3D8-5BD0-A0A1-8806-C94379635E24}"/>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21247893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429C006-8A1D-8F89-99B1-BF5178727FAD}"/>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0347DA2C-9466-A52B-40AB-17E283D12E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2745345-4692-8096-60F5-AF05DAA31C6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F17CE76A-29DA-FCCB-A80F-224FDAD23C43}"/>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2B4269A7-041F-E563-39E6-B156437C6CE0}"/>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DF8EA209-F48D-A61B-307B-AEF1A671497E}"/>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F35F310F-9C3E-7227-7A63-F93AD69AF9B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E3E82270-853B-F4E1-DE4E-2BB8431DC10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7104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7</a:t>
            </a:r>
            <a:endParaRPr lang="en-IN" err="1"/>
          </a:p>
        </p:txBody>
      </p:sp>
      <p:sp>
        <p:nvSpPr>
          <p:cNvPr id="14" name="Freeform: Shape 13">
            <a:extLst>
              <a:ext uri="{FF2B5EF4-FFF2-40B4-BE49-F238E27FC236}">
                <a16:creationId xmlns:a16="http://schemas.microsoft.com/office/drawing/2014/main" id="{31596FD6-9A43-B0EB-8E6C-BDABAB4486BC}"/>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0647163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1D0FB89-6570-5E4D-018B-D99E29F562EB}"/>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B952ADD1-833B-116E-4ECC-05C1A267AE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4B514CFA-7782-D87B-AEC1-559B1A127B7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FD860205-FCAE-78DE-D5ED-0E3186EF814F}"/>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548E8EA9-8ACE-E1B3-42E3-C2F6FA275756}"/>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E2BB5F71-A943-BC3B-7B26-6AAD53C0A7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0B85113-CC15-A37F-B1F5-0A26FFFC1A5D}"/>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7437BF8F-5993-C96E-AC92-F57A13BEDF8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8</a:t>
            </a:r>
            <a:endParaRPr lang="en-IN"/>
          </a:p>
        </p:txBody>
      </p:sp>
      <p:sp>
        <p:nvSpPr>
          <p:cNvPr id="14" name="Freeform: Shape 13">
            <a:extLst>
              <a:ext uri="{FF2B5EF4-FFF2-40B4-BE49-F238E27FC236}">
                <a16:creationId xmlns:a16="http://schemas.microsoft.com/office/drawing/2014/main" id="{1ACD0974-2DCA-E7A6-A86C-6A594EA18FC5}"/>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87474146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number slides (Dark)">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811C7DA-CE9B-720F-23D6-C3E0B26CE0F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EA990D72-62FF-7276-D6A8-7CB4F604F3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BF980D98-64AB-8534-57E5-AA6FA60349C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6" name="Group 15">
            <a:extLst>
              <a:ext uri="{FF2B5EF4-FFF2-40B4-BE49-F238E27FC236}">
                <a16:creationId xmlns:a16="http://schemas.microsoft.com/office/drawing/2014/main" id="{749E9DA9-685B-ABF8-643B-E50A935BE6B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2F03625D-E784-AEB9-DEF9-B2DCBB3E4E73}"/>
                </a:ext>
              </a:extLst>
            </p:cNvPr>
            <p:cNvGrpSpPr/>
            <p:nvPr/>
          </p:nvGrpSpPr>
          <p:grpSpPr>
            <a:xfrm>
              <a:off x="9486900" y="0"/>
              <a:ext cx="2705100" cy="694583"/>
              <a:chOff x="9486900" y="0"/>
              <a:chExt cx="2705100" cy="694583"/>
            </a:xfrm>
          </p:grpSpPr>
          <p:sp>
            <p:nvSpPr>
              <p:cNvPr id="19" name="Freeform: Shape 18">
                <a:extLst>
                  <a:ext uri="{FF2B5EF4-FFF2-40B4-BE49-F238E27FC236}">
                    <a16:creationId xmlns:a16="http://schemas.microsoft.com/office/drawing/2014/main" id="{7D833D94-173C-EDB4-AA0C-552FEA0B3A7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20" name="Freeform: Shape 19">
                <a:extLst>
                  <a:ext uri="{FF2B5EF4-FFF2-40B4-BE49-F238E27FC236}">
                    <a16:creationId xmlns:a16="http://schemas.microsoft.com/office/drawing/2014/main" id="{AB861CFF-8871-4294-29A7-7817D92DF9A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8" name="Freeform: Shape 17">
              <a:extLst>
                <a:ext uri="{FF2B5EF4-FFF2-40B4-BE49-F238E27FC236}">
                  <a16:creationId xmlns:a16="http://schemas.microsoft.com/office/drawing/2014/main" id="{E520BCC2-9520-E974-48BE-E10B84865F3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lvl="0">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9</a:t>
            </a:r>
            <a:endParaRPr lang="en-IN"/>
          </a:p>
        </p:txBody>
      </p:sp>
      <p:sp>
        <p:nvSpPr>
          <p:cNvPr id="21" name="Freeform: Shape 20">
            <a:extLst>
              <a:ext uri="{FF2B5EF4-FFF2-40B4-BE49-F238E27FC236}">
                <a16:creationId xmlns:a16="http://schemas.microsoft.com/office/drawing/2014/main" id="{FA419A7C-8141-3F92-FD68-B7197E76EF86}"/>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28239021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number slides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E246FB-AB81-B8EC-A355-536B234B1F17}"/>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4E58D35A-F47C-A3A9-69E0-FF65F121F3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1FB571C-8009-012C-D301-FDA4D31F140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8" name="Group 7">
            <a:extLst>
              <a:ext uri="{FF2B5EF4-FFF2-40B4-BE49-F238E27FC236}">
                <a16:creationId xmlns:a16="http://schemas.microsoft.com/office/drawing/2014/main" id="{72AB9765-2DC6-7DD2-4906-4C16C9B7FE4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67398666-1EA3-A10B-B2D4-9388F9671461}"/>
                </a:ext>
              </a:extLst>
            </p:cNvPr>
            <p:cNvGrpSpPr/>
            <p:nvPr/>
          </p:nvGrpSpPr>
          <p:grpSpPr>
            <a:xfrm>
              <a:off x="9486900" y="0"/>
              <a:ext cx="2705100" cy="694583"/>
              <a:chOff x="9486900" y="0"/>
              <a:chExt cx="2705100" cy="694583"/>
            </a:xfrm>
          </p:grpSpPr>
          <p:sp>
            <p:nvSpPr>
              <p:cNvPr id="15" name="Freeform: Shape 14">
                <a:extLst>
                  <a:ext uri="{FF2B5EF4-FFF2-40B4-BE49-F238E27FC236}">
                    <a16:creationId xmlns:a16="http://schemas.microsoft.com/office/drawing/2014/main" id="{F65FAC2F-AEBE-7EBC-4267-98783C21AB7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6" name="Freeform: Shape 15">
                <a:extLst>
                  <a:ext uri="{FF2B5EF4-FFF2-40B4-BE49-F238E27FC236}">
                    <a16:creationId xmlns:a16="http://schemas.microsoft.com/office/drawing/2014/main" id="{73F8BF48-7161-8B4A-77B6-BCB7F80740D9}"/>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4" name="Freeform: Shape 13">
              <a:extLst>
                <a:ext uri="{FF2B5EF4-FFF2-40B4-BE49-F238E27FC236}">
                  <a16:creationId xmlns:a16="http://schemas.microsoft.com/office/drawing/2014/main" id="{8729867E-785A-91D7-0FEF-675C8E5BC3A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5928359" y="2745600"/>
            <a:ext cx="5681029"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5928359" y="3634600"/>
            <a:ext cx="5681029"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36891" y="1622607"/>
            <a:ext cx="5345749" cy="6355586"/>
          </a:xfrm>
          <a:prstGeom prst="rect">
            <a:avLst/>
          </a:prstGeom>
          <a:noFill/>
        </p:spPr>
        <p:txBody>
          <a:bodyPr wrap="square" lIns="0" tIns="0" rIns="0" bIns="0" rtlCol="0">
            <a:spAutoFit/>
          </a:bodyPr>
          <a:lstStyle/>
          <a:p>
            <a:pPr marL="0" lvl="0" algn="l" defTabSz="914400" rtl="0" eaLnBrk="1" latinLnBrk="0" hangingPunct="1"/>
            <a:r>
              <a:rPr lang="en-US" sz="41300" b="1" kern="1200">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a typeface="+mn-ea"/>
                <a:cs typeface="+mn-cs"/>
              </a:rPr>
              <a:t>10</a:t>
            </a:r>
            <a:endParaRPr lang="en-IN" sz="41300" b="1" kern="1200">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a typeface="+mn-ea"/>
              <a:cs typeface="+mn-cs"/>
            </a:endParaRPr>
          </a:p>
        </p:txBody>
      </p:sp>
      <p:sp>
        <p:nvSpPr>
          <p:cNvPr id="17" name="Freeform: Shape 16">
            <a:extLst>
              <a:ext uri="{FF2B5EF4-FFF2-40B4-BE49-F238E27FC236}">
                <a16:creationId xmlns:a16="http://schemas.microsoft.com/office/drawing/2014/main" id="{2E907715-9034-6B72-5B58-B64A11570B87}"/>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4037204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ectangle 15">
            <a:extLst>
              <a:ext uri="{FF2B5EF4-FFF2-40B4-BE49-F238E27FC236}">
                <a16:creationId xmlns:a16="http://schemas.microsoft.com/office/drawing/2014/main" id="{E2FC0965-4144-7B0E-916F-401B71853545}"/>
              </a:ext>
              <a:ext uri="{C183D7F6-B498-43B3-948B-1728B52AA6E4}">
                <adec:decorative xmlns:adec="http://schemas.microsoft.com/office/drawing/2017/decorative" val="1"/>
              </a:ext>
            </a:extLst>
          </p:cNvPr>
          <p:cNvSpPr>
            <a:spLocks/>
          </p:cNvSpPr>
          <p:nvPr userDrawn="1"/>
        </p:nvSpPr>
        <p:spPr bwMode="auto">
          <a:xfrm>
            <a:off x="0" y="2090058"/>
            <a:ext cx="10043886" cy="2677886"/>
          </a:xfrm>
          <a:prstGeom prst="rect">
            <a:avLst/>
          </a:pr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013503"/>
            <a:ext cx="11018520" cy="830997"/>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5400" b="0" kern="1200" cap="none" spc="-50" baseline="0" dirty="0">
                <a:ln w="3175">
                  <a:noFill/>
                </a:ln>
                <a:gradFill flip="none" rotWithShape="1">
                  <a:gsLst>
                    <a:gs pos="80000">
                      <a:schemeClr val="accent1">
                        <a:lumMod val="60000"/>
                        <a:lumOff val="40000"/>
                      </a:schemeClr>
                    </a:gs>
                    <a:gs pos="20000">
                      <a:srgbClr val="BD39C2"/>
                    </a:gs>
                  </a:gsLst>
                  <a:path path="circle">
                    <a:fillToRect l="100000" t="100000"/>
                  </a:path>
                  <a:tileRect r="-100000" b="-100000"/>
                </a:gradFill>
                <a:effectLst/>
                <a:latin typeface="+mj-lt"/>
                <a:ea typeface="+mn-ea"/>
                <a:cs typeface="Segoe UI" pitchFamily="34" charset="0"/>
              </a:defRPr>
            </a:lvl1pPr>
          </a:lstStyle>
          <a:p>
            <a:pPr marL="0" lvl="0"/>
            <a:r>
              <a:rPr lang="en-US"/>
              <a:t>Section Title</a:t>
            </a:r>
            <a:endParaRPr lang="en-IN"/>
          </a:p>
        </p:txBody>
      </p:sp>
    </p:spTree>
    <p:extLst>
      <p:ext uri="{BB962C8B-B14F-4D97-AF65-F5344CB8AC3E}">
        <p14:creationId xmlns:p14="http://schemas.microsoft.com/office/powerpoint/2010/main" val="19476138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slide with speaker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21224"/>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solidFill>
                  <a:schemeClr val="bg1"/>
                </a:solidFill>
              </a:defRPr>
            </a:lvl1pPr>
          </a:lstStyle>
          <a:p>
            <a:pPr marL="0" lvl="0"/>
            <a:r>
              <a:rPr lang="en-US"/>
              <a:t>Section Title</a:t>
            </a:r>
            <a:endParaRPr lang="en-IN"/>
          </a:p>
        </p:txBody>
      </p:sp>
      <p:sp>
        <p:nvSpPr>
          <p:cNvPr id="2" name="Text Placeholder 12">
            <a:extLst>
              <a:ext uri="{FF2B5EF4-FFF2-40B4-BE49-F238E27FC236}">
                <a16:creationId xmlns:a16="http://schemas.microsoft.com/office/drawing/2014/main" id="{DA89C425-EF35-BBDE-29C5-4EA0FF03A8AD}"/>
              </a:ext>
            </a:extLst>
          </p:cNvPr>
          <p:cNvSpPr>
            <a:spLocks noGrp="1"/>
          </p:cNvSpPr>
          <p:nvPr>
            <p:ph type="body" sz="quarter" idx="10" hasCustomPrompt="1"/>
          </p:nvPr>
        </p:nvSpPr>
        <p:spPr>
          <a:xfrm>
            <a:off x="586740" y="3824976"/>
            <a:ext cx="11018520" cy="369332"/>
          </a:xfrm>
        </p:spPr>
        <p:txBody>
          <a:bodyPr/>
          <a:lstStyle>
            <a:lvl1pPr marL="0" indent="0" algn="l" defTabSz="932742" rtl="0" eaLnBrk="1" latinLnBrk="0" hangingPunct="1">
              <a:lnSpc>
                <a:spcPct val="100000"/>
              </a:lnSpc>
              <a:spcBef>
                <a:spcPct val="0"/>
              </a:spcBef>
              <a:buFont typeface="Arial" panose="020B0604020202020204" pitchFamily="34" charset="0"/>
              <a:buNone/>
              <a:defRPr lang="en-US" sz="2400" b="0" kern="1200" cap="none" spc="-50" baseline="0" dirty="0" smtClean="0">
                <a:ln w="3175">
                  <a:noFill/>
                </a:ln>
                <a:solidFill>
                  <a:schemeClr val="bg1"/>
                </a:solidFill>
                <a:effectLst/>
                <a:latin typeface="+mn-lt"/>
                <a:ea typeface="+mn-ea"/>
                <a:cs typeface="Segoe UI" pitchFamily="34" charset="0"/>
              </a:defRPr>
            </a:lvl1pPr>
          </a:lstStyle>
          <a:p>
            <a:pPr lvl="0"/>
            <a:r>
              <a:rPr lang="en-US"/>
              <a:t>Speaker</a:t>
            </a:r>
          </a:p>
        </p:txBody>
      </p:sp>
    </p:spTree>
    <p:extLst>
      <p:ext uri="{BB962C8B-B14F-4D97-AF65-F5344CB8AC3E}">
        <p14:creationId xmlns:p14="http://schemas.microsoft.com/office/powerpoint/2010/main" val="9021224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slide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D39EF-245B-4578-7A25-0CE07E44D94D}"/>
              </a:ext>
              <a:ext uri="{C183D7F6-B498-43B3-948B-1728B52AA6E4}">
                <adec:decorative xmlns:adec="http://schemas.microsoft.com/office/drawing/2017/decorative" val="1"/>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7617481-9B3F-FFDD-0C71-883CAA17C5CA}"/>
              </a:ext>
              <a:ext uri="{C183D7F6-B498-43B3-948B-1728B52AA6E4}">
                <adec:decorative xmlns:adec="http://schemas.microsoft.com/office/drawing/2017/decorative" val="1"/>
              </a:ext>
            </a:extLst>
          </p:cNvPr>
          <p:cNvSpPr/>
          <p:nvPr userDrawn="1"/>
        </p:nvSpPr>
        <p:spPr bwMode="auto">
          <a:xfrm>
            <a:off x="0" y="2207895"/>
            <a:ext cx="7251700" cy="2442210"/>
          </a:xfrm>
          <a:prstGeom prst="rect">
            <a:avLst/>
          </a:prstGeom>
          <a:gradFill flip="none" rotWithShape="1">
            <a:gsLst>
              <a:gs pos="25000">
                <a:schemeClr val="tx1">
                  <a:alpha val="0"/>
                </a:schemeClr>
              </a:gs>
              <a:gs pos="100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 name="Graphic 4">
            <a:extLst>
              <a:ext uri="{FF2B5EF4-FFF2-40B4-BE49-F238E27FC236}">
                <a16:creationId xmlns:a16="http://schemas.microsoft.com/office/drawing/2014/main" id="{A16D3558-B2CB-67CD-5D52-CB78FE8B0C2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8962"/>
            <a:ext cx="1391154" cy="293688"/>
          </a:xfrm>
          <a:prstGeom prst="rect">
            <a:avLst/>
          </a:prstGeom>
        </p:spPr>
      </p:pic>
      <p:sp>
        <p:nvSpPr>
          <p:cNvPr id="6" name="Text Box 3">
            <a:extLst>
              <a:ext uri="{FF2B5EF4-FFF2-40B4-BE49-F238E27FC236}">
                <a16:creationId xmlns:a16="http://schemas.microsoft.com/office/drawing/2014/main" id="{BB3E694C-B8C6-5D8C-FFA0-C51B7783137E}"/>
              </a:ext>
              <a:ext uri="{C183D7F6-B498-43B3-948B-1728B52AA6E4}">
                <adec:decorative xmlns:adec="http://schemas.microsoft.com/office/drawing/2017/decorative" val="1"/>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
        <p:nvSpPr>
          <p:cNvPr id="8" name="Title 1">
            <a:extLst>
              <a:ext uri="{FF2B5EF4-FFF2-40B4-BE49-F238E27FC236}">
                <a16:creationId xmlns:a16="http://schemas.microsoft.com/office/drawing/2014/main" id="{513FD8D5-474C-9E23-5DD6-11FA075C05CD}"/>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solidFill>
                  <a:schemeClr val="bg1"/>
                </a:solidFill>
              </a:defRPr>
            </a:lvl1pPr>
          </a:lstStyle>
          <a:p>
            <a:pPr marL="0" lvl="0"/>
            <a:r>
              <a:rPr lang="en-US"/>
              <a:t>Thank you</a:t>
            </a:r>
            <a:endParaRPr lang="en-IN"/>
          </a:p>
        </p:txBody>
      </p:sp>
    </p:spTree>
    <p:extLst>
      <p:ext uri="{BB962C8B-B14F-4D97-AF65-F5344CB8AC3E}">
        <p14:creationId xmlns:p14="http://schemas.microsoft.com/office/powerpoint/2010/main" val="144795841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slide with different languages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D39EF-245B-4578-7A25-0CE07E44D94D}"/>
              </a:ext>
              <a:ext uri="{C183D7F6-B498-43B3-948B-1728B52AA6E4}">
                <adec:decorative xmlns:adec="http://schemas.microsoft.com/office/drawing/2017/decorative" val="1"/>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16D3558-B2CB-67CD-5D52-CB78FE8B0C2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8962"/>
            <a:ext cx="1391154" cy="293688"/>
          </a:xfrm>
          <a:prstGeom prst="rect">
            <a:avLst/>
          </a:prstGeom>
        </p:spPr>
      </p:pic>
      <p:sp>
        <p:nvSpPr>
          <p:cNvPr id="2" name="Text Box 3">
            <a:extLst>
              <a:ext uri="{FF2B5EF4-FFF2-40B4-BE49-F238E27FC236}">
                <a16:creationId xmlns:a16="http://schemas.microsoft.com/office/drawing/2014/main" id="{6161F624-3C46-7225-3634-55ACC3EDF8AF}"/>
              </a:ext>
              <a:ext uri="{C183D7F6-B498-43B3-948B-1728B52AA6E4}">
                <adec:decorative xmlns:adec="http://schemas.microsoft.com/office/drawing/2017/decorative" val="1"/>
              </a:ext>
            </a:extLst>
          </p:cNvPr>
          <p:cNvSpPr txBox="1">
            <a:spLocks noChangeArrowheads="1"/>
          </p:cNvSpPr>
          <p:nvPr userDrawn="1"/>
        </p:nvSpPr>
        <p:spPr bwMode="blackWhite">
          <a:xfrm>
            <a:off x="584200" y="6564313"/>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grpSp>
        <p:nvGrpSpPr>
          <p:cNvPr id="9" name="Group 8">
            <a:extLst>
              <a:ext uri="{FF2B5EF4-FFF2-40B4-BE49-F238E27FC236}">
                <a16:creationId xmlns:a16="http://schemas.microsoft.com/office/drawing/2014/main" id="{584DE0B8-F7AC-91F0-091A-FA7458C94545}"/>
              </a:ext>
              <a:ext uri="{C183D7F6-B498-43B3-948B-1728B52AA6E4}">
                <adec:decorative xmlns:adec="http://schemas.microsoft.com/office/drawing/2017/decorative" val="1"/>
              </a:ext>
            </a:extLst>
          </p:cNvPr>
          <p:cNvGrpSpPr/>
          <p:nvPr userDrawn="1"/>
        </p:nvGrpSpPr>
        <p:grpSpPr>
          <a:xfrm>
            <a:off x="1269635" y="1098787"/>
            <a:ext cx="9656866" cy="4836402"/>
            <a:chOff x="1269635" y="1098787"/>
            <a:chExt cx="9656866" cy="4836402"/>
          </a:xfrm>
        </p:grpSpPr>
        <p:sp>
          <p:nvSpPr>
            <p:cNvPr id="10" name="Freeform 234">
              <a:extLst>
                <a:ext uri="{FF2B5EF4-FFF2-40B4-BE49-F238E27FC236}">
                  <a16:creationId xmlns:a16="http://schemas.microsoft.com/office/drawing/2014/main" id="{8E1C39E2-6A5D-A383-FAD6-A5024CC2A5A4}"/>
                </a:ext>
                <a:ext uri="{C183D7F6-B498-43B3-948B-1728B52AA6E4}">
                  <adec:decorative xmlns:adec="http://schemas.microsoft.com/office/drawing/2017/decorative" val="1"/>
                </a:ext>
              </a:extLst>
            </p:cNvPr>
            <p:cNvSpPr>
              <a:spLocks noEditPoints="1"/>
            </p:cNvSpPr>
            <p:nvPr/>
          </p:nvSpPr>
          <p:spPr bwMode="auto">
            <a:xfrm>
              <a:off x="1269635" y="2252686"/>
              <a:ext cx="1434671" cy="182384"/>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solidFill>
              <a:srgbClr val="FFBCC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11" name="Freeform 244">
              <a:extLst>
                <a:ext uri="{FF2B5EF4-FFF2-40B4-BE49-F238E27FC236}">
                  <a16:creationId xmlns:a16="http://schemas.microsoft.com/office/drawing/2014/main" id="{8D4CDBEF-8CE9-A682-C017-D2C9A9443DF6}"/>
                </a:ext>
                <a:ext uri="{C183D7F6-B498-43B3-948B-1728B52AA6E4}">
                  <adec:decorative xmlns:adec="http://schemas.microsoft.com/office/drawing/2017/decorative" val="1"/>
                </a:ext>
              </a:extLst>
            </p:cNvPr>
            <p:cNvSpPr>
              <a:spLocks noEditPoints="1"/>
            </p:cNvSpPr>
            <p:nvPr/>
          </p:nvSpPr>
          <p:spPr bwMode="auto">
            <a:xfrm>
              <a:off x="1777862" y="1694482"/>
              <a:ext cx="1220176" cy="273577"/>
            </a:xfrm>
            <a:custGeom>
              <a:avLst/>
              <a:gdLst>
                <a:gd name="T0" fmla="*/ 0 w 402"/>
                <a:gd name="T1" fmla="*/ 21 h 90"/>
                <a:gd name="T2" fmla="*/ 18 w 402"/>
                <a:gd name="T3" fmla="*/ 89 h 90"/>
                <a:gd name="T4" fmla="*/ 54 w 402"/>
                <a:gd name="T5" fmla="*/ 54 h 90"/>
                <a:gd name="T6" fmla="*/ 39 w 402"/>
                <a:gd name="T7" fmla="*/ 75 h 90"/>
                <a:gd name="T8" fmla="*/ 8 w 402"/>
                <a:gd name="T9" fmla="*/ 82 h 90"/>
                <a:gd name="T10" fmla="*/ 19 w 402"/>
                <a:gd name="T11" fmla="*/ 29 h 90"/>
                <a:gd name="T12" fmla="*/ 39 w 402"/>
                <a:gd name="T13" fmla="*/ 75 h 90"/>
                <a:gd name="T14" fmla="*/ 27 w 402"/>
                <a:gd name="T15" fmla="*/ 15 h 90"/>
                <a:gd name="T16" fmla="*/ 10 w 402"/>
                <a:gd name="T17" fmla="*/ 0 h 90"/>
                <a:gd name="T18" fmla="*/ 23 w 402"/>
                <a:gd name="T19" fmla="*/ 10 h 90"/>
                <a:gd name="T20" fmla="*/ 37 w 402"/>
                <a:gd name="T21" fmla="*/ 0 h 90"/>
                <a:gd name="T22" fmla="*/ 84 w 402"/>
                <a:gd name="T23" fmla="*/ 21 h 90"/>
                <a:gd name="T24" fmla="*/ 67 w 402"/>
                <a:gd name="T25" fmla="*/ 89 h 90"/>
                <a:gd name="T26" fmla="*/ 102 w 402"/>
                <a:gd name="T27" fmla="*/ 70 h 90"/>
                <a:gd name="T28" fmla="*/ 118 w 402"/>
                <a:gd name="T29" fmla="*/ 89 h 90"/>
                <a:gd name="T30" fmla="*/ 77 w 402"/>
                <a:gd name="T31" fmla="*/ 63 h 90"/>
                <a:gd name="T32" fmla="*/ 88 w 402"/>
                <a:gd name="T33" fmla="*/ 30 h 90"/>
                <a:gd name="T34" fmla="*/ 89 w 402"/>
                <a:gd name="T35" fmla="*/ 34 h 90"/>
                <a:gd name="T36" fmla="*/ 77 w 402"/>
                <a:gd name="T37" fmla="*/ 63 h 90"/>
                <a:gd name="T38" fmla="*/ 164 w 402"/>
                <a:gd name="T39" fmla="*/ 89 h 90"/>
                <a:gd name="T40" fmla="*/ 136 w 402"/>
                <a:gd name="T41" fmla="*/ 56 h 90"/>
                <a:gd name="T42" fmla="*/ 136 w 402"/>
                <a:gd name="T43" fmla="*/ 89 h 90"/>
                <a:gd name="T44" fmla="*/ 128 w 402"/>
                <a:gd name="T45" fmla="*/ 21 h 90"/>
                <a:gd name="T46" fmla="*/ 136 w 402"/>
                <a:gd name="T47" fmla="*/ 53 h 90"/>
                <a:gd name="T48" fmla="*/ 138 w 402"/>
                <a:gd name="T49" fmla="*/ 51 h 90"/>
                <a:gd name="T50" fmla="*/ 173 w 402"/>
                <a:gd name="T51" fmla="*/ 21 h 90"/>
                <a:gd name="T52" fmla="*/ 175 w 402"/>
                <a:gd name="T53" fmla="*/ 89 h 90"/>
                <a:gd name="T54" fmla="*/ 208 w 402"/>
                <a:gd name="T55" fmla="*/ 90 h 90"/>
                <a:gd name="T56" fmla="*/ 183 w 402"/>
                <a:gd name="T57" fmla="*/ 21 h 90"/>
                <a:gd name="T58" fmla="*/ 191 w 402"/>
                <a:gd name="T59" fmla="*/ 62 h 90"/>
                <a:gd name="T60" fmla="*/ 226 w 402"/>
                <a:gd name="T61" fmla="*/ 63 h 90"/>
                <a:gd name="T62" fmla="*/ 233 w 402"/>
                <a:gd name="T63" fmla="*/ 21 h 90"/>
                <a:gd name="T64" fmla="*/ 267 w 402"/>
                <a:gd name="T65" fmla="*/ 65 h 90"/>
                <a:gd name="T66" fmla="*/ 249 w 402"/>
                <a:gd name="T67" fmla="*/ 90 h 90"/>
                <a:gd name="T68" fmla="*/ 242 w 402"/>
                <a:gd name="T69" fmla="*/ 81 h 90"/>
                <a:gd name="T70" fmla="*/ 260 w 402"/>
                <a:gd name="T71" fmla="*/ 65 h 90"/>
                <a:gd name="T72" fmla="*/ 267 w 402"/>
                <a:gd name="T73" fmla="*/ 21 h 90"/>
                <a:gd name="T74" fmla="*/ 320 w 402"/>
                <a:gd name="T75" fmla="*/ 89 h 90"/>
                <a:gd name="T76" fmla="*/ 285 w 402"/>
                <a:gd name="T77" fmla="*/ 21 h 90"/>
                <a:gd name="T78" fmla="*/ 319 w 402"/>
                <a:gd name="T79" fmla="*/ 29 h 90"/>
                <a:gd name="T80" fmla="*/ 292 w 402"/>
                <a:gd name="T81" fmla="*/ 51 h 90"/>
                <a:gd name="T82" fmla="*/ 317 w 402"/>
                <a:gd name="T83" fmla="*/ 58 h 90"/>
                <a:gd name="T84" fmla="*/ 292 w 402"/>
                <a:gd name="T85" fmla="*/ 82 h 90"/>
                <a:gd name="T86" fmla="*/ 320 w 402"/>
                <a:gd name="T87" fmla="*/ 89 h 90"/>
                <a:gd name="T88" fmla="*/ 394 w 402"/>
                <a:gd name="T89" fmla="*/ 89 h 90"/>
                <a:gd name="T90" fmla="*/ 395 w 402"/>
                <a:gd name="T91" fmla="*/ 31 h 90"/>
                <a:gd name="T92" fmla="*/ 393 w 402"/>
                <a:gd name="T93" fmla="*/ 37 h 90"/>
                <a:gd name="T94" fmla="*/ 366 w 402"/>
                <a:gd name="T95" fmla="*/ 89 h 90"/>
                <a:gd name="T96" fmla="*/ 341 w 402"/>
                <a:gd name="T97" fmla="*/ 31 h 90"/>
                <a:gd name="T98" fmla="*/ 341 w 402"/>
                <a:gd name="T99" fmla="*/ 44 h 90"/>
                <a:gd name="T100" fmla="*/ 333 w 402"/>
                <a:gd name="T101" fmla="*/ 89 h 90"/>
                <a:gd name="T102" fmla="*/ 344 w 402"/>
                <a:gd name="T103" fmla="*/ 21 h 90"/>
                <a:gd name="T104" fmla="*/ 368 w 402"/>
                <a:gd name="T105" fmla="*/ 77 h 90"/>
                <a:gd name="T106" fmla="*/ 371 w 402"/>
                <a:gd name="T107" fmla="*/ 68 h 90"/>
                <a:gd name="T108" fmla="*/ 402 w 402"/>
                <a:gd name="T109"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2" h="90">
                  <a:moveTo>
                    <a:pt x="19" y="21"/>
                  </a:moveTo>
                  <a:cubicBezTo>
                    <a:pt x="0" y="21"/>
                    <a:pt x="0" y="21"/>
                    <a:pt x="0" y="21"/>
                  </a:cubicBezTo>
                  <a:cubicBezTo>
                    <a:pt x="0" y="89"/>
                    <a:pt x="0" y="89"/>
                    <a:pt x="0" y="89"/>
                  </a:cubicBezTo>
                  <a:cubicBezTo>
                    <a:pt x="18" y="89"/>
                    <a:pt x="18" y="89"/>
                    <a:pt x="18" y="89"/>
                  </a:cubicBezTo>
                  <a:cubicBezTo>
                    <a:pt x="29" y="89"/>
                    <a:pt x="38" y="86"/>
                    <a:pt x="45" y="79"/>
                  </a:cubicBezTo>
                  <a:cubicBezTo>
                    <a:pt x="51" y="73"/>
                    <a:pt x="54" y="65"/>
                    <a:pt x="54" y="54"/>
                  </a:cubicBezTo>
                  <a:cubicBezTo>
                    <a:pt x="54" y="32"/>
                    <a:pt x="43" y="21"/>
                    <a:pt x="19" y="21"/>
                  </a:cubicBezTo>
                  <a:close/>
                  <a:moveTo>
                    <a:pt x="39" y="75"/>
                  </a:moveTo>
                  <a:cubicBezTo>
                    <a:pt x="34" y="79"/>
                    <a:pt x="27" y="82"/>
                    <a:pt x="18" y="82"/>
                  </a:cubicBezTo>
                  <a:cubicBezTo>
                    <a:pt x="8" y="82"/>
                    <a:pt x="8" y="82"/>
                    <a:pt x="8" y="82"/>
                  </a:cubicBezTo>
                  <a:cubicBezTo>
                    <a:pt x="8" y="29"/>
                    <a:pt x="8" y="29"/>
                    <a:pt x="8" y="29"/>
                  </a:cubicBezTo>
                  <a:cubicBezTo>
                    <a:pt x="19" y="29"/>
                    <a:pt x="19" y="29"/>
                    <a:pt x="19" y="29"/>
                  </a:cubicBezTo>
                  <a:cubicBezTo>
                    <a:pt x="37" y="29"/>
                    <a:pt x="46" y="37"/>
                    <a:pt x="46" y="54"/>
                  </a:cubicBezTo>
                  <a:cubicBezTo>
                    <a:pt x="46" y="63"/>
                    <a:pt x="44" y="70"/>
                    <a:pt x="39" y="75"/>
                  </a:cubicBezTo>
                  <a:close/>
                  <a:moveTo>
                    <a:pt x="37" y="0"/>
                  </a:moveTo>
                  <a:cubicBezTo>
                    <a:pt x="27" y="15"/>
                    <a:pt x="27" y="15"/>
                    <a:pt x="27" y="15"/>
                  </a:cubicBezTo>
                  <a:cubicBezTo>
                    <a:pt x="20" y="15"/>
                    <a:pt x="20" y="15"/>
                    <a:pt x="20" y="15"/>
                  </a:cubicBezTo>
                  <a:cubicBezTo>
                    <a:pt x="10" y="0"/>
                    <a:pt x="10" y="0"/>
                    <a:pt x="10" y="0"/>
                  </a:cubicBezTo>
                  <a:cubicBezTo>
                    <a:pt x="16" y="0"/>
                    <a:pt x="16" y="0"/>
                    <a:pt x="16" y="0"/>
                  </a:cubicBezTo>
                  <a:cubicBezTo>
                    <a:pt x="23" y="10"/>
                    <a:pt x="23" y="10"/>
                    <a:pt x="23" y="10"/>
                  </a:cubicBezTo>
                  <a:cubicBezTo>
                    <a:pt x="31" y="0"/>
                    <a:pt x="31" y="0"/>
                    <a:pt x="31" y="0"/>
                  </a:cubicBezTo>
                  <a:lnTo>
                    <a:pt x="37" y="0"/>
                  </a:lnTo>
                  <a:close/>
                  <a:moveTo>
                    <a:pt x="92" y="21"/>
                  </a:moveTo>
                  <a:cubicBezTo>
                    <a:pt x="84" y="21"/>
                    <a:pt x="84" y="21"/>
                    <a:pt x="84" y="21"/>
                  </a:cubicBezTo>
                  <a:cubicBezTo>
                    <a:pt x="58" y="89"/>
                    <a:pt x="58" y="89"/>
                    <a:pt x="58" y="89"/>
                  </a:cubicBezTo>
                  <a:cubicBezTo>
                    <a:pt x="67" y="89"/>
                    <a:pt x="67" y="89"/>
                    <a:pt x="67" y="89"/>
                  </a:cubicBezTo>
                  <a:cubicBezTo>
                    <a:pt x="74" y="70"/>
                    <a:pt x="74" y="70"/>
                    <a:pt x="74" y="70"/>
                  </a:cubicBezTo>
                  <a:cubicBezTo>
                    <a:pt x="102" y="70"/>
                    <a:pt x="102" y="70"/>
                    <a:pt x="102" y="70"/>
                  </a:cubicBezTo>
                  <a:cubicBezTo>
                    <a:pt x="110" y="89"/>
                    <a:pt x="110" y="89"/>
                    <a:pt x="110" y="89"/>
                  </a:cubicBezTo>
                  <a:cubicBezTo>
                    <a:pt x="118" y="89"/>
                    <a:pt x="118" y="89"/>
                    <a:pt x="118" y="89"/>
                  </a:cubicBezTo>
                  <a:lnTo>
                    <a:pt x="92" y="21"/>
                  </a:lnTo>
                  <a:close/>
                  <a:moveTo>
                    <a:pt x="77" y="63"/>
                  </a:moveTo>
                  <a:cubicBezTo>
                    <a:pt x="87" y="34"/>
                    <a:pt x="87" y="34"/>
                    <a:pt x="87" y="34"/>
                  </a:cubicBezTo>
                  <a:cubicBezTo>
                    <a:pt x="87" y="33"/>
                    <a:pt x="88" y="32"/>
                    <a:pt x="88" y="30"/>
                  </a:cubicBezTo>
                  <a:cubicBezTo>
                    <a:pt x="88" y="30"/>
                    <a:pt x="88" y="30"/>
                    <a:pt x="88" y="30"/>
                  </a:cubicBezTo>
                  <a:cubicBezTo>
                    <a:pt x="89" y="32"/>
                    <a:pt x="89" y="33"/>
                    <a:pt x="89" y="34"/>
                  </a:cubicBezTo>
                  <a:cubicBezTo>
                    <a:pt x="100" y="63"/>
                    <a:pt x="100" y="63"/>
                    <a:pt x="100" y="63"/>
                  </a:cubicBezTo>
                  <a:lnTo>
                    <a:pt x="77" y="63"/>
                  </a:lnTo>
                  <a:close/>
                  <a:moveTo>
                    <a:pt x="175" y="89"/>
                  </a:moveTo>
                  <a:cubicBezTo>
                    <a:pt x="164" y="89"/>
                    <a:pt x="164" y="89"/>
                    <a:pt x="164" y="89"/>
                  </a:cubicBezTo>
                  <a:cubicBezTo>
                    <a:pt x="138" y="58"/>
                    <a:pt x="138" y="58"/>
                    <a:pt x="138" y="58"/>
                  </a:cubicBezTo>
                  <a:cubicBezTo>
                    <a:pt x="137" y="57"/>
                    <a:pt x="137" y="56"/>
                    <a:pt x="136" y="56"/>
                  </a:cubicBezTo>
                  <a:cubicBezTo>
                    <a:pt x="136" y="56"/>
                    <a:pt x="136" y="56"/>
                    <a:pt x="136" y="56"/>
                  </a:cubicBezTo>
                  <a:cubicBezTo>
                    <a:pt x="136" y="89"/>
                    <a:pt x="136" y="89"/>
                    <a:pt x="136" y="89"/>
                  </a:cubicBezTo>
                  <a:cubicBezTo>
                    <a:pt x="128" y="89"/>
                    <a:pt x="128" y="89"/>
                    <a:pt x="128" y="89"/>
                  </a:cubicBezTo>
                  <a:cubicBezTo>
                    <a:pt x="128" y="21"/>
                    <a:pt x="128" y="21"/>
                    <a:pt x="128" y="21"/>
                  </a:cubicBezTo>
                  <a:cubicBezTo>
                    <a:pt x="136" y="21"/>
                    <a:pt x="136" y="21"/>
                    <a:pt x="136" y="21"/>
                  </a:cubicBezTo>
                  <a:cubicBezTo>
                    <a:pt x="136" y="53"/>
                    <a:pt x="136" y="53"/>
                    <a:pt x="136" y="53"/>
                  </a:cubicBezTo>
                  <a:cubicBezTo>
                    <a:pt x="136" y="53"/>
                    <a:pt x="136" y="53"/>
                    <a:pt x="136" y="53"/>
                  </a:cubicBezTo>
                  <a:cubicBezTo>
                    <a:pt x="137" y="52"/>
                    <a:pt x="137" y="52"/>
                    <a:pt x="138" y="51"/>
                  </a:cubicBezTo>
                  <a:cubicBezTo>
                    <a:pt x="163" y="21"/>
                    <a:pt x="163" y="21"/>
                    <a:pt x="163" y="21"/>
                  </a:cubicBezTo>
                  <a:cubicBezTo>
                    <a:pt x="173" y="21"/>
                    <a:pt x="173" y="21"/>
                    <a:pt x="173" y="21"/>
                  </a:cubicBezTo>
                  <a:cubicBezTo>
                    <a:pt x="144" y="54"/>
                    <a:pt x="144" y="54"/>
                    <a:pt x="144" y="54"/>
                  </a:cubicBezTo>
                  <a:lnTo>
                    <a:pt x="175" y="89"/>
                  </a:lnTo>
                  <a:close/>
                  <a:moveTo>
                    <a:pt x="233" y="62"/>
                  </a:moveTo>
                  <a:cubicBezTo>
                    <a:pt x="233" y="80"/>
                    <a:pt x="225" y="90"/>
                    <a:pt x="208" y="90"/>
                  </a:cubicBezTo>
                  <a:cubicBezTo>
                    <a:pt x="191" y="90"/>
                    <a:pt x="183" y="81"/>
                    <a:pt x="183" y="63"/>
                  </a:cubicBezTo>
                  <a:cubicBezTo>
                    <a:pt x="183" y="21"/>
                    <a:pt x="183" y="21"/>
                    <a:pt x="183" y="21"/>
                  </a:cubicBezTo>
                  <a:cubicBezTo>
                    <a:pt x="191" y="21"/>
                    <a:pt x="191" y="21"/>
                    <a:pt x="191" y="21"/>
                  </a:cubicBezTo>
                  <a:cubicBezTo>
                    <a:pt x="191" y="62"/>
                    <a:pt x="191" y="62"/>
                    <a:pt x="191" y="62"/>
                  </a:cubicBezTo>
                  <a:cubicBezTo>
                    <a:pt x="191" y="76"/>
                    <a:pt x="197" y="83"/>
                    <a:pt x="209" y="83"/>
                  </a:cubicBezTo>
                  <a:cubicBezTo>
                    <a:pt x="220" y="83"/>
                    <a:pt x="226" y="76"/>
                    <a:pt x="226" y="63"/>
                  </a:cubicBezTo>
                  <a:cubicBezTo>
                    <a:pt x="226" y="21"/>
                    <a:pt x="226" y="21"/>
                    <a:pt x="226" y="21"/>
                  </a:cubicBezTo>
                  <a:cubicBezTo>
                    <a:pt x="233" y="21"/>
                    <a:pt x="233" y="21"/>
                    <a:pt x="233" y="21"/>
                  </a:cubicBezTo>
                  <a:lnTo>
                    <a:pt x="233" y="62"/>
                  </a:lnTo>
                  <a:close/>
                  <a:moveTo>
                    <a:pt x="267" y="65"/>
                  </a:moveTo>
                  <a:cubicBezTo>
                    <a:pt x="267" y="73"/>
                    <a:pt x="266" y="79"/>
                    <a:pt x="262" y="83"/>
                  </a:cubicBezTo>
                  <a:cubicBezTo>
                    <a:pt x="259" y="88"/>
                    <a:pt x="255" y="90"/>
                    <a:pt x="249" y="90"/>
                  </a:cubicBezTo>
                  <a:cubicBezTo>
                    <a:pt x="246" y="90"/>
                    <a:pt x="244" y="90"/>
                    <a:pt x="242" y="89"/>
                  </a:cubicBezTo>
                  <a:cubicBezTo>
                    <a:pt x="242" y="81"/>
                    <a:pt x="242" y="81"/>
                    <a:pt x="242" y="81"/>
                  </a:cubicBezTo>
                  <a:cubicBezTo>
                    <a:pt x="244" y="82"/>
                    <a:pt x="246" y="83"/>
                    <a:pt x="249" y="83"/>
                  </a:cubicBezTo>
                  <a:cubicBezTo>
                    <a:pt x="256" y="83"/>
                    <a:pt x="260" y="77"/>
                    <a:pt x="260" y="65"/>
                  </a:cubicBezTo>
                  <a:cubicBezTo>
                    <a:pt x="260" y="21"/>
                    <a:pt x="260" y="21"/>
                    <a:pt x="260" y="21"/>
                  </a:cubicBezTo>
                  <a:cubicBezTo>
                    <a:pt x="267" y="21"/>
                    <a:pt x="267" y="21"/>
                    <a:pt x="267" y="21"/>
                  </a:cubicBezTo>
                  <a:lnTo>
                    <a:pt x="267" y="65"/>
                  </a:lnTo>
                  <a:close/>
                  <a:moveTo>
                    <a:pt x="320" y="89"/>
                  </a:moveTo>
                  <a:cubicBezTo>
                    <a:pt x="285" y="89"/>
                    <a:pt x="285" y="89"/>
                    <a:pt x="285" y="89"/>
                  </a:cubicBezTo>
                  <a:cubicBezTo>
                    <a:pt x="285" y="21"/>
                    <a:pt x="285" y="21"/>
                    <a:pt x="285" y="21"/>
                  </a:cubicBezTo>
                  <a:cubicBezTo>
                    <a:pt x="319" y="21"/>
                    <a:pt x="319" y="21"/>
                    <a:pt x="319" y="21"/>
                  </a:cubicBezTo>
                  <a:cubicBezTo>
                    <a:pt x="319" y="29"/>
                    <a:pt x="319" y="29"/>
                    <a:pt x="319" y="29"/>
                  </a:cubicBezTo>
                  <a:cubicBezTo>
                    <a:pt x="292" y="29"/>
                    <a:pt x="292" y="29"/>
                    <a:pt x="292" y="29"/>
                  </a:cubicBezTo>
                  <a:cubicBezTo>
                    <a:pt x="292" y="51"/>
                    <a:pt x="292" y="51"/>
                    <a:pt x="292" y="51"/>
                  </a:cubicBezTo>
                  <a:cubicBezTo>
                    <a:pt x="317" y="51"/>
                    <a:pt x="317" y="51"/>
                    <a:pt x="317" y="51"/>
                  </a:cubicBezTo>
                  <a:cubicBezTo>
                    <a:pt x="317" y="58"/>
                    <a:pt x="317" y="58"/>
                    <a:pt x="317" y="58"/>
                  </a:cubicBezTo>
                  <a:cubicBezTo>
                    <a:pt x="292" y="58"/>
                    <a:pt x="292" y="58"/>
                    <a:pt x="292" y="58"/>
                  </a:cubicBezTo>
                  <a:cubicBezTo>
                    <a:pt x="292" y="82"/>
                    <a:pt x="292" y="82"/>
                    <a:pt x="292" y="82"/>
                  </a:cubicBezTo>
                  <a:cubicBezTo>
                    <a:pt x="320" y="82"/>
                    <a:pt x="320" y="82"/>
                    <a:pt x="320" y="82"/>
                  </a:cubicBezTo>
                  <a:lnTo>
                    <a:pt x="320" y="89"/>
                  </a:lnTo>
                  <a:close/>
                  <a:moveTo>
                    <a:pt x="402" y="89"/>
                  </a:moveTo>
                  <a:cubicBezTo>
                    <a:pt x="394" y="89"/>
                    <a:pt x="394" y="89"/>
                    <a:pt x="394" y="89"/>
                  </a:cubicBezTo>
                  <a:cubicBezTo>
                    <a:pt x="394" y="44"/>
                    <a:pt x="394" y="44"/>
                    <a:pt x="394" y="44"/>
                  </a:cubicBezTo>
                  <a:cubicBezTo>
                    <a:pt x="394" y="40"/>
                    <a:pt x="394" y="36"/>
                    <a:pt x="395" y="31"/>
                  </a:cubicBezTo>
                  <a:cubicBezTo>
                    <a:pt x="395" y="31"/>
                    <a:pt x="395" y="31"/>
                    <a:pt x="395" y="31"/>
                  </a:cubicBezTo>
                  <a:cubicBezTo>
                    <a:pt x="394" y="34"/>
                    <a:pt x="393" y="36"/>
                    <a:pt x="393" y="37"/>
                  </a:cubicBezTo>
                  <a:cubicBezTo>
                    <a:pt x="370" y="89"/>
                    <a:pt x="370" y="89"/>
                    <a:pt x="370" y="89"/>
                  </a:cubicBezTo>
                  <a:cubicBezTo>
                    <a:pt x="366" y="89"/>
                    <a:pt x="366" y="89"/>
                    <a:pt x="366" y="89"/>
                  </a:cubicBezTo>
                  <a:cubicBezTo>
                    <a:pt x="343" y="37"/>
                    <a:pt x="343" y="37"/>
                    <a:pt x="343" y="37"/>
                  </a:cubicBezTo>
                  <a:cubicBezTo>
                    <a:pt x="342" y="36"/>
                    <a:pt x="341" y="34"/>
                    <a:pt x="341" y="31"/>
                  </a:cubicBezTo>
                  <a:cubicBezTo>
                    <a:pt x="341" y="31"/>
                    <a:pt x="341" y="31"/>
                    <a:pt x="341" y="31"/>
                  </a:cubicBezTo>
                  <a:cubicBezTo>
                    <a:pt x="341" y="33"/>
                    <a:pt x="341" y="38"/>
                    <a:pt x="341" y="44"/>
                  </a:cubicBezTo>
                  <a:cubicBezTo>
                    <a:pt x="341" y="89"/>
                    <a:pt x="341" y="89"/>
                    <a:pt x="341" y="89"/>
                  </a:cubicBezTo>
                  <a:cubicBezTo>
                    <a:pt x="333" y="89"/>
                    <a:pt x="333" y="89"/>
                    <a:pt x="333" y="89"/>
                  </a:cubicBezTo>
                  <a:cubicBezTo>
                    <a:pt x="333" y="21"/>
                    <a:pt x="333" y="21"/>
                    <a:pt x="333" y="21"/>
                  </a:cubicBezTo>
                  <a:cubicBezTo>
                    <a:pt x="344" y="21"/>
                    <a:pt x="344" y="21"/>
                    <a:pt x="344" y="21"/>
                  </a:cubicBezTo>
                  <a:cubicBezTo>
                    <a:pt x="364" y="68"/>
                    <a:pt x="364" y="68"/>
                    <a:pt x="364" y="68"/>
                  </a:cubicBezTo>
                  <a:cubicBezTo>
                    <a:pt x="366" y="72"/>
                    <a:pt x="367" y="75"/>
                    <a:pt x="368" y="77"/>
                  </a:cubicBezTo>
                  <a:cubicBezTo>
                    <a:pt x="368" y="77"/>
                    <a:pt x="368" y="77"/>
                    <a:pt x="368" y="77"/>
                  </a:cubicBezTo>
                  <a:cubicBezTo>
                    <a:pt x="369" y="73"/>
                    <a:pt x="370" y="70"/>
                    <a:pt x="371" y="68"/>
                  </a:cubicBezTo>
                  <a:cubicBezTo>
                    <a:pt x="392" y="21"/>
                    <a:pt x="392" y="21"/>
                    <a:pt x="392" y="21"/>
                  </a:cubicBezTo>
                  <a:cubicBezTo>
                    <a:pt x="402" y="21"/>
                    <a:pt x="402" y="21"/>
                    <a:pt x="402" y="21"/>
                  </a:cubicBezTo>
                  <a:lnTo>
                    <a:pt x="402" y="89"/>
                  </a:ln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2" name="Freeform 246">
              <a:extLst>
                <a:ext uri="{FF2B5EF4-FFF2-40B4-BE49-F238E27FC236}">
                  <a16:creationId xmlns:a16="http://schemas.microsoft.com/office/drawing/2014/main" id="{239B1569-5F91-8689-5196-AF940C6AB57C}"/>
                </a:ext>
                <a:ext uri="{C183D7F6-B498-43B3-948B-1728B52AA6E4}">
                  <adec:decorative xmlns:adec="http://schemas.microsoft.com/office/drawing/2017/decorative" val="1"/>
                </a:ext>
              </a:extLst>
            </p:cNvPr>
            <p:cNvSpPr>
              <a:spLocks noEditPoints="1"/>
            </p:cNvSpPr>
            <p:nvPr/>
          </p:nvSpPr>
          <p:spPr bwMode="auto">
            <a:xfrm>
              <a:off x="3075086" y="1112496"/>
              <a:ext cx="1685408" cy="431404"/>
            </a:xfrm>
            <a:custGeom>
              <a:avLst/>
              <a:gdLst>
                <a:gd name="T0" fmla="*/ 216 w 461"/>
                <a:gd name="T1" fmla="*/ 107 h 118"/>
                <a:gd name="T2" fmla="*/ 219 w 461"/>
                <a:gd name="T3" fmla="*/ 97 h 118"/>
                <a:gd name="T4" fmla="*/ 208 w 461"/>
                <a:gd name="T5" fmla="*/ 103 h 118"/>
                <a:gd name="T6" fmla="*/ 390 w 461"/>
                <a:gd name="T7" fmla="*/ 71 h 118"/>
                <a:gd name="T8" fmla="*/ 395 w 461"/>
                <a:gd name="T9" fmla="*/ 46 h 118"/>
                <a:gd name="T10" fmla="*/ 406 w 461"/>
                <a:gd name="T11" fmla="*/ 50 h 118"/>
                <a:gd name="T12" fmla="*/ 382 w 461"/>
                <a:gd name="T13" fmla="*/ 82 h 118"/>
                <a:gd name="T14" fmla="*/ 306 w 461"/>
                <a:gd name="T15" fmla="*/ 72 h 118"/>
                <a:gd name="T16" fmla="*/ 296 w 461"/>
                <a:gd name="T17" fmla="*/ 31 h 118"/>
                <a:gd name="T18" fmla="*/ 272 w 461"/>
                <a:gd name="T19" fmla="*/ 44 h 118"/>
                <a:gd name="T20" fmla="*/ 234 w 461"/>
                <a:gd name="T21" fmla="*/ 53 h 118"/>
                <a:gd name="T22" fmla="*/ 251 w 461"/>
                <a:gd name="T23" fmla="*/ 83 h 118"/>
                <a:gd name="T24" fmla="*/ 237 w 461"/>
                <a:gd name="T25" fmla="*/ 40 h 118"/>
                <a:gd name="T26" fmla="*/ 272 w 461"/>
                <a:gd name="T27" fmla="*/ 87 h 118"/>
                <a:gd name="T28" fmla="*/ 306 w 461"/>
                <a:gd name="T29" fmla="*/ 72 h 118"/>
                <a:gd name="T30" fmla="*/ 246 w 461"/>
                <a:gd name="T31" fmla="*/ 82 h 118"/>
                <a:gd name="T32" fmla="*/ 295 w 461"/>
                <a:gd name="T33" fmla="*/ 72 h 118"/>
                <a:gd name="T34" fmla="*/ 98 w 461"/>
                <a:gd name="T35" fmla="*/ 48 h 118"/>
                <a:gd name="T36" fmla="*/ 61 w 461"/>
                <a:gd name="T37" fmla="*/ 57 h 118"/>
                <a:gd name="T38" fmla="*/ 93 w 461"/>
                <a:gd name="T39" fmla="*/ 82 h 118"/>
                <a:gd name="T40" fmla="*/ 83 w 461"/>
                <a:gd name="T41" fmla="*/ 51 h 118"/>
                <a:gd name="T42" fmla="*/ 65 w 461"/>
                <a:gd name="T43" fmla="*/ 87 h 118"/>
                <a:gd name="T44" fmla="*/ 77 w 461"/>
                <a:gd name="T45" fmla="*/ 51 h 118"/>
                <a:gd name="T46" fmla="*/ 77 w 461"/>
                <a:gd name="T47" fmla="*/ 51 h 118"/>
                <a:gd name="T48" fmla="*/ 316 w 461"/>
                <a:gd name="T49" fmla="*/ 55 h 118"/>
                <a:gd name="T50" fmla="*/ 331 w 461"/>
                <a:gd name="T51" fmla="*/ 59 h 118"/>
                <a:gd name="T52" fmla="*/ 326 w 461"/>
                <a:gd name="T53" fmla="*/ 60 h 118"/>
                <a:gd name="T54" fmla="*/ 353 w 461"/>
                <a:gd name="T55" fmla="*/ 46 h 118"/>
                <a:gd name="T56" fmla="*/ 359 w 461"/>
                <a:gd name="T57" fmla="*/ 47 h 118"/>
                <a:gd name="T58" fmla="*/ 341 w 461"/>
                <a:gd name="T59" fmla="*/ 57 h 118"/>
                <a:gd name="T60" fmla="*/ 174 w 461"/>
                <a:gd name="T61" fmla="*/ 55 h 118"/>
                <a:gd name="T62" fmla="*/ 189 w 461"/>
                <a:gd name="T63" fmla="*/ 59 h 118"/>
                <a:gd name="T64" fmla="*/ 185 w 461"/>
                <a:gd name="T65" fmla="*/ 60 h 118"/>
                <a:gd name="T66" fmla="*/ 211 w 461"/>
                <a:gd name="T67" fmla="*/ 46 h 118"/>
                <a:gd name="T68" fmla="*/ 217 w 461"/>
                <a:gd name="T69" fmla="*/ 47 h 118"/>
                <a:gd name="T70" fmla="*/ 199 w 461"/>
                <a:gd name="T71" fmla="*/ 57 h 118"/>
                <a:gd name="T72" fmla="*/ 28 w 461"/>
                <a:gd name="T73" fmla="*/ 82 h 118"/>
                <a:gd name="T74" fmla="*/ 3 w 461"/>
                <a:gd name="T75" fmla="*/ 48 h 118"/>
                <a:gd name="T76" fmla="*/ 13 w 461"/>
                <a:gd name="T77" fmla="*/ 37 h 118"/>
                <a:gd name="T78" fmla="*/ 23 w 461"/>
                <a:gd name="T79" fmla="*/ 82 h 118"/>
                <a:gd name="T80" fmla="*/ 45 w 461"/>
                <a:gd name="T81" fmla="*/ 87 h 118"/>
                <a:gd name="T82" fmla="*/ 15 w 461"/>
                <a:gd name="T83" fmla="*/ 42 h 118"/>
                <a:gd name="T84" fmla="*/ 456 w 461"/>
                <a:gd name="T85" fmla="*/ 31 h 118"/>
                <a:gd name="T86" fmla="*/ 429 w 461"/>
                <a:gd name="T87" fmla="*/ 59 h 118"/>
                <a:gd name="T88" fmla="*/ 423 w 461"/>
                <a:gd name="T89" fmla="*/ 82 h 118"/>
                <a:gd name="T90" fmla="*/ 461 w 461"/>
                <a:gd name="T91" fmla="*/ 87 h 118"/>
                <a:gd name="T92" fmla="*/ 423 w 461"/>
                <a:gd name="T93" fmla="*/ 43 h 118"/>
                <a:gd name="T94" fmla="*/ 154 w 461"/>
                <a:gd name="T95" fmla="*/ 31 h 118"/>
                <a:gd name="T96" fmla="*/ 127 w 461"/>
                <a:gd name="T97" fmla="*/ 59 h 118"/>
                <a:gd name="T98" fmla="*/ 122 w 461"/>
                <a:gd name="T99" fmla="*/ 82 h 118"/>
                <a:gd name="T100" fmla="*/ 160 w 461"/>
                <a:gd name="T101" fmla="*/ 87 h 118"/>
                <a:gd name="T102" fmla="*/ 121 w 461"/>
                <a:gd name="T103" fmla="*/ 43 h 118"/>
                <a:gd name="T104" fmla="*/ 412 w 461"/>
                <a:gd name="T105" fmla="*/ 2 h 118"/>
                <a:gd name="T106" fmla="*/ 374 w 461"/>
                <a:gd name="T107" fmla="*/ 15 h 118"/>
                <a:gd name="T108" fmla="*/ 412 w 461"/>
                <a:gd name="T109" fmla="*/ 2 h 118"/>
                <a:gd name="T110" fmla="*/ 379 w 461"/>
                <a:gd name="T111"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1" h="118">
                  <a:moveTo>
                    <a:pt x="219" y="97"/>
                  </a:moveTo>
                  <a:cubicBezTo>
                    <a:pt x="218" y="94"/>
                    <a:pt x="213" y="91"/>
                    <a:pt x="208" y="92"/>
                  </a:cubicBezTo>
                  <a:cubicBezTo>
                    <a:pt x="197" y="96"/>
                    <a:pt x="205" y="114"/>
                    <a:pt x="216" y="107"/>
                  </a:cubicBezTo>
                  <a:cubicBezTo>
                    <a:pt x="214" y="109"/>
                    <a:pt x="215" y="114"/>
                    <a:pt x="214" y="118"/>
                  </a:cubicBezTo>
                  <a:cubicBezTo>
                    <a:pt x="216" y="118"/>
                    <a:pt x="218" y="118"/>
                    <a:pt x="220" y="117"/>
                  </a:cubicBezTo>
                  <a:cubicBezTo>
                    <a:pt x="219" y="111"/>
                    <a:pt x="221" y="103"/>
                    <a:pt x="219" y="97"/>
                  </a:cubicBezTo>
                  <a:close/>
                  <a:moveTo>
                    <a:pt x="208" y="103"/>
                  </a:moveTo>
                  <a:cubicBezTo>
                    <a:pt x="206" y="99"/>
                    <a:pt x="209" y="95"/>
                    <a:pt x="214" y="97"/>
                  </a:cubicBezTo>
                  <a:cubicBezTo>
                    <a:pt x="218" y="101"/>
                    <a:pt x="212" y="107"/>
                    <a:pt x="208" y="103"/>
                  </a:cubicBezTo>
                  <a:close/>
                  <a:moveTo>
                    <a:pt x="371" y="51"/>
                  </a:moveTo>
                  <a:cubicBezTo>
                    <a:pt x="377" y="51"/>
                    <a:pt x="384" y="50"/>
                    <a:pt x="390" y="51"/>
                  </a:cubicBezTo>
                  <a:cubicBezTo>
                    <a:pt x="390" y="71"/>
                    <a:pt x="390" y="71"/>
                    <a:pt x="390" y="71"/>
                  </a:cubicBezTo>
                  <a:cubicBezTo>
                    <a:pt x="380" y="65"/>
                    <a:pt x="372" y="78"/>
                    <a:pt x="378" y="85"/>
                  </a:cubicBezTo>
                  <a:cubicBezTo>
                    <a:pt x="383" y="91"/>
                    <a:pt x="394" y="88"/>
                    <a:pt x="395" y="81"/>
                  </a:cubicBezTo>
                  <a:cubicBezTo>
                    <a:pt x="396" y="71"/>
                    <a:pt x="394" y="55"/>
                    <a:pt x="395" y="46"/>
                  </a:cubicBezTo>
                  <a:cubicBezTo>
                    <a:pt x="389" y="45"/>
                    <a:pt x="381" y="45"/>
                    <a:pt x="376" y="46"/>
                  </a:cubicBezTo>
                  <a:cubicBezTo>
                    <a:pt x="376" y="31"/>
                    <a:pt x="403" y="33"/>
                    <a:pt x="401" y="50"/>
                  </a:cubicBezTo>
                  <a:cubicBezTo>
                    <a:pt x="406" y="50"/>
                    <a:pt x="406" y="50"/>
                    <a:pt x="406" y="50"/>
                  </a:cubicBezTo>
                  <a:cubicBezTo>
                    <a:pt x="408" y="24"/>
                    <a:pt x="367" y="26"/>
                    <a:pt x="371" y="51"/>
                  </a:cubicBezTo>
                  <a:close/>
                  <a:moveTo>
                    <a:pt x="389" y="82"/>
                  </a:moveTo>
                  <a:cubicBezTo>
                    <a:pt x="387" y="83"/>
                    <a:pt x="384" y="83"/>
                    <a:pt x="382" y="82"/>
                  </a:cubicBezTo>
                  <a:cubicBezTo>
                    <a:pt x="380" y="78"/>
                    <a:pt x="383" y="73"/>
                    <a:pt x="388" y="75"/>
                  </a:cubicBezTo>
                  <a:cubicBezTo>
                    <a:pt x="390" y="77"/>
                    <a:pt x="390" y="81"/>
                    <a:pt x="389" y="82"/>
                  </a:cubicBezTo>
                  <a:close/>
                  <a:moveTo>
                    <a:pt x="306" y="72"/>
                  </a:moveTo>
                  <a:cubicBezTo>
                    <a:pt x="305" y="70"/>
                    <a:pt x="303" y="70"/>
                    <a:pt x="301" y="67"/>
                  </a:cubicBezTo>
                  <a:cubicBezTo>
                    <a:pt x="301" y="31"/>
                    <a:pt x="301" y="31"/>
                    <a:pt x="301" y="31"/>
                  </a:cubicBezTo>
                  <a:cubicBezTo>
                    <a:pt x="296" y="31"/>
                    <a:pt x="296" y="31"/>
                    <a:pt x="296" y="31"/>
                  </a:cubicBezTo>
                  <a:cubicBezTo>
                    <a:pt x="296" y="67"/>
                    <a:pt x="296" y="67"/>
                    <a:pt x="296" y="67"/>
                  </a:cubicBezTo>
                  <a:cubicBezTo>
                    <a:pt x="285" y="69"/>
                    <a:pt x="279" y="75"/>
                    <a:pt x="272" y="80"/>
                  </a:cubicBezTo>
                  <a:cubicBezTo>
                    <a:pt x="271" y="68"/>
                    <a:pt x="274" y="55"/>
                    <a:pt x="272" y="44"/>
                  </a:cubicBezTo>
                  <a:cubicBezTo>
                    <a:pt x="270" y="25"/>
                    <a:pt x="235" y="29"/>
                    <a:pt x="229" y="42"/>
                  </a:cubicBezTo>
                  <a:cubicBezTo>
                    <a:pt x="233" y="43"/>
                    <a:pt x="237" y="43"/>
                    <a:pt x="240" y="46"/>
                  </a:cubicBezTo>
                  <a:cubicBezTo>
                    <a:pt x="236" y="47"/>
                    <a:pt x="234" y="49"/>
                    <a:pt x="234" y="53"/>
                  </a:cubicBezTo>
                  <a:cubicBezTo>
                    <a:pt x="233" y="59"/>
                    <a:pt x="233" y="72"/>
                    <a:pt x="234" y="79"/>
                  </a:cubicBezTo>
                  <a:cubicBezTo>
                    <a:pt x="234" y="80"/>
                    <a:pt x="234" y="82"/>
                    <a:pt x="234" y="83"/>
                  </a:cubicBezTo>
                  <a:cubicBezTo>
                    <a:pt x="237" y="90"/>
                    <a:pt x="249" y="89"/>
                    <a:pt x="251" y="83"/>
                  </a:cubicBezTo>
                  <a:cubicBezTo>
                    <a:pt x="254" y="75"/>
                    <a:pt x="246" y="67"/>
                    <a:pt x="239" y="71"/>
                  </a:cubicBezTo>
                  <a:cubicBezTo>
                    <a:pt x="238" y="58"/>
                    <a:pt x="238" y="47"/>
                    <a:pt x="248" y="46"/>
                  </a:cubicBezTo>
                  <a:cubicBezTo>
                    <a:pt x="245" y="43"/>
                    <a:pt x="241" y="42"/>
                    <a:pt x="237" y="40"/>
                  </a:cubicBezTo>
                  <a:cubicBezTo>
                    <a:pt x="245" y="33"/>
                    <a:pt x="265" y="34"/>
                    <a:pt x="267" y="45"/>
                  </a:cubicBezTo>
                  <a:cubicBezTo>
                    <a:pt x="269" y="57"/>
                    <a:pt x="266" y="74"/>
                    <a:pt x="267" y="87"/>
                  </a:cubicBezTo>
                  <a:cubicBezTo>
                    <a:pt x="272" y="87"/>
                    <a:pt x="272" y="87"/>
                    <a:pt x="272" y="87"/>
                  </a:cubicBezTo>
                  <a:cubicBezTo>
                    <a:pt x="276" y="83"/>
                    <a:pt x="282" y="78"/>
                    <a:pt x="287" y="75"/>
                  </a:cubicBezTo>
                  <a:cubicBezTo>
                    <a:pt x="286" y="79"/>
                    <a:pt x="287" y="83"/>
                    <a:pt x="289" y="85"/>
                  </a:cubicBezTo>
                  <a:cubicBezTo>
                    <a:pt x="297" y="94"/>
                    <a:pt x="312" y="83"/>
                    <a:pt x="306" y="72"/>
                  </a:cubicBezTo>
                  <a:close/>
                  <a:moveTo>
                    <a:pt x="239" y="76"/>
                  </a:moveTo>
                  <a:cubicBezTo>
                    <a:pt x="240" y="75"/>
                    <a:pt x="242" y="74"/>
                    <a:pt x="245" y="75"/>
                  </a:cubicBezTo>
                  <a:cubicBezTo>
                    <a:pt x="247" y="76"/>
                    <a:pt x="247" y="81"/>
                    <a:pt x="246" y="82"/>
                  </a:cubicBezTo>
                  <a:cubicBezTo>
                    <a:pt x="242" y="86"/>
                    <a:pt x="236" y="80"/>
                    <a:pt x="239" y="76"/>
                  </a:cubicBezTo>
                  <a:close/>
                  <a:moveTo>
                    <a:pt x="301" y="82"/>
                  </a:moveTo>
                  <a:cubicBezTo>
                    <a:pt x="294" y="88"/>
                    <a:pt x="286" y="74"/>
                    <a:pt x="295" y="72"/>
                  </a:cubicBezTo>
                  <a:cubicBezTo>
                    <a:pt x="297" y="72"/>
                    <a:pt x="299" y="72"/>
                    <a:pt x="301" y="72"/>
                  </a:cubicBezTo>
                  <a:cubicBezTo>
                    <a:pt x="303" y="74"/>
                    <a:pt x="303" y="80"/>
                    <a:pt x="301" y="82"/>
                  </a:cubicBezTo>
                  <a:close/>
                  <a:moveTo>
                    <a:pt x="98" y="48"/>
                  </a:moveTo>
                  <a:cubicBezTo>
                    <a:pt x="97" y="37"/>
                    <a:pt x="87" y="30"/>
                    <a:pt x="75" y="31"/>
                  </a:cubicBezTo>
                  <a:cubicBezTo>
                    <a:pt x="62" y="32"/>
                    <a:pt x="55" y="42"/>
                    <a:pt x="55" y="58"/>
                  </a:cubicBezTo>
                  <a:cubicBezTo>
                    <a:pt x="57" y="58"/>
                    <a:pt x="60" y="58"/>
                    <a:pt x="61" y="57"/>
                  </a:cubicBezTo>
                  <a:cubicBezTo>
                    <a:pt x="60" y="46"/>
                    <a:pt x="64" y="40"/>
                    <a:pt x="71" y="37"/>
                  </a:cubicBezTo>
                  <a:cubicBezTo>
                    <a:pt x="81" y="33"/>
                    <a:pt x="91" y="39"/>
                    <a:pt x="93" y="47"/>
                  </a:cubicBezTo>
                  <a:cubicBezTo>
                    <a:pt x="95" y="57"/>
                    <a:pt x="92" y="71"/>
                    <a:pt x="93" y="82"/>
                  </a:cubicBezTo>
                  <a:cubicBezTo>
                    <a:pt x="86" y="82"/>
                    <a:pt x="78" y="83"/>
                    <a:pt x="71" y="82"/>
                  </a:cubicBezTo>
                  <a:cubicBezTo>
                    <a:pt x="71" y="63"/>
                    <a:pt x="71" y="63"/>
                    <a:pt x="71" y="63"/>
                  </a:cubicBezTo>
                  <a:cubicBezTo>
                    <a:pt x="78" y="67"/>
                    <a:pt x="86" y="60"/>
                    <a:pt x="83" y="51"/>
                  </a:cubicBezTo>
                  <a:cubicBezTo>
                    <a:pt x="81" y="44"/>
                    <a:pt x="69" y="43"/>
                    <a:pt x="66" y="51"/>
                  </a:cubicBezTo>
                  <a:cubicBezTo>
                    <a:pt x="64" y="55"/>
                    <a:pt x="65" y="63"/>
                    <a:pt x="65" y="69"/>
                  </a:cubicBezTo>
                  <a:cubicBezTo>
                    <a:pt x="65" y="87"/>
                    <a:pt x="65" y="87"/>
                    <a:pt x="65" y="87"/>
                  </a:cubicBezTo>
                  <a:cubicBezTo>
                    <a:pt x="98" y="87"/>
                    <a:pt x="98" y="87"/>
                    <a:pt x="98" y="87"/>
                  </a:cubicBezTo>
                  <a:cubicBezTo>
                    <a:pt x="98" y="74"/>
                    <a:pt x="100" y="59"/>
                    <a:pt x="98" y="48"/>
                  </a:cubicBezTo>
                  <a:close/>
                  <a:moveTo>
                    <a:pt x="77" y="51"/>
                  </a:moveTo>
                  <a:cubicBezTo>
                    <a:pt x="79" y="52"/>
                    <a:pt x="79" y="55"/>
                    <a:pt x="78" y="57"/>
                  </a:cubicBezTo>
                  <a:cubicBezTo>
                    <a:pt x="78" y="58"/>
                    <a:pt x="78" y="58"/>
                    <a:pt x="77" y="58"/>
                  </a:cubicBezTo>
                  <a:cubicBezTo>
                    <a:pt x="69" y="63"/>
                    <a:pt x="68" y="46"/>
                    <a:pt x="77" y="51"/>
                  </a:cubicBezTo>
                  <a:close/>
                  <a:moveTo>
                    <a:pt x="359" y="47"/>
                  </a:moveTo>
                  <a:cubicBezTo>
                    <a:pt x="357" y="37"/>
                    <a:pt x="348" y="30"/>
                    <a:pt x="335" y="31"/>
                  </a:cubicBezTo>
                  <a:cubicBezTo>
                    <a:pt x="323" y="32"/>
                    <a:pt x="317" y="43"/>
                    <a:pt x="316" y="55"/>
                  </a:cubicBezTo>
                  <a:cubicBezTo>
                    <a:pt x="316" y="64"/>
                    <a:pt x="317" y="76"/>
                    <a:pt x="316" y="87"/>
                  </a:cubicBezTo>
                  <a:cubicBezTo>
                    <a:pt x="322" y="87"/>
                    <a:pt x="322" y="87"/>
                    <a:pt x="322" y="87"/>
                  </a:cubicBezTo>
                  <a:cubicBezTo>
                    <a:pt x="325" y="78"/>
                    <a:pt x="329" y="69"/>
                    <a:pt x="331" y="59"/>
                  </a:cubicBezTo>
                  <a:cubicBezTo>
                    <a:pt x="333" y="61"/>
                    <a:pt x="336" y="63"/>
                    <a:pt x="339" y="62"/>
                  </a:cubicBezTo>
                  <a:cubicBezTo>
                    <a:pt x="355" y="60"/>
                    <a:pt x="345" y="36"/>
                    <a:pt x="332" y="45"/>
                  </a:cubicBezTo>
                  <a:cubicBezTo>
                    <a:pt x="329" y="48"/>
                    <a:pt x="328" y="54"/>
                    <a:pt x="326" y="60"/>
                  </a:cubicBezTo>
                  <a:cubicBezTo>
                    <a:pt x="325" y="65"/>
                    <a:pt x="323" y="70"/>
                    <a:pt x="321" y="75"/>
                  </a:cubicBezTo>
                  <a:cubicBezTo>
                    <a:pt x="321" y="60"/>
                    <a:pt x="320" y="46"/>
                    <a:pt x="327" y="39"/>
                  </a:cubicBezTo>
                  <a:cubicBezTo>
                    <a:pt x="336" y="32"/>
                    <a:pt x="350" y="37"/>
                    <a:pt x="353" y="46"/>
                  </a:cubicBezTo>
                  <a:cubicBezTo>
                    <a:pt x="356" y="57"/>
                    <a:pt x="352" y="74"/>
                    <a:pt x="354" y="87"/>
                  </a:cubicBezTo>
                  <a:cubicBezTo>
                    <a:pt x="359" y="87"/>
                    <a:pt x="359" y="87"/>
                    <a:pt x="359" y="87"/>
                  </a:cubicBezTo>
                  <a:cubicBezTo>
                    <a:pt x="358" y="74"/>
                    <a:pt x="360" y="60"/>
                    <a:pt x="359" y="47"/>
                  </a:cubicBezTo>
                  <a:close/>
                  <a:moveTo>
                    <a:pt x="341" y="57"/>
                  </a:moveTo>
                  <a:cubicBezTo>
                    <a:pt x="339" y="57"/>
                    <a:pt x="336" y="57"/>
                    <a:pt x="335" y="57"/>
                  </a:cubicBezTo>
                  <a:cubicBezTo>
                    <a:pt x="328" y="45"/>
                    <a:pt x="349" y="48"/>
                    <a:pt x="341" y="57"/>
                  </a:cubicBezTo>
                  <a:close/>
                  <a:moveTo>
                    <a:pt x="217" y="47"/>
                  </a:moveTo>
                  <a:cubicBezTo>
                    <a:pt x="215" y="37"/>
                    <a:pt x="206" y="30"/>
                    <a:pt x="193" y="31"/>
                  </a:cubicBezTo>
                  <a:cubicBezTo>
                    <a:pt x="181" y="32"/>
                    <a:pt x="175" y="43"/>
                    <a:pt x="174" y="55"/>
                  </a:cubicBezTo>
                  <a:cubicBezTo>
                    <a:pt x="174" y="64"/>
                    <a:pt x="175" y="76"/>
                    <a:pt x="174" y="87"/>
                  </a:cubicBezTo>
                  <a:cubicBezTo>
                    <a:pt x="180" y="87"/>
                    <a:pt x="180" y="87"/>
                    <a:pt x="180" y="87"/>
                  </a:cubicBezTo>
                  <a:cubicBezTo>
                    <a:pt x="183" y="78"/>
                    <a:pt x="187" y="69"/>
                    <a:pt x="189" y="59"/>
                  </a:cubicBezTo>
                  <a:cubicBezTo>
                    <a:pt x="191" y="61"/>
                    <a:pt x="194" y="63"/>
                    <a:pt x="197" y="62"/>
                  </a:cubicBezTo>
                  <a:cubicBezTo>
                    <a:pt x="213" y="60"/>
                    <a:pt x="203" y="36"/>
                    <a:pt x="191" y="45"/>
                  </a:cubicBezTo>
                  <a:cubicBezTo>
                    <a:pt x="187" y="48"/>
                    <a:pt x="186" y="54"/>
                    <a:pt x="185" y="60"/>
                  </a:cubicBezTo>
                  <a:cubicBezTo>
                    <a:pt x="183" y="65"/>
                    <a:pt x="181" y="70"/>
                    <a:pt x="179" y="75"/>
                  </a:cubicBezTo>
                  <a:cubicBezTo>
                    <a:pt x="179" y="60"/>
                    <a:pt x="178" y="46"/>
                    <a:pt x="185" y="39"/>
                  </a:cubicBezTo>
                  <a:cubicBezTo>
                    <a:pt x="194" y="32"/>
                    <a:pt x="208" y="37"/>
                    <a:pt x="211" y="46"/>
                  </a:cubicBezTo>
                  <a:cubicBezTo>
                    <a:pt x="214" y="57"/>
                    <a:pt x="210" y="74"/>
                    <a:pt x="212" y="87"/>
                  </a:cubicBezTo>
                  <a:cubicBezTo>
                    <a:pt x="217" y="87"/>
                    <a:pt x="217" y="87"/>
                    <a:pt x="217" y="87"/>
                  </a:cubicBezTo>
                  <a:cubicBezTo>
                    <a:pt x="216" y="74"/>
                    <a:pt x="218" y="60"/>
                    <a:pt x="217" y="47"/>
                  </a:cubicBezTo>
                  <a:close/>
                  <a:moveTo>
                    <a:pt x="199" y="57"/>
                  </a:moveTo>
                  <a:cubicBezTo>
                    <a:pt x="197" y="57"/>
                    <a:pt x="195" y="57"/>
                    <a:pt x="193" y="57"/>
                  </a:cubicBezTo>
                  <a:cubicBezTo>
                    <a:pt x="186" y="45"/>
                    <a:pt x="207" y="48"/>
                    <a:pt x="199" y="57"/>
                  </a:cubicBezTo>
                  <a:close/>
                  <a:moveTo>
                    <a:pt x="39" y="32"/>
                  </a:moveTo>
                  <a:cubicBezTo>
                    <a:pt x="39" y="48"/>
                    <a:pt x="40" y="66"/>
                    <a:pt x="39" y="82"/>
                  </a:cubicBezTo>
                  <a:cubicBezTo>
                    <a:pt x="36" y="82"/>
                    <a:pt x="31" y="83"/>
                    <a:pt x="28" y="82"/>
                  </a:cubicBezTo>
                  <a:cubicBezTo>
                    <a:pt x="29" y="72"/>
                    <a:pt x="27" y="64"/>
                    <a:pt x="28" y="56"/>
                  </a:cubicBezTo>
                  <a:cubicBezTo>
                    <a:pt x="29" y="51"/>
                    <a:pt x="33" y="48"/>
                    <a:pt x="33" y="42"/>
                  </a:cubicBezTo>
                  <a:cubicBezTo>
                    <a:pt x="33" y="25"/>
                    <a:pt x="0" y="28"/>
                    <a:pt x="3" y="48"/>
                  </a:cubicBezTo>
                  <a:cubicBezTo>
                    <a:pt x="4" y="51"/>
                    <a:pt x="6" y="54"/>
                    <a:pt x="8" y="55"/>
                  </a:cubicBezTo>
                  <a:cubicBezTo>
                    <a:pt x="16" y="59"/>
                    <a:pt x="26" y="48"/>
                    <a:pt x="20" y="41"/>
                  </a:cubicBezTo>
                  <a:cubicBezTo>
                    <a:pt x="18" y="39"/>
                    <a:pt x="16" y="38"/>
                    <a:pt x="13" y="37"/>
                  </a:cubicBezTo>
                  <a:cubicBezTo>
                    <a:pt x="19" y="35"/>
                    <a:pt x="27" y="35"/>
                    <a:pt x="28" y="42"/>
                  </a:cubicBezTo>
                  <a:cubicBezTo>
                    <a:pt x="28" y="47"/>
                    <a:pt x="24" y="50"/>
                    <a:pt x="23" y="56"/>
                  </a:cubicBezTo>
                  <a:cubicBezTo>
                    <a:pt x="22" y="65"/>
                    <a:pt x="24" y="74"/>
                    <a:pt x="23" y="82"/>
                  </a:cubicBezTo>
                  <a:cubicBezTo>
                    <a:pt x="16" y="82"/>
                    <a:pt x="16" y="82"/>
                    <a:pt x="16" y="82"/>
                  </a:cubicBezTo>
                  <a:cubicBezTo>
                    <a:pt x="16" y="83"/>
                    <a:pt x="16" y="86"/>
                    <a:pt x="16" y="87"/>
                  </a:cubicBezTo>
                  <a:cubicBezTo>
                    <a:pt x="45" y="87"/>
                    <a:pt x="45" y="87"/>
                    <a:pt x="45" y="87"/>
                  </a:cubicBezTo>
                  <a:cubicBezTo>
                    <a:pt x="45" y="32"/>
                    <a:pt x="45" y="32"/>
                    <a:pt x="45" y="32"/>
                  </a:cubicBezTo>
                  <a:lnTo>
                    <a:pt x="39" y="32"/>
                  </a:lnTo>
                  <a:close/>
                  <a:moveTo>
                    <a:pt x="15" y="42"/>
                  </a:moveTo>
                  <a:cubicBezTo>
                    <a:pt x="20" y="46"/>
                    <a:pt x="14" y="53"/>
                    <a:pt x="9" y="50"/>
                  </a:cubicBezTo>
                  <a:cubicBezTo>
                    <a:pt x="6" y="47"/>
                    <a:pt x="9" y="39"/>
                    <a:pt x="15" y="42"/>
                  </a:cubicBezTo>
                  <a:close/>
                  <a:moveTo>
                    <a:pt x="456" y="31"/>
                  </a:moveTo>
                  <a:cubicBezTo>
                    <a:pt x="456" y="82"/>
                    <a:pt x="456" y="82"/>
                    <a:pt x="456" y="82"/>
                  </a:cubicBezTo>
                  <a:cubicBezTo>
                    <a:pt x="429" y="82"/>
                    <a:pt x="429" y="82"/>
                    <a:pt x="429" y="82"/>
                  </a:cubicBezTo>
                  <a:cubicBezTo>
                    <a:pt x="429" y="59"/>
                    <a:pt x="429" y="59"/>
                    <a:pt x="429" y="59"/>
                  </a:cubicBezTo>
                  <a:cubicBezTo>
                    <a:pt x="429" y="46"/>
                    <a:pt x="432" y="29"/>
                    <a:pt x="418" y="31"/>
                  </a:cubicBezTo>
                  <a:cubicBezTo>
                    <a:pt x="406" y="32"/>
                    <a:pt x="409" y="54"/>
                    <a:pt x="423" y="49"/>
                  </a:cubicBezTo>
                  <a:cubicBezTo>
                    <a:pt x="423" y="82"/>
                    <a:pt x="423" y="82"/>
                    <a:pt x="423" y="82"/>
                  </a:cubicBezTo>
                  <a:cubicBezTo>
                    <a:pt x="421" y="82"/>
                    <a:pt x="418" y="82"/>
                    <a:pt x="417" y="82"/>
                  </a:cubicBezTo>
                  <a:cubicBezTo>
                    <a:pt x="417" y="87"/>
                    <a:pt x="417" y="87"/>
                    <a:pt x="417" y="87"/>
                  </a:cubicBezTo>
                  <a:cubicBezTo>
                    <a:pt x="461" y="87"/>
                    <a:pt x="461" y="87"/>
                    <a:pt x="461" y="87"/>
                  </a:cubicBezTo>
                  <a:cubicBezTo>
                    <a:pt x="461" y="31"/>
                    <a:pt x="461" y="31"/>
                    <a:pt x="461" y="31"/>
                  </a:cubicBezTo>
                  <a:lnTo>
                    <a:pt x="456" y="31"/>
                  </a:lnTo>
                  <a:close/>
                  <a:moveTo>
                    <a:pt x="423" y="43"/>
                  </a:moveTo>
                  <a:cubicBezTo>
                    <a:pt x="419" y="46"/>
                    <a:pt x="413" y="43"/>
                    <a:pt x="416" y="37"/>
                  </a:cubicBezTo>
                  <a:cubicBezTo>
                    <a:pt x="420" y="33"/>
                    <a:pt x="427" y="38"/>
                    <a:pt x="423" y="43"/>
                  </a:cubicBezTo>
                  <a:close/>
                  <a:moveTo>
                    <a:pt x="154" y="31"/>
                  </a:moveTo>
                  <a:cubicBezTo>
                    <a:pt x="154" y="82"/>
                    <a:pt x="154" y="82"/>
                    <a:pt x="154" y="82"/>
                  </a:cubicBezTo>
                  <a:cubicBezTo>
                    <a:pt x="127" y="82"/>
                    <a:pt x="127" y="82"/>
                    <a:pt x="127" y="82"/>
                  </a:cubicBezTo>
                  <a:cubicBezTo>
                    <a:pt x="127" y="59"/>
                    <a:pt x="127" y="59"/>
                    <a:pt x="127" y="59"/>
                  </a:cubicBezTo>
                  <a:cubicBezTo>
                    <a:pt x="127" y="46"/>
                    <a:pt x="130" y="29"/>
                    <a:pt x="116" y="31"/>
                  </a:cubicBezTo>
                  <a:cubicBezTo>
                    <a:pt x="104" y="32"/>
                    <a:pt x="107" y="54"/>
                    <a:pt x="122" y="49"/>
                  </a:cubicBezTo>
                  <a:cubicBezTo>
                    <a:pt x="122" y="82"/>
                    <a:pt x="122" y="82"/>
                    <a:pt x="122" y="82"/>
                  </a:cubicBezTo>
                  <a:cubicBezTo>
                    <a:pt x="119" y="82"/>
                    <a:pt x="117" y="82"/>
                    <a:pt x="115" y="82"/>
                  </a:cubicBezTo>
                  <a:cubicBezTo>
                    <a:pt x="115" y="87"/>
                    <a:pt x="115" y="87"/>
                    <a:pt x="115" y="87"/>
                  </a:cubicBezTo>
                  <a:cubicBezTo>
                    <a:pt x="160" y="87"/>
                    <a:pt x="160" y="87"/>
                    <a:pt x="160" y="87"/>
                  </a:cubicBezTo>
                  <a:cubicBezTo>
                    <a:pt x="160" y="31"/>
                    <a:pt x="160" y="31"/>
                    <a:pt x="160" y="31"/>
                  </a:cubicBezTo>
                  <a:lnTo>
                    <a:pt x="154" y="31"/>
                  </a:lnTo>
                  <a:close/>
                  <a:moveTo>
                    <a:pt x="121" y="43"/>
                  </a:moveTo>
                  <a:cubicBezTo>
                    <a:pt x="117" y="46"/>
                    <a:pt x="111" y="43"/>
                    <a:pt x="114" y="37"/>
                  </a:cubicBezTo>
                  <a:cubicBezTo>
                    <a:pt x="118" y="33"/>
                    <a:pt x="125" y="38"/>
                    <a:pt x="121" y="43"/>
                  </a:cubicBezTo>
                  <a:close/>
                  <a:moveTo>
                    <a:pt x="412" y="2"/>
                  </a:moveTo>
                  <a:cubicBezTo>
                    <a:pt x="407" y="10"/>
                    <a:pt x="399" y="15"/>
                    <a:pt x="389" y="18"/>
                  </a:cubicBezTo>
                  <a:cubicBezTo>
                    <a:pt x="391" y="16"/>
                    <a:pt x="391" y="16"/>
                    <a:pt x="391" y="14"/>
                  </a:cubicBezTo>
                  <a:cubicBezTo>
                    <a:pt x="393" y="0"/>
                    <a:pt x="372" y="2"/>
                    <a:pt x="374" y="15"/>
                  </a:cubicBezTo>
                  <a:cubicBezTo>
                    <a:pt x="375" y="21"/>
                    <a:pt x="383" y="23"/>
                    <a:pt x="390" y="22"/>
                  </a:cubicBezTo>
                  <a:cubicBezTo>
                    <a:pt x="402" y="21"/>
                    <a:pt x="410" y="12"/>
                    <a:pt x="416" y="5"/>
                  </a:cubicBezTo>
                  <a:cubicBezTo>
                    <a:pt x="414" y="4"/>
                    <a:pt x="413" y="3"/>
                    <a:pt x="412" y="2"/>
                  </a:cubicBezTo>
                  <a:close/>
                  <a:moveTo>
                    <a:pt x="379" y="15"/>
                  </a:moveTo>
                  <a:cubicBezTo>
                    <a:pt x="376" y="9"/>
                    <a:pt x="384" y="6"/>
                    <a:pt x="386" y="10"/>
                  </a:cubicBezTo>
                  <a:cubicBezTo>
                    <a:pt x="389" y="14"/>
                    <a:pt x="383" y="19"/>
                    <a:pt x="379" y="15"/>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5">
                    <a:lumMod val="75000"/>
                  </a:schemeClr>
                </a:solidFill>
                <a:effectLst/>
                <a:uLnTx/>
                <a:uFillTx/>
                <a:latin typeface="Segoe UI Semilight"/>
                <a:ea typeface="+mn-ea"/>
                <a:cs typeface="+mn-cs"/>
              </a:endParaRPr>
            </a:p>
          </p:txBody>
        </p:sp>
        <p:sp>
          <p:nvSpPr>
            <p:cNvPr id="13" name="Freeform 221">
              <a:extLst>
                <a:ext uri="{FF2B5EF4-FFF2-40B4-BE49-F238E27FC236}">
                  <a16:creationId xmlns:a16="http://schemas.microsoft.com/office/drawing/2014/main" id="{35A92087-3304-5287-54D8-CB16A6F55BDC}"/>
                </a:ext>
                <a:ext uri="{C183D7F6-B498-43B3-948B-1728B52AA6E4}">
                  <adec:decorative xmlns:adec="http://schemas.microsoft.com/office/drawing/2017/decorative" val="1"/>
                </a:ext>
              </a:extLst>
            </p:cNvPr>
            <p:cNvSpPr>
              <a:spLocks noEditPoints="1"/>
            </p:cNvSpPr>
            <p:nvPr/>
          </p:nvSpPr>
          <p:spPr bwMode="auto">
            <a:xfrm rot="16200000">
              <a:off x="9515227" y="2892332"/>
              <a:ext cx="217852" cy="978802"/>
            </a:xfrm>
            <a:custGeom>
              <a:avLst/>
              <a:gdLst>
                <a:gd name="T0" fmla="*/ 0 w 120"/>
                <a:gd name="T1" fmla="*/ 58 h 539"/>
                <a:gd name="T2" fmla="*/ 59 w 120"/>
                <a:gd name="T3" fmla="*/ 0 h 539"/>
                <a:gd name="T4" fmla="*/ 120 w 120"/>
                <a:gd name="T5" fmla="*/ 63 h 539"/>
                <a:gd name="T6" fmla="*/ 95 w 120"/>
                <a:gd name="T7" fmla="*/ 95 h 539"/>
                <a:gd name="T8" fmla="*/ 92 w 120"/>
                <a:gd name="T9" fmla="*/ 33 h 539"/>
                <a:gd name="T10" fmla="*/ 28 w 120"/>
                <a:gd name="T11" fmla="*/ 31 h 539"/>
                <a:gd name="T12" fmla="*/ 21 w 120"/>
                <a:gd name="T13" fmla="*/ 80 h 539"/>
                <a:gd name="T14" fmla="*/ 49 w 120"/>
                <a:gd name="T15" fmla="*/ 55 h 539"/>
                <a:gd name="T16" fmla="*/ 65 w 120"/>
                <a:gd name="T17" fmla="*/ 99 h 539"/>
                <a:gd name="T18" fmla="*/ 2 w 120"/>
                <a:gd name="T19" fmla="*/ 117 h 539"/>
                <a:gd name="T20" fmla="*/ 49 w 120"/>
                <a:gd name="T21" fmla="*/ 137 h 539"/>
                <a:gd name="T22" fmla="*/ 48 w 120"/>
                <a:gd name="T23" fmla="*/ 151 h 539"/>
                <a:gd name="T24" fmla="*/ 40 w 120"/>
                <a:gd name="T25" fmla="*/ 162 h 539"/>
                <a:gd name="T26" fmla="*/ 2 w 120"/>
                <a:gd name="T27" fmla="*/ 185 h 539"/>
                <a:gd name="T28" fmla="*/ 2 w 120"/>
                <a:gd name="T29" fmla="*/ 208 h 539"/>
                <a:gd name="T30" fmla="*/ 34 w 120"/>
                <a:gd name="T31" fmla="*/ 187 h 539"/>
                <a:gd name="T32" fmla="*/ 46 w 120"/>
                <a:gd name="T33" fmla="*/ 178 h 539"/>
                <a:gd name="T34" fmla="*/ 55 w 120"/>
                <a:gd name="T35" fmla="*/ 168 h 539"/>
                <a:gd name="T36" fmla="*/ 59 w 120"/>
                <a:gd name="T37" fmla="*/ 179 h 539"/>
                <a:gd name="T38" fmla="*/ 75 w 120"/>
                <a:gd name="T39" fmla="*/ 192 h 539"/>
                <a:gd name="T40" fmla="*/ 101 w 120"/>
                <a:gd name="T41" fmla="*/ 191 h 539"/>
                <a:gd name="T42" fmla="*/ 116 w 120"/>
                <a:gd name="T43" fmla="*/ 171 h 539"/>
                <a:gd name="T44" fmla="*/ 118 w 120"/>
                <a:gd name="T45" fmla="*/ 118 h 539"/>
                <a:gd name="T46" fmla="*/ 103 w 120"/>
                <a:gd name="T47" fmla="*/ 153 h 539"/>
                <a:gd name="T48" fmla="*/ 85 w 120"/>
                <a:gd name="T49" fmla="*/ 174 h 539"/>
                <a:gd name="T50" fmla="*/ 70 w 120"/>
                <a:gd name="T51" fmla="*/ 168 h 539"/>
                <a:gd name="T52" fmla="*/ 65 w 120"/>
                <a:gd name="T53" fmla="*/ 153 h 539"/>
                <a:gd name="T54" fmla="*/ 103 w 120"/>
                <a:gd name="T55" fmla="*/ 137 h 539"/>
                <a:gd name="T56" fmla="*/ 4 w 120"/>
                <a:gd name="T57" fmla="*/ 206 h 539"/>
                <a:gd name="T58" fmla="*/ 2 w 120"/>
                <a:gd name="T59" fmla="*/ 226 h 539"/>
                <a:gd name="T60" fmla="*/ 31 w 120"/>
                <a:gd name="T61" fmla="*/ 282 h 539"/>
                <a:gd name="T62" fmla="*/ 1 w 120"/>
                <a:gd name="T63" fmla="*/ 314 h 539"/>
                <a:gd name="T64" fmla="*/ 118 w 120"/>
                <a:gd name="T65" fmla="*/ 249 h 539"/>
                <a:gd name="T66" fmla="*/ 101 w 120"/>
                <a:gd name="T67" fmla="*/ 259 h 539"/>
                <a:gd name="T68" fmla="*/ 47 w 120"/>
                <a:gd name="T69" fmla="*/ 277 h 539"/>
                <a:gd name="T70" fmla="*/ 94 w 120"/>
                <a:gd name="T71" fmla="*/ 257 h 539"/>
                <a:gd name="T72" fmla="*/ 110 w 120"/>
                <a:gd name="T73" fmla="*/ 414 h 539"/>
                <a:gd name="T74" fmla="*/ 18 w 120"/>
                <a:gd name="T75" fmla="*/ 413 h 539"/>
                <a:gd name="T76" fmla="*/ 1 w 120"/>
                <a:gd name="T77" fmla="*/ 322 h 539"/>
                <a:gd name="T78" fmla="*/ 102 w 120"/>
                <a:gd name="T79" fmla="*/ 387 h 539"/>
                <a:gd name="T80" fmla="*/ 118 w 120"/>
                <a:gd name="T81" fmla="*/ 328 h 539"/>
                <a:gd name="T82" fmla="*/ 110 w 120"/>
                <a:gd name="T83" fmla="*/ 414 h 539"/>
                <a:gd name="T84" fmla="*/ 1 w 120"/>
                <a:gd name="T85" fmla="*/ 428 h 539"/>
                <a:gd name="T86" fmla="*/ 118 w 120"/>
                <a:gd name="T87" fmla="*/ 448 h 539"/>
                <a:gd name="T88" fmla="*/ 1 w 120"/>
                <a:gd name="T89" fmla="*/ 539 h 539"/>
                <a:gd name="T90" fmla="*/ 118 w 120"/>
                <a:gd name="T91" fmla="*/ 474 h 539"/>
                <a:gd name="T92" fmla="*/ 101 w 120"/>
                <a:gd name="T93" fmla="*/ 537 h 539"/>
                <a:gd name="T94" fmla="*/ 68 w 120"/>
                <a:gd name="T95" fmla="*/ 493 h 539"/>
                <a:gd name="T96" fmla="*/ 52 w 120"/>
                <a:gd name="T97" fmla="*/ 533 h 539"/>
                <a:gd name="T98" fmla="*/ 18 w 120"/>
                <a:gd name="T99" fmla="*/ 493 h 539"/>
                <a:gd name="T100" fmla="*/ 1 w 120"/>
                <a:gd name="T101"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9">
                  <a:moveTo>
                    <a:pt x="10" y="99"/>
                  </a:moveTo>
                  <a:cubicBezTo>
                    <a:pt x="3" y="87"/>
                    <a:pt x="0" y="73"/>
                    <a:pt x="0" y="58"/>
                  </a:cubicBezTo>
                  <a:cubicBezTo>
                    <a:pt x="0" y="41"/>
                    <a:pt x="5" y="27"/>
                    <a:pt x="16" y="16"/>
                  </a:cubicBezTo>
                  <a:cubicBezTo>
                    <a:pt x="27" y="6"/>
                    <a:pt x="41" y="0"/>
                    <a:pt x="59" y="0"/>
                  </a:cubicBezTo>
                  <a:cubicBezTo>
                    <a:pt x="77" y="0"/>
                    <a:pt x="92" y="6"/>
                    <a:pt x="103" y="18"/>
                  </a:cubicBezTo>
                  <a:cubicBezTo>
                    <a:pt x="115" y="30"/>
                    <a:pt x="120" y="45"/>
                    <a:pt x="120" y="63"/>
                  </a:cubicBezTo>
                  <a:cubicBezTo>
                    <a:pt x="120" y="76"/>
                    <a:pt x="119" y="87"/>
                    <a:pt x="115" y="95"/>
                  </a:cubicBezTo>
                  <a:cubicBezTo>
                    <a:pt x="95" y="95"/>
                    <a:pt x="95" y="95"/>
                    <a:pt x="95" y="95"/>
                  </a:cubicBezTo>
                  <a:cubicBezTo>
                    <a:pt x="101" y="86"/>
                    <a:pt x="104" y="76"/>
                    <a:pt x="104" y="63"/>
                  </a:cubicBezTo>
                  <a:cubicBezTo>
                    <a:pt x="104" y="51"/>
                    <a:pt x="100" y="41"/>
                    <a:pt x="92" y="33"/>
                  </a:cubicBezTo>
                  <a:cubicBezTo>
                    <a:pt x="83" y="25"/>
                    <a:pt x="73" y="21"/>
                    <a:pt x="60" y="21"/>
                  </a:cubicBezTo>
                  <a:cubicBezTo>
                    <a:pt x="46" y="21"/>
                    <a:pt x="36" y="24"/>
                    <a:pt x="28" y="31"/>
                  </a:cubicBezTo>
                  <a:cubicBezTo>
                    <a:pt x="20" y="38"/>
                    <a:pt x="17" y="47"/>
                    <a:pt x="16" y="59"/>
                  </a:cubicBezTo>
                  <a:cubicBezTo>
                    <a:pt x="16" y="67"/>
                    <a:pt x="18" y="74"/>
                    <a:pt x="21" y="80"/>
                  </a:cubicBezTo>
                  <a:cubicBezTo>
                    <a:pt x="49" y="80"/>
                    <a:pt x="49" y="80"/>
                    <a:pt x="49" y="80"/>
                  </a:cubicBezTo>
                  <a:cubicBezTo>
                    <a:pt x="49" y="55"/>
                    <a:pt x="49" y="55"/>
                    <a:pt x="49" y="55"/>
                  </a:cubicBezTo>
                  <a:cubicBezTo>
                    <a:pt x="65" y="55"/>
                    <a:pt x="65" y="55"/>
                    <a:pt x="65" y="55"/>
                  </a:cubicBezTo>
                  <a:cubicBezTo>
                    <a:pt x="65" y="99"/>
                    <a:pt x="65" y="99"/>
                    <a:pt x="65" y="99"/>
                  </a:cubicBezTo>
                  <a:lnTo>
                    <a:pt x="10" y="99"/>
                  </a:lnTo>
                  <a:close/>
                  <a:moveTo>
                    <a:pt x="2" y="117"/>
                  </a:moveTo>
                  <a:cubicBezTo>
                    <a:pt x="2" y="137"/>
                    <a:pt x="2" y="137"/>
                    <a:pt x="2" y="137"/>
                  </a:cubicBezTo>
                  <a:cubicBezTo>
                    <a:pt x="49" y="137"/>
                    <a:pt x="49" y="137"/>
                    <a:pt x="49" y="137"/>
                  </a:cubicBezTo>
                  <a:cubicBezTo>
                    <a:pt x="49" y="145"/>
                    <a:pt x="49" y="145"/>
                    <a:pt x="49" y="145"/>
                  </a:cubicBezTo>
                  <a:cubicBezTo>
                    <a:pt x="49" y="147"/>
                    <a:pt x="49" y="149"/>
                    <a:pt x="48" y="151"/>
                  </a:cubicBezTo>
                  <a:cubicBezTo>
                    <a:pt x="48" y="153"/>
                    <a:pt x="47" y="155"/>
                    <a:pt x="45" y="157"/>
                  </a:cubicBezTo>
                  <a:cubicBezTo>
                    <a:pt x="44" y="158"/>
                    <a:pt x="42" y="160"/>
                    <a:pt x="40" y="162"/>
                  </a:cubicBezTo>
                  <a:cubicBezTo>
                    <a:pt x="38" y="163"/>
                    <a:pt x="36" y="165"/>
                    <a:pt x="33" y="166"/>
                  </a:cubicBezTo>
                  <a:cubicBezTo>
                    <a:pt x="2" y="185"/>
                    <a:pt x="2" y="185"/>
                    <a:pt x="2" y="185"/>
                  </a:cubicBezTo>
                  <a:cubicBezTo>
                    <a:pt x="2" y="205"/>
                    <a:pt x="2" y="205"/>
                    <a:pt x="2" y="205"/>
                  </a:cubicBezTo>
                  <a:cubicBezTo>
                    <a:pt x="2" y="208"/>
                    <a:pt x="2" y="208"/>
                    <a:pt x="2" y="208"/>
                  </a:cubicBezTo>
                  <a:cubicBezTo>
                    <a:pt x="4" y="206"/>
                    <a:pt x="4" y="206"/>
                    <a:pt x="4" y="206"/>
                  </a:cubicBezTo>
                  <a:cubicBezTo>
                    <a:pt x="34" y="187"/>
                    <a:pt x="34" y="187"/>
                    <a:pt x="34" y="187"/>
                  </a:cubicBezTo>
                  <a:cubicBezTo>
                    <a:pt x="37" y="185"/>
                    <a:pt x="39" y="184"/>
                    <a:pt x="41" y="182"/>
                  </a:cubicBezTo>
                  <a:cubicBezTo>
                    <a:pt x="43" y="181"/>
                    <a:pt x="45" y="180"/>
                    <a:pt x="46" y="178"/>
                  </a:cubicBezTo>
                  <a:cubicBezTo>
                    <a:pt x="48" y="177"/>
                    <a:pt x="49" y="175"/>
                    <a:pt x="51" y="174"/>
                  </a:cubicBezTo>
                  <a:cubicBezTo>
                    <a:pt x="52" y="172"/>
                    <a:pt x="54" y="170"/>
                    <a:pt x="55" y="168"/>
                  </a:cubicBezTo>
                  <a:cubicBezTo>
                    <a:pt x="55" y="168"/>
                    <a:pt x="55" y="168"/>
                    <a:pt x="55" y="168"/>
                  </a:cubicBezTo>
                  <a:cubicBezTo>
                    <a:pt x="56" y="172"/>
                    <a:pt x="58" y="176"/>
                    <a:pt x="59" y="179"/>
                  </a:cubicBezTo>
                  <a:cubicBezTo>
                    <a:pt x="61" y="182"/>
                    <a:pt x="64" y="185"/>
                    <a:pt x="66" y="187"/>
                  </a:cubicBezTo>
                  <a:cubicBezTo>
                    <a:pt x="69" y="189"/>
                    <a:pt x="72" y="191"/>
                    <a:pt x="75" y="192"/>
                  </a:cubicBezTo>
                  <a:cubicBezTo>
                    <a:pt x="79" y="193"/>
                    <a:pt x="83" y="194"/>
                    <a:pt x="87" y="194"/>
                  </a:cubicBezTo>
                  <a:cubicBezTo>
                    <a:pt x="92" y="194"/>
                    <a:pt x="97" y="193"/>
                    <a:pt x="101" y="191"/>
                  </a:cubicBezTo>
                  <a:cubicBezTo>
                    <a:pt x="105" y="189"/>
                    <a:pt x="108" y="187"/>
                    <a:pt x="111" y="183"/>
                  </a:cubicBezTo>
                  <a:cubicBezTo>
                    <a:pt x="113" y="180"/>
                    <a:pt x="115" y="176"/>
                    <a:pt x="116" y="171"/>
                  </a:cubicBezTo>
                  <a:cubicBezTo>
                    <a:pt x="118" y="167"/>
                    <a:pt x="118" y="162"/>
                    <a:pt x="118" y="156"/>
                  </a:cubicBezTo>
                  <a:cubicBezTo>
                    <a:pt x="118" y="118"/>
                    <a:pt x="118" y="118"/>
                    <a:pt x="118" y="118"/>
                  </a:cubicBezTo>
                  <a:lnTo>
                    <a:pt x="2" y="117"/>
                  </a:lnTo>
                  <a:close/>
                  <a:moveTo>
                    <a:pt x="103" y="153"/>
                  </a:moveTo>
                  <a:cubicBezTo>
                    <a:pt x="103" y="160"/>
                    <a:pt x="101" y="165"/>
                    <a:pt x="98" y="168"/>
                  </a:cubicBezTo>
                  <a:cubicBezTo>
                    <a:pt x="95" y="172"/>
                    <a:pt x="90" y="174"/>
                    <a:pt x="85" y="174"/>
                  </a:cubicBezTo>
                  <a:cubicBezTo>
                    <a:pt x="82" y="174"/>
                    <a:pt x="79" y="173"/>
                    <a:pt x="76" y="172"/>
                  </a:cubicBezTo>
                  <a:cubicBezTo>
                    <a:pt x="74" y="171"/>
                    <a:pt x="72" y="170"/>
                    <a:pt x="70" y="168"/>
                  </a:cubicBezTo>
                  <a:cubicBezTo>
                    <a:pt x="68" y="166"/>
                    <a:pt x="67" y="164"/>
                    <a:pt x="66" y="161"/>
                  </a:cubicBezTo>
                  <a:cubicBezTo>
                    <a:pt x="65" y="159"/>
                    <a:pt x="65" y="156"/>
                    <a:pt x="65" y="153"/>
                  </a:cubicBezTo>
                  <a:cubicBezTo>
                    <a:pt x="65" y="137"/>
                    <a:pt x="65" y="137"/>
                    <a:pt x="65" y="137"/>
                  </a:cubicBezTo>
                  <a:cubicBezTo>
                    <a:pt x="103" y="137"/>
                    <a:pt x="103" y="137"/>
                    <a:pt x="103" y="137"/>
                  </a:cubicBezTo>
                  <a:lnTo>
                    <a:pt x="103" y="153"/>
                  </a:lnTo>
                  <a:close/>
                  <a:moveTo>
                    <a:pt x="4" y="206"/>
                  </a:moveTo>
                  <a:cubicBezTo>
                    <a:pt x="2" y="205"/>
                    <a:pt x="2" y="205"/>
                    <a:pt x="2" y="205"/>
                  </a:cubicBezTo>
                  <a:cubicBezTo>
                    <a:pt x="2" y="226"/>
                    <a:pt x="2" y="226"/>
                    <a:pt x="2" y="226"/>
                  </a:cubicBezTo>
                  <a:cubicBezTo>
                    <a:pt x="31" y="236"/>
                    <a:pt x="31" y="236"/>
                    <a:pt x="31" y="236"/>
                  </a:cubicBezTo>
                  <a:cubicBezTo>
                    <a:pt x="31" y="282"/>
                    <a:pt x="31" y="282"/>
                    <a:pt x="31" y="282"/>
                  </a:cubicBezTo>
                  <a:cubicBezTo>
                    <a:pt x="1" y="293"/>
                    <a:pt x="1" y="293"/>
                    <a:pt x="1" y="293"/>
                  </a:cubicBezTo>
                  <a:cubicBezTo>
                    <a:pt x="1" y="314"/>
                    <a:pt x="1" y="314"/>
                    <a:pt x="1" y="314"/>
                  </a:cubicBezTo>
                  <a:cubicBezTo>
                    <a:pt x="118" y="271"/>
                    <a:pt x="118" y="271"/>
                    <a:pt x="118" y="271"/>
                  </a:cubicBezTo>
                  <a:cubicBezTo>
                    <a:pt x="118" y="249"/>
                    <a:pt x="118" y="249"/>
                    <a:pt x="118" y="249"/>
                  </a:cubicBezTo>
                  <a:lnTo>
                    <a:pt x="4" y="206"/>
                  </a:lnTo>
                  <a:close/>
                  <a:moveTo>
                    <a:pt x="101" y="259"/>
                  </a:moveTo>
                  <a:cubicBezTo>
                    <a:pt x="98" y="260"/>
                    <a:pt x="95" y="260"/>
                    <a:pt x="94" y="261"/>
                  </a:cubicBezTo>
                  <a:cubicBezTo>
                    <a:pt x="47" y="277"/>
                    <a:pt x="47" y="277"/>
                    <a:pt x="47" y="277"/>
                  </a:cubicBezTo>
                  <a:cubicBezTo>
                    <a:pt x="47" y="241"/>
                    <a:pt x="47" y="241"/>
                    <a:pt x="47" y="241"/>
                  </a:cubicBezTo>
                  <a:cubicBezTo>
                    <a:pt x="94" y="257"/>
                    <a:pt x="94" y="257"/>
                    <a:pt x="94" y="257"/>
                  </a:cubicBezTo>
                  <a:cubicBezTo>
                    <a:pt x="95" y="258"/>
                    <a:pt x="98" y="259"/>
                    <a:pt x="101" y="259"/>
                  </a:cubicBezTo>
                  <a:close/>
                  <a:moveTo>
                    <a:pt x="110" y="414"/>
                  </a:moveTo>
                  <a:cubicBezTo>
                    <a:pt x="18" y="350"/>
                    <a:pt x="18" y="350"/>
                    <a:pt x="18" y="350"/>
                  </a:cubicBezTo>
                  <a:cubicBezTo>
                    <a:pt x="18" y="413"/>
                    <a:pt x="18" y="413"/>
                    <a:pt x="18" y="413"/>
                  </a:cubicBezTo>
                  <a:cubicBezTo>
                    <a:pt x="1" y="413"/>
                    <a:pt x="1" y="413"/>
                    <a:pt x="1" y="413"/>
                  </a:cubicBezTo>
                  <a:cubicBezTo>
                    <a:pt x="1" y="322"/>
                    <a:pt x="1" y="322"/>
                    <a:pt x="1" y="322"/>
                  </a:cubicBezTo>
                  <a:cubicBezTo>
                    <a:pt x="10" y="322"/>
                    <a:pt x="10" y="322"/>
                    <a:pt x="10" y="322"/>
                  </a:cubicBezTo>
                  <a:cubicBezTo>
                    <a:pt x="102" y="387"/>
                    <a:pt x="102" y="387"/>
                    <a:pt x="102" y="387"/>
                  </a:cubicBezTo>
                  <a:cubicBezTo>
                    <a:pt x="102" y="328"/>
                    <a:pt x="102" y="328"/>
                    <a:pt x="102" y="328"/>
                  </a:cubicBezTo>
                  <a:cubicBezTo>
                    <a:pt x="118" y="328"/>
                    <a:pt x="118" y="328"/>
                    <a:pt x="118" y="328"/>
                  </a:cubicBezTo>
                  <a:cubicBezTo>
                    <a:pt x="118" y="414"/>
                    <a:pt x="118" y="414"/>
                    <a:pt x="118" y="414"/>
                  </a:cubicBezTo>
                  <a:lnTo>
                    <a:pt x="110" y="414"/>
                  </a:lnTo>
                  <a:close/>
                  <a:moveTo>
                    <a:pt x="1" y="448"/>
                  </a:moveTo>
                  <a:cubicBezTo>
                    <a:pt x="1" y="428"/>
                    <a:pt x="1" y="428"/>
                    <a:pt x="1" y="428"/>
                  </a:cubicBezTo>
                  <a:cubicBezTo>
                    <a:pt x="118" y="428"/>
                    <a:pt x="118" y="428"/>
                    <a:pt x="118" y="428"/>
                  </a:cubicBezTo>
                  <a:cubicBezTo>
                    <a:pt x="118" y="448"/>
                    <a:pt x="118" y="448"/>
                    <a:pt x="118" y="448"/>
                  </a:cubicBezTo>
                  <a:lnTo>
                    <a:pt x="1" y="448"/>
                  </a:lnTo>
                  <a:close/>
                  <a:moveTo>
                    <a:pt x="1" y="539"/>
                  </a:moveTo>
                  <a:cubicBezTo>
                    <a:pt x="1" y="474"/>
                    <a:pt x="1" y="474"/>
                    <a:pt x="1" y="474"/>
                  </a:cubicBezTo>
                  <a:cubicBezTo>
                    <a:pt x="118" y="474"/>
                    <a:pt x="118" y="474"/>
                    <a:pt x="118" y="474"/>
                  </a:cubicBezTo>
                  <a:cubicBezTo>
                    <a:pt x="118" y="537"/>
                    <a:pt x="118" y="537"/>
                    <a:pt x="118" y="537"/>
                  </a:cubicBezTo>
                  <a:cubicBezTo>
                    <a:pt x="101" y="537"/>
                    <a:pt x="101" y="537"/>
                    <a:pt x="101" y="537"/>
                  </a:cubicBezTo>
                  <a:cubicBezTo>
                    <a:pt x="102" y="493"/>
                    <a:pt x="102" y="493"/>
                    <a:pt x="102" y="493"/>
                  </a:cubicBezTo>
                  <a:cubicBezTo>
                    <a:pt x="68" y="493"/>
                    <a:pt x="68" y="493"/>
                    <a:pt x="68" y="493"/>
                  </a:cubicBezTo>
                  <a:cubicBezTo>
                    <a:pt x="68" y="533"/>
                    <a:pt x="68" y="533"/>
                    <a:pt x="68" y="533"/>
                  </a:cubicBezTo>
                  <a:cubicBezTo>
                    <a:pt x="52" y="533"/>
                    <a:pt x="52" y="533"/>
                    <a:pt x="52" y="533"/>
                  </a:cubicBezTo>
                  <a:cubicBezTo>
                    <a:pt x="52" y="493"/>
                    <a:pt x="52" y="493"/>
                    <a:pt x="52" y="493"/>
                  </a:cubicBezTo>
                  <a:cubicBezTo>
                    <a:pt x="18" y="493"/>
                    <a:pt x="18" y="493"/>
                    <a:pt x="18" y="493"/>
                  </a:cubicBezTo>
                  <a:cubicBezTo>
                    <a:pt x="18" y="539"/>
                    <a:pt x="18" y="539"/>
                    <a:pt x="18" y="539"/>
                  </a:cubicBezTo>
                  <a:lnTo>
                    <a:pt x="1" y="539"/>
                  </a:ln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4" name="Freeform 222">
              <a:extLst>
                <a:ext uri="{FF2B5EF4-FFF2-40B4-BE49-F238E27FC236}">
                  <a16:creationId xmlns:a16="http://schemas.microsoft.com/office/drawing/2014/main" id="{3F905082-54DF-D92A-2E2F-1DCE014F7B3F}"/>
                </a:ext>
                <a:ext uri="{C183D7F6-B498-43B3-948B-1728B52AA6E4}">
                  <adec:decorative xmlns:adec="http://schemas.microsoft.com/office/drawing/2017/decorative" val="1"/>
                </a:ext>
              </a:extLst>
            </p:cNvPr>
            <p:cNvSpPr>
              <a:spLocks noEditPoints="1"/>
            </p:cNvSpPr>
            <p:nvPr/>
          </p:nvSpPr>
          <p:spPr bwMode="auto">
            <a:xfrm rot="16200000">
              <a:off x="7140191" y="614150"/>
              <a:ext cx="364768" cy="1361460"/>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15" name="Freeform 223">
              <a:extLst>
                <a:ext uri="{FF2B5EF4-FFF2-40B4-BE49-F238E27FC236}">
                  <a16:creationId xmlns:a16="http://schemas.microsoft.com/office/drawing/2014/main" id="{820F7002-6025-8CF3-58EF-66562FB7DE99}"/>
                </a:ext>
                <a:ext uri="{C183D7F6-B498-43B3-948B-1728B52AA6E4}">
                  <adec:decorative xmlns:adec="http://schemas.microsoft.com/office/drawing/2017/decorative" val="1"/>
                </a:ext>
              </a:extLst>
            </p:cNvPr>
            <p:cNvSpPr>
              <a:spLocks noEditPoints="1"/>
            </p:cNvSpPr>
            <p:nvPr/>
          </p:nvSpPr>
          <p:spPr bwMode="auto">
            <a:xfrm>
              <a:off x="3246095" y="2182577"/>
              <a:ext cx="2423656" cy="477795"/>
            </a:xfrm>
            <a:custGeom>
              <a:avLst/>
              <a:gdLst>
                <a:gd name="T0" fmla="*/ 69 w 798"/>
                <a:gd name="T1" fmla="*/ 157 h 157"/>
                <a:gd name="T2" fmla="*/ 0 w 798"/>
                <a:gd name="T3" fmla="*/ 81 h 157"/>
                <a:gd name="T4" fmla="*/ 75 w 798"/>
                <a:gd name="T5" fmla="*/ 0 h 157"/>
                <a:gd name="T6" fmla="*/ 114 w 798"/>
                <a:gd name="T7" fmla="*/ 20 h 157"/>
                <a:gd name="T8" fmla="*/ 28 w 798"/>
                <a:gd name="T9" fmla="*/ 29 h 157"/>
                <a:gd name="T10" fmla="*/ 27 w 798"/>
                <a:gd name="T11" fmla="*/ 129 h 157"/>
                <a:gd name="T12" fmla="*/ 107 w 798"/>
                <a:gd name="T13" fmla="*/ 139 h 157"/>
                <a:gd name="T14" fmla="*/ 71 w 798"/>
                <a:gd name="T15" fmla="*/ 89 h 157"/>
                <a:gd name="T16" fmla="*/ 117 w 798"/>
                <a:gd name="T17" fmla="*/ 79 h 157"/>
                <a:gd name="T18" fmla="*/ 219 w 798"/>
                <a:gd name="T19" fmla="*/ 106 h 157"/>
                <a:gd name="T20" fmla="*/ 201 w 798"/>
                <a:gd name="T21" fmla="*/ 84 h 157"/>
                <a:gd name="T22" fmla="*/ 237 w 798"/>
                <a:gd name="T23" fmla="*/ 42 h 157"/>
                <a:gd name="T24" fmla="*/ 194 w 798"/>
                <a:gd name="T25" fmla="*/ 3 h 157"/>
                <a:gd name="T26" fmla="*/ 152 w 798"/>
                <a:gd name="T27" fmla="*/ 154 h 157"/>
                <a:gd name="T28" fmla="*/ 162 w 798"/>
                <a:gd name="T29" fmla="*/ 87 h 157"/>
                <a:gd name="T30" fmla="*/ 197 w 798"/>
                <a:gd name="T31" fmla="*/ 92 h 157"/>
                <a:gd name="T32" fmla="*/ 230 w 798"/>
                <a:gd name="T33" fmla="*/ 154 h 157"/>
                <a:gd name="T34" fmla="*/ 219 w 798"/>
                <a:gd name="T35" fmla="*/ 106 h 157"/>
                <a:gd name="T36" fmla="*/ 162 w 798"/>
                <a:gd name="T37" fmla="*/ 77 h 157"/>
                <a:gd name="T38" fmla="*/ 191 w 798"/>
                <a:gd name="T39" fmla="*/ 13 h 157"/>
                <a:gd name="T40" fmla="*/ 226 w 798"/>
                <a:gd name="T41" fmla="*/ 43 h 157"/>
                <a:gd name="T42" fmla="*/ 189 w 798"/>
                <a:gd name="T43" fmla="*/ 77 h 157"/>
                <a:gd name="T44" fmla="*/ 316 w 798"/>
                <a:gd name="T45" fmla="*/ 3 h 157"/>
                <a:gd name="T46" fmla="*/ 270 w 798"/>
                <a:gd name="T47" fmla="*/ 154 h 157"/>
                <a:gd name="T48" fmla="*/ 353 w 798"/>
                <a:gd name="T49" fmla="*/ 107 h 157"/>
                <a:gd name="T50" fmla="*/ 382 w 798"/>
                <a:gd name="T51" fmla="*/ 154 h 157"/>
                <a:gd name="T52" fmla="*/ 291 w 798"/>
                <a:gd name="T53" fmla="*/ 98 h 157"/>
                <a:gd name="T54" fmla="*/ 320 w 798"/>
                <a:gd name="T55" fmla="*/ 16 h 157"/>
                <a:gd name="T56" fmla="*/ 322 w 798"/>
                <a:gd name="T57" fmla="*/ 21 h 157"/>
                <a:gd name="T58" fmla="*/ 350 w 798"/>
                <a:gd name="T59" fmla="*/ 98 h 157"/>
                <a:gd name="T60" fmla="*/ 504 w 798"/>
                <a:gd name="T61" fmla="*/ 149 h 157"/>
                <a:gd name="T62" fmla="*/ 415 w 798"/>
                <a:gd name="T63" fmla="*/ 136 h 157"/>
                <a:gd name="T64" fmla="*/ 417 w 798"/>
                <a:gd name="T65" fmla="*/ 23 h 157"/>
                <a:gd name="T66" fmla="*/ 504 w 798"/>
                <a:gd name="T67" fmla="*/ 6 h 157"/>
                <a:gd name="T68" fmla="*/ 471 w 798"/>
                <a:gd name="T69" fmla="*/ 10 h 157"/>
                <a:gd name="T70" fmla="*/ 407 w 798"/>
                <a:gd name="T71" fmla="*/ 81 h 157"/>
                <a:gd name="T72" fmla="*/ 467 w 798"/>
                <a:gd name="T73" fmla="*/ 147 h 157"/>
                <a:gd name="T74" fmla="*/ 504 w 798"/>
                <a:gd name="T75" fmla="*/ 149 h 157"/>
                <a:gd name="T76" fmla="*/ 538 w 798"/>
                <a:gd name="T77" fmla="*/ 3 h 157"/>
                <a:gd name="T78" fmla="*/ 548 w 798"/>
                <a:gd name="T79" fmla="*/ 154 h 157"/>
                <a:gd name="T80" fmla="*/ 641 w 798"/>
                <a:gd name="T81" fmla="*/ 3 h 157"/>
                <a:gd name="T82" fmla="*/ 574 w 798"/>
                <a:gd name="T83" fmla="*/ 154 h 157"/>
                <a:gd name="T84" fmla="*/ 603 w 798"/>
                <a:gd name="T85" fmla="*/ 107 h 157"/>
                <a:gd name="T86" fmla="*/ 686 w 798"/>
                <a:gd name="T87" fmla="*/ 154 h 157"/>
                <a:gd name="T88" fmla="*/ 641 w 798"/>
                <a:gd name="T89" fmla="*/ 3 h 157"/>
                <a:gd name="T90" fmla="*/ 632 w 798"/>
                <a:gd name="T91" fmla="*/ 27 h 157"/>
                <a:gd name="T92" fmla="*/ 636 w 798"/>
                <a:gd name="T93" fmla="*/ 16 h 157"/>
                <a:gd name="T94" fmla="*/ 639 w 798"/>
                <a:gd name="T95" fmla="*/ 28 h 157"/>
                <a:gd name="T96" fmla="*/ 607 w 798"/>
                <a:gd name="T97" fmla="*/ 98 h 157"/>
                <a:gd name="T98" fmla="*/ 719 w 798"/>
                <a:gd name="T99" fmla="*/ 137 h 157"/>
                <a:gd name="T100" fmla="*/ 778 w 798"/>
                <a:gd name="T101" fmla="*/ 140 h 157"/>
                <a:gd name="T102" fmla="*/ 781 w 798"/>
                <a:gd name="T103" fmla="*/ 101 h 157"/>
                <a:gd name="T104" fmla="*/ 725 w 798"/>
                <a:gd name="T105" fmla="*/ 60 h 157"/>
                <a:gd name="T106" fmla="*/ 732 w 798"/>
                <a:gd name="T107" fmla="*/ 12 h 157"/>
                <a:gd name="T108" fmla="*/ 792 w 798"/>
                <a:gd name="T109" fmla="*/ 5 h 157"/>
                <a:gd name="T110" fmla="*/ 764 w 798"/>
                <a:gd name="T111" fmla="*/ 10 h 157"/>
                <a:gd name="T112" fmla="*/ 730 w 798"/>
                <a:gd name="T113" fmla="*/ 38 h 157"/>
                <a:gd name="T114" fmla="*/ 763 w 798"/>
                <a:gd name="T115" fmla="*/ 75 h 157"/>
                <a:gd name="T116" fmla="*/ 798 w 798"/>
                <a:gd name="T117" fmla="*/ 118 h 157"/>
                <a:gd name="T118" fmla="*/ 752 w 798"/>
                <a:gd name="T119" fmla="*/ 157 h 157"/>
                <a:gd name="T120" fmla="*/ 719 w 798"/>
                <a:gd name="T121"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157">
                  <a:moveTo>
                    <a:pt x="117" y="144"/>
                  </a:moveTo>
                  <a:cubicBezTo>
                    <a:pt x="101" y="153"/>
                    <a:pt x="85" y="157"/>
                    <a:pt x="69" y="157"/>
                  </a:cubicBezTo>
                  <a:cubicBezTo>
                    <a:pt x="48" y="157"/>
                    <a:pt x="32" y="150"/>
                    <a:pt x="19" y="136"/>
                  </a:cubicBezTo>
                  <a:cubicBezTo>
                    <a:pt x="6" y="122"/>
                    <a:pt x="0" y="104"/>
                    <a:pt x="0" y="81"/>
                  </a:cubicBezTo>
                  <a:cubicBezTo>
                    <a:pt x="0" y="58"/>
                    <a:pt x="7" y="39"/>
                    <a:pt x="20" y="23"/>
                  </a:cubicBezTo>
                  <a:cubicBezTo>
                    <a:pt x="34" y="8"/>
                    <a:pt x="52" y="0"/>
                    <a:pt x="75" y="0"/>
                  </a:cubicBezTo>
                  <a:cubicBezTo>
                    <a:pt x="89" y="0"/>
                    <a:pt x="101" y="3"/>
                    <a:pt x="114" y="8"/>
                  </a:cubicBezTo>
                  <a:cubicBezTo>
                    <a:pt x="114" y="20"/>
                    <a:pt x="114" y="20"/>
                    <a:pt x="114" y="20"/>
                  </a:cubicBezTo>
                  <a:cubicBezTo>
                    <a:pt x="100" y="13"/>
                    <a:pt x="87" y="10"/>
                    <a:pt x="74" y="10"/>
                  </a:cubicBezTo>
                  <a:cubicBezTo>
                    <a:pt x="55" y="10"/>
                    <a:pt x="39" y="16"/>
                    <a:pt x="28" y="29"/>
                  </a:cubicBezTo>
                  <a:cubicBezTo>
                    <a:pt x="16" y="43"/>
                    <a:pt x="10" y="59"/>
                    <a:pt x="10" y="79"/>
                  </a:cubicBezTo>
                  <a:cubicBezTo>
                    <a:pt x="10" y="101"/>
                    <a:pt x="16" y="117"/>
                    <a:pt x="27" y="129"/>
                  </a:cubicBezTo>
                  <a:cubicBezTo>
                    <a:pt x="38" y="141"/>
                    <a:pt x="52" y="147"/>
                    <a:pt x="71" y="147"/>
                  </a:cubicBezTo>
                  <a:cubicBezTo>
                    <a:pt x="84" y="147"/>
                    <a:pt x="96" y="144"/>
                    <a:pt x="107" y="139"/>
                  </a:cubicBezTo>
                  <a:cubicBezTo>
                    <a:pt x="107" y="89"/>
                    <a:pt x="107" y="89"/>
                    <a:pt x="107" y="89"/>
                  </a:cubicBezTo>
                  <a:cubicBezTo>
                    <a:pt x="71" y="89"/>
                    <a:pt x="71" y="89"/>
                    <a:pt x="71" y="89"/>
                  </a:cubicBezTo>
                  <a:cubicBezTo>
                    <a:pt x="71" y="79"/>
                    <a:pt x="71" y="79"/>
                    <a:pt x="71" y="79"/>
                  </a:cubicBezTo>
                  <a:cubicBezTo>
                    <a:pt x="117" y="79"/>
                    <a:pt x="117" y="79"/>
                    <a:pt x="117" y="79"/>
                  </a:cubicBezTo>
                  <a:lnTo>
                    <a:pt x="117" y="144"/>
                  </a:lnTo>
                  <a:close/>
                  <a:moveTo>
                    <a:pt x="219" y="106"/>
                  </a:moveTo>
                  <a:cubicBezTo>
                    <a:pt x="213" y="94"/>
                    <a:pt x="207" y="87"/>
                    <a:pt x="201" y="84"/>
                  </a:cubicBezTo>
                  <a:cubicBezTo>
                    <a:pt x="201" y="84"/>
                    <a:pt x="201" y="84"/>
                    <a:pt x="201" y="84"/>
                  </a:cubicBezTo>
                  <a:cubicBezTo>
                    <a:pt x="213" y="82"/>
                    <a:pt x="221" y="77"/>
                    <a:pt x="228" y="70"/>
                  </a:cubicBezTo>
                  <a:cubicBezTo>
                    <a:pt x="234" y="62"/>
                    <a:pt x="237" y="53"/>
                    <a:pt x="237" y="42"/>
                  </a:cubicBezTo>
                  <a:cubicBezTo>
                    <a:pt x="237" y="31"/>
                    <a:pt x="233" y="21"/>
                    <a:pt x="226" y="14"/>
                  </a:cubicBezTo>
                  <a:cubicBezTo>
                    <a:pt x="218" y="7"/>
                    <a:pt x="207" y="3"/>
                    <a:pt x="194" y="3"/>
                  </a:cubicBezTo>
                  <a:cubicBezTo>
                    <a:pt x="152" y="3"/>
                    <a:pt x="152" y="3"/>
                    <a:pt x="152" y="3"/>
                  </a:cubicBezTo>
                  <a:cubicBezTo>
                    <a:pt x="152" y="154"/>
                    <a:pt x="152" y="154"/>
                    <a:pt x="152" y="154"/>
                  </a:cubicBezTo>
                  <a:cubicBezTo>
                    <a:pt x="162" y="154"/>
                    <a:pt x="162" y="154"/>
                    <a:pt x="162" y="154"/>
                  </a:cubicBezTo>
                  <a:cubicBezTo>
                    <a:pt x="162" y="87"/>
                    <a:pt x="162" y="87"/>
                    <a:pt x="162" y="87"/>
                  </a:cubicBezTo>
                  <a:cubicBezTo>
                    <a:pt x="181" y="87"/>
                    <a:pt x="181" y="87"/>
                    <a:pt x="181" y="87"/>
                  </a:cubicBezTo>
                  <a:cubicBezTo>
                    <a:pt x="188" y="87"/>
                    <a:pt x="193" y="88"/>
                    <a:pt x="197" y="92"/>
                  </a:cubicBezTo>
                  <a:cubicBezTo>
                    <a:pt x="201" y="95"/>
                    <a:pt x="205" y="101"/>
                    <a:pt x="209" y="110"/>
                  </a:cubicBezTo>
                  <a:cubicBezTo>
                    <a:pt x="230" y="154"/>
                    <a:pt x="230" y="154"/>
                    <a:pt x="230" y="154"/>
                  </a:cubicBezTo>
                  <a:cubicBezTo>
                    <a:pt x="241" y="154"/>
                    <a:pt x="241" y="154"/>
                    <a:pt x="241" y="154"/>
                  </a:cubicBezTo>
                  <a:lnTo>
                    <a:pt x="219" y="106"/>
                  </a:lnTo>
                  <a:close/>
                  <a:moveTo>
                    <a:pt x="189" y="77"/>
                  </a:moveTo>
                  <a:cubicBezTo>
                    <a:pt x="162" y="77"/>
                    <a:pt x="162" y="77"/>
                    <a:pt x="162" y="77"/>
                  </a:cubicBezTo>
                  <a:cubicBezTo>
                    <a:pt x="162" y="13"/>
                    <a:pt x="162" y="13"/>
                    <a:pt x="162" y="13"/>
                  </a:cubicBezTo>
                  <a:cubicBezTo>
                    <a:pt x="191" y="13"/>
                    <a:pt x="191" y="13"/>
                    <a:pt x="191" y="13"/>
                  </a:cubicBezTo>
                  <a:cubicBezTo>
                    <a:pt x="202" y="13"/>
                    <a:pt x="211" y="15"/>
                    <a:pt x="217" y="21"/>
                  </a:cubicBezTo>
                  <a:cubicBezTo>
                    <a:pt x="223" y="26"/>
                    <a:pt x="226" y="34"/>
                    <a:pt x="226" y="43"/>
                  </a:cubicBezTo>
                  <a:cubicBezTo>
                    <a:pt x="226" y="54"/>
                    <a:pt x="223" y="62"/>
                    <a:pt x="216" y="68"/>
                  </a:cubicBezTo>
                  <a:cubicBezTo>
                    <a:pt x="209" y="74"/>
                    <a:pt x="200" y="77"/>
                    <a:pt x="189" y="77"/>
                  </a:cubicBezTo>
                  <a:close/>
                  <a:moveTo>
                    <a:pt x="326" y="3"/>
                  </a:moveTo>
                  <a:cubicBezTo>
                    <a:pt x="316" y="3"/>
                    <a:pt x="316" y="3"/>
                    <a:pt x="316" y="3"/>
                  </a:cubicBezTo>
                  <a:cubicBezTo>
                    <a:pt x="259" y="154"/>
                    <a:pt x="259" y="154"/>
                    <a:pt x="259" y="154"/>
                  </a:cubicBezTo>
                  <a:cubicBezTo>
                    <a:pt x="270" y="154"/>
                    <a:pt x="270" y="154"/>
                    <a:pt x="270" y="154"/>
                  </a:cubicBezTo>
                  <a:cubicBezTo>
                    <a:pt x="288" y="107"/>
                    <a:pt x="288" y="107"/>
                    <a:pt x="288" y="107"/>
                  </a:cubicBezTo>
                  <a:cubicBezTo>
                    <a:pt x="353" y="107"/>
                    <a:pt x="353" y="107"/>
                    <a:pt x="353" y="107"/>
                  </a:cubicBezTo>
                  <a:cubicBezTo>
                    <a:pt x="371" y="154"/>
                    <a:pt x="371" y="154"/>
                    <a:pt x="371" y="154"/>
                  </a:cubicBezTo>
                  <a:cubicBezTo>
                    <a:pt x="382" y="154"/>
                    <a:pt x="382" y="154"/>
                    <a:pt x="382" y="154"/>
                  </a:cubicBezTo>
                  <a:lnTo>
                    <a:pt x="326" y="3"/>
                  </a:lnTo>
                  <a:close/>
                  <a:moveTo>
                    <a:pt x="291" y="98"/>
                  </a:moveTo>
                  <a:cubicBezTo>
                    <a:pt x="317" y="27"/>
                    <a:pt x="317" y="27"/>
                    <a:pt x="317" y="27"/>
                  </a:cubicBezTo>
                  <a:cubicBezTo>
                    <a:pt x="318" y="25"/>
                    <a:pt x="319" y="21"/>
                    <a:pt x="320" y="16"/>
                  </a:cubicBezTo>
                  <a:cubicBezTo>
                    <a:pt x="321" y="16"/>
                    <a:pt x="321" y="16"/>
                    <a:pt x="321" y="16"/>
                  </a:cubicBezTo>
                  <a:cubicBezTo>
                    <a:pt x="321" y="18"/>
                    <a:pt x="322" y="20"/>
                    <a:pt x="322" y="21"/>
                  </a:cubicBezTo>
                  <a:cubicBezTo>
                    <a:pt x="323" y="23"/>
                    <a:pt x="323" y="26"/>
                    <a:pt x="324" y="28"/>
                  </a:cubicBezTo>
                  <a:cubicBezTo>
                    <a:pt x="350" y="98"/>
                    <a:pt x="350" y="98"/>
                    <a:pt x="350" y="98"/>
                  </a:cubicBezTo>
                  <a:lnTo>
                    <a:pt x="291" y="98"/>
                  </a:lnTo>
                  <a:close/>
                  <a:moveTo>
                    <a:pt x="504" y="149"/>
                  </a:moveTo>
                  <a:cubicBezTo>
                    <a:pt x="492" y="154"/>
                    <a:pt x="479" y="157"/>
                    <a:pt x="466" y="157"/>
                  </a:cubicBezTo>
                  <a:cubicBezTo>
                    <a:pt x="445" y="157"/>
                    <a:pt x="428" y="150"/>
                    <a:pt x="415" y="136"/>
                  </a:cubicBezTo>
                  <a:cubicBezTo>
                    <a:pt x="402" y="122"/>
                    <a:pt x="396" y="104"/>
                    <a:pt x="396" y="82"/>
                  </a:cubicBezTo>
                  <a:cubicBezTo>
                    <a:pt x="396" y="57"/>
                    <a:pt x="403" y="37"/>
                    <a:pt x="417" y="23"/>
                  </a:cubicBezTo>
                  <a:cubicBezTo>
                    <a:pt x="431" y="8"/>
                    <a:pt x="449" y="0"/>
                    <a:pt x="471" y="0"/>
                  </a:cubicBezTo>
                  <a:cubicBezTo>
                    <a:pt x="483" y="0"/>
                    <a:pt x="494" y="2"/>
                    <a:pt x="504" y="6"/>
                  </a:cubicBezTo>
                  <a:cubicBezTo>
                    <a:pt x="504" y="17"/>
                    <a:pt x="504" y="17"/>
                    <a:pt x="504" y="17"/>
                  </a:cubicBezTo>
                  <a:cubicBezTo>
                    <a:pt x="494" y="12"/>
                    <a:pt x="482" y="10"/>
                    <a:pt x="471" y="10"/>
                  </a:cubicBezTo>
                  <a:cubicBezTo>
                    <a:pt x="452" y="10"/>
                    <a:pt x="436" y="16"/>
                    <a:pt x="424" y="29"/>
                  </a:cubicBezTo>
                  <a:cubicBezTo>
                    <a:pt x="412" y="42"/>
                    <a:pt x="407" y="59"/>
                    <a:pt x="407" y="81"/>
                  </a:cubicBezTo>
                  <a:cubicBezTo>
                    <a:pt x="407" y="101"/>
                    <a:pt x="412" y="118"/>
                    <a:pt x="424" y="130"/>
                  </a:cubicBezTo>
                  <a:cubicBezTo>
                    <a:pt x="435" y="141"/>
                    <a:pt x="449" y="147"/>
                    <a:pt x="467" y="147"/>
                  </a:cubicBezTo>
                  <a:cubicBezTo>
                    <a:pt x="481" y="147"/>
                    <a:pt x="493" y="145"/>
                    <a:pt x="504" y="139"/>
                  </a:cubicBezTo>
                  <a:lnTo>
                    <a:pt x="504" y="149"/>
                  </a:lnTo>
                  <a:close/>
                  <a:moveTo>
                    <a:pt x="538" y="154"/>
                  </a:moveTo>
                  <a:cubicBezTo>
                    <a:pt x="538" y="3"/>
                    <a:pt x="538" y="3"/>
                    <a:pt x="538" y="3"/>
                  </a:cubicBezTo>
                  <a:cubicBezTo>
                    <a:pt x="548" y="3"/>
                    <a:pt x="548" y="3"/>
                    <a:pt x="548" y="3"/>
                  </a:cubicBezTo>
                  <a:cubicBezTo>
                    <a:pt x="548" y="154"/>
                    <a:pt x="548" y="154"/>
                    <a:pt x="548" y="154"/>
                  </a:cubicBezTo>
                  <a:lnTo>
                    <a:pt x="538" y="154"/>
                  </a:lnTo>
                  <a:close/>
                  <a:moveTo>
                    <a:pt x="641" y="3"/>
                  </a:moveTo>
                  <a:cubicBezTo>
                    <a:pt x="631" y="3"/>
                    <a:pt x="631" y="3"/>
                    <a:pt x="631" y="3"/>
                  </a:cubicBezTo>
                  <a:cubicBezTo>
                    <a:pt x="574" y="154"/>
                    <a:pt x="574" y="154"/>
                    <a:pt x="574" y="154"/>
                  </a:cubicBezTo>
                  <a:cubicBezTo>
                    <a:pt x="586" y="154"/>
                    <a:pt x="586" y="154"/>
                    <a:pt x="586" y="154"/>
                  </a:cubicBezTo>
                  <a:cubicBezTo>
                    <a:pt x="603" y="107"/>
                    <a:pt x="603" y="107"/>
                    <a:pt x="603" y="107"/>
                  </a:cubicBezTo>
                  <a:cubicBezTo>
                    <a:pt x="669" y="107"/>
                    <a:pt x="669" y="107"/>
                    <a:pt x="669" y="107"/>
                  </a:cubicBezTo>
                  <a:cubicBezTo>
                    <a:pt x="686" y="154"/>
                    <a:pt x="686" y="154"/>
                    <a:pt x="686" y="154"/>
                  </a:cubicBezTo>
                  <a:cubicBezTo>
                    <a:pt x="698" y="154"/>
                    <a:pt x="698" y="154"/>
                    <a:pt x="698" y="154"/>
                  </a:cubicBezTo>
                  <a:lnTo>
                    <a:pt x="641" y="3"/>
                  </a:lnTo>
                  <a:close/>
                  <a:moveTo>
                    <a:pt x="607" y="98"/>
                  </a:moveTo>
                  <a:cubicBezTo>
                    <a:pt x="632" y="27"/>
                    <a:pt x="632" y="27"/>
                    <a:pt x="632" y="27"/>
                  </a:cubicBezTo>
                  <a:cubicBezTo>
                    <a:pt x="633" y="25"/>
                    <a:pt x="634" y="21"/>
                    <a:pt x="636" y="16"/>
                  </a:cubicBezTo>
                  <a:cubicBezTo>
                    <a:pt x="636" y="16"/>
                    <a:pt x="636" y="16"/>
                    <a:pt x="636" y="16"/>
                  </a:cubicBezTo>
                  <a:cubicBezTo>
                    <a:pt x="637" y="18"/>
                    <a:pt x="637" y="20"/>
                    <a:pt x="638" y="21"/>
                  </a:cubicBezTo>
                  <a:cubicBezTo>
                    <a:pt x="638" y="23"/>
                    <a:pt x="639" y="26"/>
                    <a:pt x="639" y="28"/>
                  </a:cubicBezTo>
                  <a:cubicBezTo>
                    <a:pt x="665" y="98"/>
                    <a:pt x="665" y="98"/>
                    <a:pt x="665" y="98"/>
                  </a:cubicBezTo>
                  <a:lnTo>
                    <a:pt x="607" y="98"/>
                  </a:lnTo>
                  <a:close/>
                  <a:moveTo>
                    <a:pt x="719" y="149"/>
                  </a:moveTo>
                  <a:cubicBezTo>
                    <a:pt x="719" y="137"/>
                    <a:pt x="719" y="137"/>
                    <a:pt x="719" y="137"/>
                  </a:cubicBezTo>
                  <a:cubicBezTo>
                    <a:pt x="729" y="144"/>
                    <a:pt x="740" y="147"/>
                    <a:pt x="751" y="147"/>
                  </a:cubicBezTo>
                  <a:cubicBezTo>
                    <a:pt x="763" y="147"/>
                    <a:pt x="772" y="145"/>
                    <a:pt x="778" y="140"/>
                  </a:cubicBezTo>
                  <a:cubicBezTo>
                    <a:pt x="785" y="135"/>
                    <a:pt x="788" y="128"/>
                    <a:pt x="788" y="120"/>
                  </a:cubicBezTo>
                  <a:cubicBezTo>
                    <a:pt x="788" y="112"/>
                    <a:pt x="786" y="106"/>
                    <a:pt x="781" y="101"/>
                  </a:cubicBezTo>
                  <a:cubicBezTo>
                    <a:pt x="777" y="96"/>
                    <a:pt x="768" y="90"/>
                    <a:pt x="755" y="82"/>
                  </a:cubicBezTo>
                  <a:cubicBezTo>
                    <a:pt x="739" y="73"/>
                    <a:pt x="730" y="66"/>
                    <a:pt x="725" y="60"/>
                  </a:cubicBezTo>
                  <a:cubicBezTo>
                    <a:pt x="721" y="54"/>
                    <a:pt x="719" y="47"/>
                    <a:pt x="719" y="39"/>
                  </a:cubicBezTo>
                  <a:cubicBezTo>
                    <a:pt x="719" y="28"/>
                    <a:pt x="724" y="19"/>
                    <a:pt x="732" y="12"/>
                  </a:cubicBezTo>
                  <a:cubicBezTo>
                    <a:pt x="740" y="4"/>
                    <a:pt x="751" y="0"/>
                    <a:pt x="765" y="0"/>
                  </a:cubicBezTo>
                  <a:cubicBezTo>
                    <a:pt x="774" y="0"/>
                    <a:pt x="783" y="2"/>
                    <a:pt x="792" y="5"/>
                  </a:cubicBezTo>
                  <a:cubicBezTo>
                    <a:pt x="792" y="16"/>
                    <a:pt x="792" y="16"/>
                    <a:pt x="792" y="16"/>
                  </a:cubicBezTo>
                  <a:cubicBezTo>
                    <a:pt x="783" y="12"/>
                    <a:pt x="774" y="10"/>
                    <a:pt x="764" y="10"/>
                  </a:cubicBezTo>
                  <a:cubicBezTo>
                    <a:pt x="753" y="10"/>
                    <a:pt x="745" y="13"/>
                    <a:pt x="739" y="18"/>
                  </a:cubicBezTo>
                  <a:cubicBezTo>
                    <a:pt x="733" y="23"/>
                    <a:pt x="730" y="30"/>
                    <a:pt x="730" y="38"/>
                  </a:cubicBezTo>
                  <a:cubicBezTo>
                    <a:pt x="730" y="45"/>
                    <a:pt x="732" y="52"/>
                    <a:pt x="736" y="56"/>
                  </a:cubicBezTo>
                  <a:cubicBezTo>
                    <a:pt x="741" y="61"/>
                    <a:pt x="749" y="67"/>
                    <a:pt x="763" y="75"/>
                  </a:cubicBezTo>
                  <a:cubicBezTo>
                    <a:pt x="777" y="83"/>
                    <a:pt x="787" y="90"/>
                    <a:pt x="791" y="96"/>
                  </a:cubicBezTo>
                  <a:cubicBezTo>
                    <a:pt x="796" y="102"/>
                    <a:pt x="798" y="110"/>
                    <a:pt x="798" y="118"/>
                  </a:cubicBezTo>
                  <a:cubicBezTo>
                    <a:pt x="798" y="129"/>
                    <a:pt x="794" y="139"/>
                    <a:pt x="786" y="146"/>
                  </a:cubicBezTo>
                  <a:cubicBezTo>
                    <a:pt x="778" y="153"/>
                    <a:pt x="767" y="157"/>
                    <a:pt x="752" y="157"/>
                  </a:cubicBezTo>
                  <a:cubicBezTo>
                    <a:pt x="747" y="157"/>
                    <a:pt x="741" y="156"/>
                    <a:pt x="734" y="155"/>
                  </a:cubicBezTo>
                  <a:cubicBezTo>
                    <a:pt x="727" y="153"/>
                    <a:pt x="722" y="151"/>
                    <a:pt x="719" y="149"/>
                  </a:cubicBezTo>
                  <a:close/>
                </a:path>
              </a:pathLst>
            </a:custGeom>
            <a:solidFill>
              <a:srgbClr val="8761C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90000"/>
                    <a:lumOff val="10000"/>
                  </a:schemeClr>
                </a:solidFill>
                <a:effectLst/>
                <a:uLnTx/>
                <a:uFillTx/>
                <a:latin typeface="Segoe UI Semilight"/>
                <a:ea typeface="+mn-ea"/>
                <a:cs typeface="Segoe UI Semilight"/>
              </a:endParaRPr>
            </a:p>
          </p:txBody>
        </p:sp>
        <p:sp>
          <p:nvSpPr>
            <p:cNvPr id="16" name="Freeform 224">
              <a:extLst>
                <a:ext uri="{FF2B5EF4-FFF2-40B4-BE49-F238E27FC236}">
                  <a16:creationId xmlns:a16="http://schemas.microsoft.com/office/drawing/2014/main" id="{37E2696D-8573-7144-7DC8-B73756FD224D}"/>
                </a:ext>
                <a:ext uri="{C183D7F6-B498-43B3-948B-1728B52AA6E4}">
                  <adec:decorative xmlns:adec="http://schemas.microsoft.com/office/drawing/2017/decorative" val="1"/>
                </a:ext>
              </a:extLst>
            </p:cNvPr>
            <p:cNvSpPr>
              <a:spLocks noEditPoints="1"/>
            </p:cNvSpPr>
            <p:nvPr/>
          </p:nvSpPr>
          <p:spPr bwMode="auto">
            <a:xfrm>
              <a:off x="2076655" y="2719697"/>
              <a:ext cx="990269" cy="282567"/>
            </a:xfrm>
            <a:custGeom>
              <a:avLst/>
              <a:gdLst>
                <a:gd name="T0" fmla="*/ 8 w 326"/>
                <a:gd name="T1" fmla="*/ 48 h 93"/>
                <a:gd name="T2" fmla="*/ 6 w 326"/>
                <a:gd name="T3" fmla="*/ 46 h 93"/>
                <a:gd name="T4" fmla="*/ 0 w 326"/>
                <a:gd name="T5" fmla="*/ 91 h 93"/>
                <a:gd name="T6" fmla="*/ 6 w 326"/>
                <a:gd name="T7" fmla="*/ 1 h 93"/>
                <a:gd name="T8" fmla="*/ 6 w 326"/>
                <a:gd name="T9" fmla="*/ 43 h 93"/>
                <a:gd name="T10" fmla="*/ 44 w 326"/>
                <a:gd name="T11" fmla="*/ 1 h 93"/>
                <a:gd name="T12" fmla="*/ 13 w 326"/>
                <a:gd name="T13" fmla="*/ 45 h 93"/>
                <a:gd name="T14" fmla="*/ 46 w 326"/>
                <a:gd name="T15" fmla="*/ 91 h 93"/>
                <a:gd name="T16" fmla="*/ 68 w 326"/>
                <a:gd name="T17" fmla="*/ 1 h 93"/>
                <a:gd name="T18" fmla="*/ 74 w 326"/>
                <a:gd name="T19" fmla="*/ 91 h 93"/>
                <a:gd name="T20" fmla="*/ 97 w 326"/>
                <a:gd name="T21" fmla="*/ 91 h 93"/>
                <a:gd name="T22" fmla="*/ 103 w 326"/>
                <a:gd name="T23" fmla="*/ 1 h 93"/>
                <a:gd name="T24" fmla="*/ 97 w 326"/>
                <a:gd name="T25" fmla="*/ 91 h 93"/>
                <a:gd name="T26" fmla="*/ 151 w 326"/>
                <a:gd name="T27" fmla="*/ 91 h 93"/>
                <a:gd name="T28" fmla="*/ 144 w 326"/>
                <a:gd name="T29" fmla="*/ 7 h 93"/>
                <a:gd name="T30" fmla="*/ 119 w 326"/>
                <a:gd name="T31" fmla="*/ 1 h 93"/>
                <a:gd name="T32" fmla="*/ 177 w 326"/>
                <a:gd name="T33" fmla="*/ 7 h 93"/>
                <a:gd name="T34" fmla="*/ 251 w 326"/>
                <a:gd name="T35" fmla="*/ 12 h 93"/>
                <a:gd name="T36" fmla="*/ 190 w 326"/>
                <a:gd name="T37" fmla="*/ 12 h 93"/>
                <a:gd name="T38" fmla="*/ 190 w 326"/>
                <a:gd name="T39" fmla="*/ 80 h 93"/>
                <a:gd name="T40" fmla="*/ 251 w 326"/>
                <a:gd name="T41" fmla="*/ 80 h 93"/>
                <a:gd name="T42" fmla="*/ 251 w 326"/>
                <a:gd name="T43" fmla="*/ 12 h 93"/>
                <a:gd name="T44" fmla="*/ 220 w 326"/>
                <a:gd name="T45" fmla="*/ 87 h 93"/>
                <a:gd name="T46" fmla="*/ 185 w 326"/>
                <a:gd name="T47" fmla="*/ 46 h 93"/>
                <a:gd name="T48" fmla="*/ 221 w 326"/>
                <a:gd name="T49" fmla="*/ 5 h 93"/>
                <a:gd name="T50" fmla="*/ 256 w 326"/>
                <a:gd name="T51" fmla="*/ 46 h 93"/>
                <a:gd name="T52" fmla="*/ 278 w 326"/>
                <a:gd name="T53" fmla="*/ 88 h 93"/>
                <a:gd name="T54" fmla="*/ 298 w 326"/>
                <a:gd name="T55" fmla="*/ 87 h 93"/>
                <a:gd name="T56" fmla="*/ 319 w 326"/>
                <a:gd name="T57" fmla="*/ 70 h 93"/>
                <a:gd name="T58" fmla="*/ 300 w 326"/>
                <a:gd name="T59" fmla="*/ 48 h 93"/>
                <a:gd name="T60" fmla="*/ 279 w 326"/>
                <a:gd name="T61" fmla="*/ 22 h 93"/>
                <a:gd name="T62" fmla="*/ 306 w 326"/>
                <a:gd name="T63" fmla="*/ 0 h 93"/>
                <a:gd name="T64" fmla="*/ 322 w 326"/>
                <a:gd name="T65" fmla="*/ 9 h 93"/>
                <a:gd name="T66" fmla="*/ 291 w 326"/>
                <a:gd name="T67" fmla="*/ 10 h 93"/>
                <a:gd name="T68" fmla="*/ 289 w 326"/>
                <a:gd name="T69" fmla="*/ 33 h 93"/>
                <a:gd name="T70" fmla="*/ 321 w 326"/>
                <a:gd name="T71" fmla="*/ 56 h 93"/>
                <a:gd name="T72" fmla="*/ 318 w 326"/>
                <a:gd name="T73" fmla="*/ 86 h 93"/>
                <a:gd name="T74" fmla="*/ 287 w 326"/>
                <a:gd name="T75"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93">
                  <a:moveTo>
                    <a:pt x="46" y="91"/>
                  </a:moveTo>
                  <a:cubicBezTo>
                    <a:pt x="8" y="48"/>
                    <a:pt x="8" y="48"/>
                    <a:pt x="8" y="48"/>
                  </a:cubicBezTo>
                  <a:cubicBezTo>
                    <a:pt x="7" y="47"/>
                    <a:pt x="7" y="46"/>
                    <a:pt x="6" y="46"/>
                  </a:cubicBezTo>
                  <a:cubicBezTo>
                    <a:pt x="6" y="46"/>
                    <a:pt x="6" y="46"/>
                    <a:pt x="6" y="46"/>
                  </a:cubicBezTo>
                  <a:cubicBezTo>
                    <a:pt x="6" y="91"/>
                    <a:pt x="6" y="91"/>
                    <a:pt x="6" y="91"/>
                  </a:cubicBezTo>
                  <a:cubicBezTo>
                    <a:pt x="0" y="91"/>
                    <a:pt x="0" y="91"/>
                    <a:pt x="0" y="91"/>
                  </a:cubicBezTo>
                  <a:cubicBezTo>
                    <a:pt x="0" y="1"/>
                    <a:pt x="0" y="1"/>
                    <a:pt x="0" y="1"/>
                  </a:cubicBezTo>
                  <a:cubicBezTo>
                    <a:pt x="6" y="1"/>
                    <a:pt x="6" y="1"/>
                    <a:pt x="6" y="1"/>
                  </a:cubicBezTo>
                  <a:cubicBezTo>
                    <a:pt x="6" y="43"/>
                    <a:pt x="6" y="43"/>
                    <a:pt x="6" y="43"/>
                  </a:cubicBezTo>
                  <a:cubicBezTo>
                    <a:pt x="6" y="43"/>
                    <a:pt x="6" y="43"/>
                    <a:pt x="6" y="43"/>
                  </a:cubicBezTo>
                  <a:cubicBezTo>
                    <a:pt x="7" y="43"/>
                    <a:pt x="7" y="42"/>
                    <a:pt x="8" y="41"/>
                  </a:cubicBezTo>
                  <a:cubicBezTo>
                    <a:pt x="44" y="1"/>
                    <a:pt x="44" y="1"/>
                    <a:pt x="44" y="1"/>
                  </a:cubicBezTo>
                  <a:cubicBezTo>
                    <a:pt x="53" y="1"/>
                    <a:pt x="53" y="1"/>
                    <a:pt x="53" y="1"/>
                  </a:cubicBezTo>
                  <a:cubicBezTo>
                    <a:pt x="13" y="45"/>
                    <a:pt x="13" y="45"/>
                    <a:pt x="13" y="45"/>
                  </a:cubicBezTo>
                  <a:cubicBezTo>
                    <a:pt x="55" y="91"/>
                    <a:pt x="55" y="91"/>
                    <a:pt x="55" y="91"/>
                  </a:cubicBezTo>
                  <a:lnTo>
                    <a:pt x="46" y="91"/>
                  </a:lnTo>
                  <a:close/>
                  <a:moveTo>
                    <a:pt x="68" y="91"/>
                  </a:moveTo>
                  <a:cubicBezTo>
                    <a:pt x="68" y="1"/>
                    <a:pt x="68" y="1"/>
                    <a:pt x="68" y="1"/>
                  </a:cubicBezTo>
                  <a:cubicBezTo>
                    <a:pt x="74" y="1"/>
                    <a:pt x="74" y="1"/>
                    <a:pt x="74" y="1"/>
                  </a:cubicBezTo>
                  <a:cubicBezTo>
                    <a:pt x="74" y="91"/>
                    <a:pt x="74" y="91"/>
                    <a:pt x="74" y="91"/>
                  </a:cubicBezTo>
                  <a:lnTo>
                    <a:pt x="68" y="91"/>
                  </a:lnTo>
                  <a:close/>
                  <a:moveTo>
                    <a:pt x="97" y="91"/>
                  </a:moveTo>
                  <a:cubicBezTo>
                    <a:pt x="97" y="1"/>
                    <a:pt x="97" y="1"/>
                    <a:pt x="97" y="1"/>
                  </a:cubicBezTo>
                  <a:cubicBezTo>
                    <a:pt x="103" y="1"/>
                    <a:pt x="103" y="1"/>
                    <a:pt x="103" y="1"/>
                  </a:cubicBezTo>
                  <a:cubicBezTo>
                    <a:pt x="103" y="91"/>
                    <a:pt x="103" y="91"/>
                    <a:pt x="103" y="91"/>
                  </a:cubicBezTo>
                  <a:lnTo>
                    <a:pt x="97" y="91"/>
                  </a:lnTo>
                  <a:close/>
                  <a:moveTo>
                    <a:pt x="151" y="7"/>
                  </a:moveTo>
                  <a:cubicBezTo>
                    <a:pt x="151" y="91"/>
                    <a:pt x="151" y="91"/>
                    <a:pt x="151" y="91"/>
                  </a:cubicBezTo>
                  <a:cubicBezTo>
                    <a:pt x="144" y="91"/>
                    <a:pt x="144" y="91"/>
                    <a:pt x="144" y="91"/>
                  </a:cubicBezTo>
                  <a:cubicBezTo>
                    <a:pt x="144" y="7"/>
                    <a:pt x="144" y="7"/>
                    <a:pt x="144" y="7"/>
                  </a:cubicBezTo>
                  <a:cubicBezTo>
                    <a:pt x="119" y="7"/>
                    <a:pt x="119" y="7"/>
                    <a:pt x="119" y="7"/>
                  </a:cubicBezTo>
                  <a:cubicBezTo>
                    <a:pt x="119" y="1"/>
                    <a:pt x="119" y="1"/>
                    <a:pt x="119" y="1"/>
                  </a:cubicBezTo>
                  <a:cubicBezTo>
                    <a:pt x="177" y="1"/>
                    <a:pt x="177" y="1"/>
                    <a:pt x="177" y="1"/>
                  </a:cubicBezTo>
                  <a:cubicBezTo>
                    <a:pt x="177" y="7"/>
                    <a:pt x="177" y="7"/>
                    <a:pt x="177" y="7"/>
                  </a:cubicBezTo>
                  <a:lnTo>
                    <a:pt x="151" y="7"/>
                  </a:lnTo>
                  <a:close/>
                  <a:moveTo>
                    <a:pt x="251" y="12"/>
                  </a:moveTo>
                  <a:cubicBezTo>
                    <a:pt x="244" y="4"/>
                    <a:pt x="234" y="0"/>
                    <a:pt x="222" y="0"/>
                  </a:cubicBezTo>
                  <a:cubicBezTo>
                    <a:pt x="208" y="0"/>
                    <a:pt x="198" y="4"/>
                    <a:pt x="190" y="12"/>
                  </a:cubicBezTo>
                  <a:cubicBezTo>
                    <a:pt x="182" y="21"/>
                    <a:pt x="178" y="33"/>
                    <a:pt x="178" y="47"/>
                  </a:cubicBezTo>
                  <a:cubicBezTo>
                    <a:pt x="178" y="60"/>
                    <a:pt x="182" y="71"/>
                    <a:pt x="190" y="80"/>
                  </a:cubicBezTo>
                  <a:cubicBezTo>
                    <a:pt x="197" y="88"/>
                    <a:pt x="207" y="93"/>
                    <a:pt x="220" y="93"/>
                  </a:cubicBezTo>
                  <a:cubicBezTo>
                    <a:pt x="233" y="93"/>
                    <a:pt x="243" y="88"/>
                    <a:pt x="251" y="80"/>
                  </a:cubicBezTo>
                  <a:cubicBezTo>
                    <a:pt x="259" y="71"/>
                    <a:pt x="263" y="60"/>
                    <a:pt x="263" y="45"/>
                  </a:cubicBezTo>
                  <a:cubicBezTo>
                    <a:pt x="263" y="31"/>
                    <a:pt x="259" y="20"/>
                    <a:pt x="251" y="12"/>
                  </a:cubicBezTo>
                  <a:close/>
                  <a:moveTo>
                    <a:pt x="246" y="76"/>
                  </a:moveTo>
                  <a:cubicBezTo>
                    <a:pt x="240" y="83"/>
                    <a:pt x="231" y="87"/>
                    <a:pt x="220" y="87"/>
                  </a:cubicBezTo>
                  <a:cubicBezTo>
                    <a:pt x="209" y="87"/>
                    <a:pt x="201" y="83"/>
                    <a:pt x="194" y="76"/>
                  </a:cubicBezTo>
                  <a:cubicBezTo>
                    <a:pt x="188" y="69"/>
                    <a:pt x="185" y="59"/>
                    <a:pt x="185" y="46"/>
                  </a:cubicBezTo>
                  <a:cubicBezTo>
                    <a:pt x="185" y="34"/>
                    <a:pt x="188" y="24"/>
                    <a:pt x="195" y="17"/>
                  </a:cubicBezTo>
                  <a:cubicBezTo>
                    <a:pt x="202" y="9"/>
                    <a:pt x="210" y="5"/>
                    <a:pt x="221" y="5"/>
                  </a:cubicBezTo>
                  <a:cubicBezTo>
                    <a:pt x="232" y="5"/>
                    <a:pt x="240" y="9"/>
                    <a:pt x="247" y="16"/>
                  </a:cubicBezTo>
                  <a:cubicBezTo>
                    <a:pt x="253" y="23"/>
                    <a:pt x="256" y="33"/>
                    <a:pt x="256" y="46"/>
                  </a:cubicBezTo>
                  <a:cubicBezTo>
                    <a:pt x="256" y="59"/>
                    <a:pt x="253" y="69"/>
                    <a:pt x="246" y="76"/>
                  </a:cubicBezTo>
                  <a:close/>
                  <a:moveTo>
                    <a:pt x="278" y="88"/>
                  </a:moveTo>
                  <a:cubicBezTo>
                    <a:pt x="278" y="81"/>
                    <a:pt x="278" y="81"/>
                    <a:pt x="278" y="81"/>
                  </a:cubicBezTo>
                  <a:cubicBezTo>
                    <a:pt x="285" y="85"/>
                    <a:pt x="291" y="87"/>
                    <a:pt x="298" y="87"/>
                  </a:cubicBezTo>
                  <a:cubicBezTo>
                    <a:pt x="305" y="87"/>
                    <a:pt x="310" y="85"/>
                    <a:pt x="314" y="83"/>
                  </a:cubicBezTo>
                  <a:cubicBezTo>
                    <a:pt x="317" y="80"/>
                    <a:pt x="319" y="76"/>
                    <a:pt x="319" y="70"/>
                  </a:cubicBezTo>
                  <a:cubicBezTo>
                    <a:pt x="319" y="66"/>
                    <a:pt x="318" y="62"/>
                    <a:pt x="316" y="59"/>
                  </a:cubicBezTo>
                  <a:cubicBezTo>
                    <a:pt x="313" y="57"/>
                    <a:pt x="308" y="53"/>
                    <a:pt x="300" y="48"/>
                  </a:cubicBezTo>
                  <a:cubicBezTo>
                    <a:pt x="291" y="43"/>
                    <a:pt x="285" y="38"/>
                    <a:pt x="282" y="35"/>
                  </a:cubicBezTo>
                  <a:cubicBezTo>
                    <a:pt x="280" y="31"/>
                    <a:pt x="279" y="27"/>
                    <a:pt x="279" y="22"/>
                  </a:cubicBezTo>
                  <a:cubicBezTo>
                    <a:pt x="279" y="16"/>
                    <a:pt x="281" y="11"/>
                    <a:pt x="286" y="6"/>
                  </a:cubicBezTo>
                  <a:cubicBezTo>
                    <a:pt x="291" y="2"/>
                    <a:pt x="298" y="0"/>
                    <a:pt x="306" y="0"/>
                  </a:cubicBezTo>
                  <a:cubicBezTo>
                    <a:pt x="311" y="0"/>
                    <a:pt x="317" y="0"/>
                    <a:pt x="322" y="2"/>
                  </a:cubicBezTo>
                  <a:cubicBezTo>
                    <a:pt x="322" y="9"/>
                    <a:pt x="322" y="9"/>
                    <a:pt x="322" y="9"/>
                  </a:cubicBezTo>
                  <a:cubicBezTo>
                    <a:pt x="317" y="6"/>
                    <a:pt x="311" y="5"/>
                    <a:pt x="305" y="5"/>
                  </a:cubicBezTo>
                  <a:cubicBezTo>
                    <a:pt x="299" y="5"/>
                    <a:pt x="294" y="7"/>
                    <a:pt x="291" y="10"/>
                  </a:cubicBezTo>
                  <a:cubicBezTo>
                    <a:pt x="287" y="13"/>
                    <a:pt x="285" y="17"/>
                    <a:pt x="285" y="22"/>
                  </a:cubicBezTo>
                  <a:cubicBezTo>
                    <a:pt x="285" y="26"/>
                    <a:pt x="286" y="30"/>
                    <a:pt x="289" y="33"/>
                  </a:cubicBezTo>
                  <a:cubicBezTo>
                    <a:pt x="291" y="35"/>
                    <a:pt x="297" y="39"/>
                    <a:pt x="305" y="44"/>
                  </a:cubicBezTo>
                  <a:cubicBezTo>
                    <a:pt x="313" y="48"/>
                    <a:pt x="319" y="53"/>
                    <a:pt x="321" y="56"/>
                  </a:cubicBezTo>
                  <a:cubicBezTo>
                    <a:pt x="324" y="60"/>
                    <a:pt x="326" y="64"/>
                    <a:pt x="326" y="69"/>
                  </a:cubicBezTo>
                  <a:cubicBezTo>
                    <a:pt x="326" y="76"/>
                    <a:pt x="323" y="82"/>
                    <a:pt x="318" y="86"/>
                  </a:cubicBezTo>
                  <a:cubicBezTo>
                    <a:pt x="314" y="90"/>
                    <a:pt x="307" y="93"/>
                    <a:pt x="298" y="93"/>
                  </a:cubicBezTo>
                  <a:cubicBezTo>
                    <a:pt x="295" y="93"/>
                    <a:pt x="291" y="92"/>
                    <a:pt x="287" y="91"/>
                  </a:cubicBezTo>
                  <a:cubicBezTo>
                    <a:pt x="283" y="90"/>
                    <a:pt x="280" y="89"/>
                    <a:pt x="278" y="88"/>
                  </a:cubicBez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 name="Freeform 225">
              <a:extLst>
                <a:ext uri="{FF2B5EF4-FFF2-40B4-BE49-F238E27FC236}">
                  <a16:creationId xmlns:a16="http://schemas.microsoft.com/office/drawing/2014/main" id="{9EC1E724-B62E-F79C-E40B-A083B75AD60D}"/>
                </a:ext>
                <a:ext uri="{C183D7F6-B498-43B3-948B-1728B52AA6E4}">
                  <adec:decorative xmlns:adec="http://schemas.microsoft.com/office/drawing/2017/decorative" val="1"/>
                </a:ext>
              </a:extLst>
            </p:cNvPr>
            <p:cNvSpPr>
              <a:spLocks noEditPoints="1"/>
            </p:cNvSpPr>
            <p:nvPr/>
          </p:nvSpPr>
          <p:spPr bwMode="auto">
            <a:xfrm>
              <a:off x="7708982" y="4214803"/>
              <a:ext cx="1408983" cy="371217"/>
            </a:xfrm>
            <a:custGeom>
              <a:avLst/>
              <a:gdLst>
                <a:gd name="T0" fmla="*/ 39 w 581"/>
                <a:gd name="T1" fmla="*/ 0 h 153"/>
                <a:gd name="T2" fmla="*/ 0 w 581"/>
                <a:gd name="T3" fmla="*/ 153 h 153"/>
                <a:gd name="T4" fmla="*/ 95 w 581"/>
                <a:gd name="T5" fmla="*/ 131 h 153"/>
                <a:gd name="T6" fmla="*/ 96 w 581"/>
                <a:gd name="T7" fmla="*/ 19 h 153"/>
                <a:gd name="T8" fmla="*/ 35 w 581"/>
                <a:gd name="T9" fmla="*/ 143 h 153"/>
                <a:gd name="T10" fmla="*/ 11 w 581"/>
                <a:gd name="T11" fmla="*/ 9 h 153"/>
                <a:gd name="T12" fmla="*/ 105 w 581"/>
                <a:gd name="T13" fmla="*/ 75 h 153"/>
                <a:gd name="T14" fmla="*/ 184 w 581"/>
                <a:gd name="T15" fmla="*/ 0 h 153"/>
                <a:gd name="T16" fmla="*/ 116 w 581"/>
                <a:gd name="T17" fmla="*/ 153 h 153"/>
                <a:gd name="T18" fmla="*/ 145 w 581"/>
                <a:gd name="T19" fmla="*/ 105 h 153"/>
                <a:gd name="T20" fmla="*/ 229 w 581"/>
                <a:gd name="T21" fmla="*/ 153 h 153"/>
                <a:gd name="T22" fmla="*/ 184 w 581"/>
                <a:gd name="T23" fmla="*/ 0 h 153"/>
                <a:gd name="T24" fmla="*/ 174 w 581"/>
                <a:gd name="T25" fmla="*/ 24 h 153"/>
                <a:gd name="T26" fmla="*/ 178 w 581"/>
                <a:gd name="T27" fmla="*/ 13 h 153"/>
                <a:gd name="T28" fmla="*/ 182 w 581"/>
                <a:gd name="T29" fmla="*/ 25 h 153"/>
                <a:gd name="T30" fmla="*/ 149 w 581"/>
                <a:gd name="T31" fmla="*/ 95 h 153"/>
                <a:gd name="T32" fmla="*/ 271 w 581"/>
                <a:gd name="T33" fmla="*/ 29 h 153"/>
                <a:gd name="T34" fmla="*/ 264 w 581"/>
                <a:gd name="T35" fmla="*/ 19 h 153"/>
                <a:gd name="T36" fmla="*/ 264 w 581"/>
                <a:gd name="T37" fmla="*/ 26 h 153"/>
                <a:gd name="T38" fmla="*/ 254 w 581"/>
                <a:gd name="T39" fmla="*/ 153 h 153"/>
                <a:gd name="T40" fmla="*/ 262 w 581"/>
                <a:gd name="T41" fmla="*/ 0 h 153"/>
                <a:gd name="T42" fmla="*/ 359 w 581"/>
                <a:gd name="T43" fmla="*/ 132 h 153"/>
                <a:gd name="T44" fmla="*/ 359 w 581"/>
                <a:gd name="T45" fmla="*/ 119 h 153"/>
                <a:gd name="T46" fmla="*/ 369 w 581"/>
                <a:gd name="T47" fmla="*/ 0 h 153"/>
                <a:gd name="T48" fmla="*/ 362 w 581"/>
                <a:gd name="T49" fmla="*/ 153 h 153"/>
                <a:gd name="T50" fmla="*/ 409 w 581"/>
                <a:gd name="T51" fmla="*/ 80 h 153"/>
                <a:gd name="T52" fmla="*/ 406 w 581"/>
                <a:gd name="T53" fmla="*/ 76 h 153"/>
                <a:gd name="T54" fmla="*/ 395 w 581"/>
                <a:gd name="T55" fmla="*/ 153 h 153"/>
                <a:gd name="T56" fmla="*/ 406 w 581"/>
                <a:gd name="T57" fmla="*/ 0 h 153"/>
                <a:gd name="T58" fmla="*/ 406 w 581"/>
                <a:gd name="T59" fmla="*/ 72 h 153"/>
                <a:gd name="T60" fmla="*/ 471 w 581"/>
                <a:gd name="T61" fmla="*/ 0 h 153"/>
                <a:gd name="T62" fmla="*/ 418 w 581"/>
                <a:gd name="T63" fmla="*/ 74 h 153"/>
                <a:gd name="T64" fmla="*/ 474 w 581"/>
                <a:gd name="T65" fmla="*/ 153 h 153"/>
                <a:gd name="T66" fmla="*/ 506 w 581"/>
                <a:gd name="T67" fmla="*/ 0 h 153"/>
                <a:gd name="T68" fmla="*/ 578 w 581"/>
                <a:gd name="T69" fmla="*/ 9 h 153"/>
                <a:gd name="T70" fmla="*/ 517 w 581"/>
                <a:gd name="T71" fmla="*/ 71 h 153"/>
                <a:gd name="T72" fmla="*/ 573 w 581"/>
                <a:gd name="T73" fmla="*/ 80 h 153"/>
                <a:gd name="T74" fmla="*/ 517 w 581"/>
                <a:gd name="T75" fmla="*/ 143 h 153"/>
                <a:gd name="T76" fmla="*/ 581 w 581"/>
                <a:gd name="T7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1" h="153">
                  <a:moveTo>
                    <a:pt x="96" y="19"/>
                  </a:moveTo>
                  <a:cubicBezTo>
                    <a:pt x="83" y="6"/>
                    <a:pt x="64" y="0"/>
                    <a:pt x="39" y="0"/>
                  </a:cubicBezTo>
                  <a:cubicBezTo>
                    <a:pt x="0" y="0"/>
                    <a:pt x="0" y="0"/>
                    <a:pt x="0" y="0"/>
                  </a:cubicBezTo>
                  <a:cubicBezTo>
                    <a:pt x="0" y="153"/>
                    <a:pt x="0" y="153"/>
                    <a:pt x="0" y="153"/>
                  </a:cubicBezTo>
                  <a:cubicBezTo>
                    <a:pt x="36" y="153"/>
                    <a:pt x="36" y="153"/>
                    <a:pt x="36" y="153"/>
                  </a:cubicBezTo>
                  <a:cubicBezTo>
                    <a:pt x="61" y="153"/>
                    <a:pt x="81" y="146"/>
                    <a:pt x="95" y="131"/>
                  </a:cubicBezTo>
                  <a:cubicBezTo>
                    <a:pt x="109" y="116"/>
                    <a:pt x="116" y="97"/>
                    <a:pt x="116" y="74"/>
                  </a:cubicBezTo>
                  <a:cubicBezTo>
                    <a:pt x="116" y="50"/>
                    <a:pt x="110" y="31"/>
                    <a:pt x="96" y="19"/>
                  </a:cubicBezTo>
                  <a:close/>
                  <a:moveTo>
                    <a:pt x="87" y="126"/>
                  </a:moveTo>
                  <a:cubicBezTo>
                    <a:pt x="75" y="137"/>
                    <a:pt x="57" y="143"/>
                    <a:pt x="35" y="143"/>
                  </a:cubicBezTo>
                  <a:cubicBezTo>
                    <a:pt x="11" y="143"/>
                    <a:pt x="11" y="143"/>
                    <a:pt x="11" y="143"/>
                  </a:cubicBezTo>
                  <a:cubicBezTo>
                    <a:pt x="11" y="9"/>
                    <a:pt x="11" y="9"/>
                    <a:pt x="11" y="9"/>
                  </a:cubicBezTo>
                  <a:cubicBezTo>
                    <a:pt x="37" y="9"/>
                    <a:pt x="37" y="9"/>
                    <a:pt x="37" y="9"/>
                  </a:cubicBezTo>
                  <a:cubicBezTo>
                    <a:pt x="83" y="9"/>
                    <a:pt x="105" y="31"/>
                    <a:pt x="105" y="75"/>
                  </a:cubicBezTo>
                  <a:cubicBezTo>
                    <a:pt x="105" y="97"/>
                    <a:pt x="99" y="114"/>
                    <a:pt x="87" y="126"/>
                  </a:cubicBezTo>
                  <a:close/>
                  <a:moveTo>
                    <a:pt x="184" y="0"/>
                  </a:moveTo>
                  <a:cubicBezTo>
                    <a:pt x="174" y="0"/>
                    <a:pt x="174" y="0"/>
                    <a:pt x="174" y="0"/>
                  </a:cubicBezTo>
                  <a:cubicBezTo>
                    <a:pt x="116" y="153"/>
                    <a:pt x="116" y="153"/>
                    <a:pt x="116" y="153"/>
                  </a:cubicBezTo>
                  <a:cubicBezTo>
                    <a:pt x="127" y="153"/>
                    <a:pt x="127" y="153"/>
                    <a:pt x="127" y="153"/>
                  </a:cubicBezTo>
                  <a:cubicBezTo>
                    <a:pt x="145" y="105"/>
                    <a:pt x="145" y="105"/>
                    <a:pt x="145" y="105"/>
                  </a:cubicBezTo>
                  <a:cubicBezTo>
                    <a:pt x="211" y="105"/>
                    <a:pt x="211" y="105"/>
                    <a:pt x="211" y="105"/>
                  </a:cubicBezTo>
                  <a:cubicBezTo>
                    <a:pt x="229" y="153"/>
                    <a:pt x="229" y="153"/>
                    <a:pt x="229" y="153"/>
                  </a:cubicBezTo>
                  <a:cubicBezTo>
                    <a:pt x="241" y="153"/>
                    <a:pt x="241" y="153"/>
                    <a:pt x="241" y="153"/>
                  </a:cubicBezTo>
                  <a:lnTo>
                    <a:pt x="184" y="0"/>
                  </a:lnTo>
                  <a:close/>
                  <a:moveTo>
                    <a:pt x="149" y="95"/>
                  </a:moveTo>
                  <a:cubicBezTo>
                    <a:pt x="174" y="24"/>
                    <a:pt x="174" y="24"/>
                    <a:pt x="174" y="24"/>
                  </a:cubicBezTo>
                  <a:cubicBezTo>
                    <a:pt x="176" y="22"/>
                    <a:pt x="177" y="18"/>
                    <a:pt x="178" y="13"/>
                  </a:cubicBezTo>
                  <a:cubicBezTo>
                    <a:pt x="178" y="13"/>
                    <a:pt x="178" y="13"/>
                    <a:pt x="178" y="13"/>
                  </a:cubicBezTo>
                  <a:cubicBezTo>
                    <a:pt x="179" y="15"/>
                    <a:pt x="179" y="17"/>
                    <a:pt x="180" y="18"/>
                  </a:cubicBezTo>
                  <a:cubicBezTo>
                    <a:pt x="180" y="20"/>
                    <a:pt x="181" y="23"/>
                    <a:pt x="182" y="25"/>
                  </a:cubicBezTo>
                  <a:cubicBezTo>
                    <a:pt x="208" y="95"/>
                    <a:pt x="208" y="95"/>
                    <a:pt x="208" y="95"/>
                  </a:cubicBezTo>
                  <a:lnTo>
                    <a:pt x="149" y="95"/>
                  </a:lnTo>
                  <a:close/>
                  <a:moveTo>
                    <a:pt x="362" y="153"/>
                  </a:moveTo>
                  <a:cubicBezTo>
                    <a:pt x="271" y="29"/>
                    <a:pt x="271" y="29"/>
                    <a:pt x="271" y="29"/>
                  </a:cubicBezTo>
                  <a:cubicBezTo>
                    <a:pt x="269" y="27"/>
                    <a:pt x="267" y="24"/>
                    <a:pt x="266" y="22"/>
                  </a:cubicBezTo>
                  <a:cubicBezTo>
                    <a:pt x="264" y="19"/>
                    <a:pt x="264" y="19"/>
                    <a:pt x="264" y="19"/>
                  </a:cubicBezTo>
                  <a:cubicBezTo>
                    <a:pt x="264" y="19"/>
                    <a:pt x="264" y="19"/>
                    <a:pt x="264" y="19"/>
                  </a:cubicBezTo>
                  <a:cubicBezTo>
                    <a:pt x="264" y="21"/>
                    <a:pt x="264" y="24"/>
                    <a:pt x="264" y="26"/>
                  </a:cubicBezTo>
                  <a:cubicBezTo>
                    <a:pt x="264" y="153"/>
                    <a:pt x="264" y="153"/>
                    <a:pt x="264" y="153"/>
                  </a:cubicBezTo>
                  <a:cubicBezTo>
                    <a:pt x="254" y="153"/>
                    <a:pt x="254" y="153"/>
                    <a:pt x="254" y="153"/>
                  </a:cubicBezTo>
                  <a:cubicBezTo>
                    <a:pt x="254" y="0"/>
                    <a:pt x="254" y="0"/>
                    <a:pt x="254" y="0"/>
                  </a:cubicBezTo>
                  <a:cubicBezTo>
                    <a:pt x="262" y="0"/>
                    <a:pt x="262" y="0"/>
                    <a:pt x="262" y="0"/>
                  </a:cubicBezTo>
                  <a:cubicBezTo>
                    <a:pt x="352" y="122"/>
                    <a:pt x="352" y="122"/>
                    <a:pt x="352" y="122"/>
                  </a:cubicBezTo>
                  <a:cubicBezTo>
                    <a:pt x="354" y="125"/>
                    <a:pt x="356" y="128"/>
                    <a:pt x="359" y="132"/>
                  </a:cubicBezTo>
                  <a:cubicBezTo>
                    <a:pt x="359" y="132"/>
                    <a:pt x="359" y="132"/>
                    <a:pt x="359" y="132"/>
                  </a:cubicBezTo>
                  <a:cubicBezTo>
                    <a:pt x="359" y="127"/>
                    <a:pt x="359" y="123"/>
                    <a:pt x="359" y="119"/>
                  </a:cubicBezTo>
                  <a:cubicBezTo>
                    <a:pt x="359" y="0"/>
                    <a:pt x="359" y="0"/>
                    <a:pt x="359" y="0"/>
                  </a:cubicBezTo>
                  <a:cubicBezTo>
                    <a:pt x="369" y="0"/>
                    <a:pt x="369" y="0"/>
                    <a:pt x="369" y="0"/>
                  </a:cubicBezTo>
                  <a:cubicBezTo>
                    <a:pt x="369" y="153"/>
                    <a:pt x="369" y="153"/>
                    <a:pt x="369" y="153"/>
                  </a:cubicBezTo>
                  <a:lnTo>
                    <a:pt x="362" y="153"/>
                  </a:lnTo>
                  <a:close/>
                  <a:moveTo>
                    <a:pt x="474" y="153"/>
                  </a:moveTo>
                  <a:cubicBezTo>
                    <a:pt x="409" y="80"/>
                    <a:pt x="409" y="80"/>
                    <a:pt x="409" y="80"/>
                  </a:cubicBezTo>
                  <a:cubicBezTo>
                    <a:pt x="408" y="78"/>
                    <a:pt x="407" y="77"/>
                    <a:pt x="406" y="76"/>
                  </a:cubicBezTo>
                  <a:cubicBezTo>
                    <a:pt x="406" y="76"/>
                    <a:pt x="406" y="76"/>
                    <a:pt x="406" y="76"/>
                  </a:cubicBezTo>
                  <a:cubicBezTo>
                    <a:pt x="406" y="153"/>
                    <a:pt x="406" y="153"/>
                    <a:pt x="406" y="153"/>
                  </a:cubicBezTo>
                  <a:cubicBezTo>
                    <a:pt x="395" y="153"/>
                    <a:pt x="395" y="153"/>
                    <a:pt x="395" y="153"/>
                  </a:cubicBezTo>
                  <a:cubicBezTo>
                    <a:pt x="395" y="0"/>
                    <a:pt x="395" y="0"/>
                    <a:pt x="395" y="0"/>
                  </a:cubicBezTo>
                  <a:cubicBezTo>
                    <a:pt x="406" y="0"/>
                    <a:pt x="406" y="0"/>
                    <a:pt x="406" y="0"/>
                  </a:cubicBezTo>
                  <a:cubicBezTo>
                    <a:pt x="406" y="72"/>
                    <a:pt x="406" y="72"/>
                    <a:pt x="406" y="72"/>
                  </a:cubicBezTo>
                  <a:cubicBezTo>
                    <a:pt x="406" y="72"/>
                    <a:pt x="406" y="72"/>
                    <a:pt x="406" y="72"/>
                  </a:cubicBezTo>
                  <a:cubicBezTo>
                    <a:pt x="407" y="70"/>
                    <a:pt x="408" y="69"/>
                    <a:pt x="409" y="68"/>
                  </a:cubicBezTo>
                  <a:cubicBezTo>
                    <a:pt x="471" y="0"/>
                    <a:pt x="471" y="0"/>
                    <a:pt x="471" y="0"/>
                  </a:cubicBezTo>
                  <a:cubicBezTo>
                    <a:pt x="485" y="0"/>
                    <a:pt x="485" y="0"/>
                    <a:pt x="485" y="0"/>
                  </a:cubicBezTo>
                  <a:cubicBezTo>
                    <a:pt x="418" y="74"/>
                    <a:pt x="418" y="74"/>
                    <a:pt x="418" y="74"/>
                  </a:cubicBezTo>
                  <a:cubicBezTo>
                    <a:pt x="489" y="153"/>
                    <a:pt x="489" y="153"/>
                    <a:pt x="489" y="153"/>
                  </a:cubicBezTo>
                  <a:lnTo>
                    <a:pt x="474" y="153"/>
                  </a:lnTo>
                  <a:close/>
                  <a:moveTo>
                    <a:pt x="506" y="153"/>
                  </a:moveTo>
                  <a:cubicBezTo>
                    <a:pt x="506" y="0"/>
                    <a:pt x="506" y="0"/>
                    <a:pt x="506" y="0"/>
                  </a:cubicBezTo>
                  <a:cubicBezTo>
                    <a:pt x="578" y="0"/>
                    <a:pt x="578" y="0"/>
                    <a:pt x="578" y="0"/>
                  </a:cubicBezTo>
                  <a:cubicBezTo>
                    <a:pt x="578" y="9"/>
                    <a:pt x="578" y="9"/>
                    <a:pt x="578" y="9"/>
                  </a:cubicBezTo>
                  <a:cubicBezTo>
                    <a:pt x="517" y="9"/>
                    <a:pt x="517" y="9"/>
                    <a:pt x="517" y="9"/>
                  </a:cubicBezTo>
                  <a:cubicBezTo>
                    <a:pt x="517" y="71"/>
                    <a:pt x="517" y="71"/>
                    <a:pt x="517" y="71"/>
                  </a:cubicBezTo>
                  <a:cubicBezTo>
                    <a:pt x="573" y="71"/>
                    <a:pt x="573" y="71"/>
                    <a:pt x="573" y="71"/>
                  </a:cubicBezTo>
                  <a:cubicBezTo>
                    <a:pt x="573" y="80"/>
                    <a:pt x="573" y="80"/>
                    <a:pt x="573" y="80"/>
                  </a:cubicBezTo>
                  <a:cubicBezTo>
                    <a:pt x="517" y="80"/>
                    <a:pt x="517" y="80"/>
                    <a:pt x="517" y="80"/>
                  </a:cubicBezTo>
                  <a:cubicBezTo>
                    <a:pt x="517" y="143"/>
                    <a:pt x="517" y="143"/>
                    <a:pt x="517" y="143"/>
                  </a:cubicBezTo>
                  <a:cubicBezTo>
                    <a:pt x="581" y="143"/>
                    <a:pt x="581" y="143"/>
                    <a:pt x="581" y="143"/>
                  </a:cubicBezTo>
                  <a:cubicBezTo>
                    <a:pt x="581" y="153"/>
                    <a:pt x="581" y="153"/>
                    <a:pt x="581" y="153"/>
                  </a:cubicBezTo>
                  <a:lnTo>
                    <a:pt x="506" y="153"/>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8" name="Freeform 226">
              <a:extLst>
                <a:ext uri="{FF2B5EF4-FFF2-40B4-BE49-F238E27FC236}">
                  <a16:creationId xmlns:a16="http://schemas.microsoft.com/office/drawing/2014/main" id="{AB4897B4-0874-4CED-B0AB-08CF10F0F903}"/>
                </a:ext>
                <a:ext uri="{C183D7F6-B498-43B3-948B-1728B52AA6E4}">
                  <adec:decorative xmlns:adec="http://schemas.microsoft.com/office/drawing/2017/decorative" val="1"/>
                </a:ext>
              </a:extLst>
            </p:cNvPr>
            <p:cNvSpPr>
              <a:spLocks noEditPoints="1"/>
            </p:cNvSpPr>
            <p:nvPr/>
          </p:nvSpPr>
          <p:spPr bwMode="auto">
            <a:xfrm>
              <a:off x="5951530" y="2362867"/>
              <a:ext cx="629355" cy="292843"/>
            </a:xfrm>
            <a:custGeom>
              <a:avLst/>
              <a:gdLst>
                <a:gd name="T0" fmla="*/ 34 w 207"/>
                <a:gd name="T1" fmla="*/ 6 h 96"/>
                <a:gd name="T2" fmla="*/ 34 w 207"/>
                <a:gd name="T3" fmla="*/ 96 h 96"/>
                <a:gd name="T4" fmla="*/ 27 w 207"/>
                <a:gd name="T5" fmla="*/ 96 h 96"/>
                <a:gd name="T6" fmla="*/ 27 w 207"/>
                <a:gd name="T7" fmla="*/ 6 h 96"/>
                <a:gd name="T8" fmla="*/ 0 w 207"/>
                <a:gd name="T9" fmla="*/ 6 h 96"/>
                <a:gd name="T10" fmla="*/ 0 w 207"/>
                <a:gd name="T11" fmla="*/ 0 h 96"/>
                <a:gd name="T12" fmla="*/ 62 w 207"/>
                <a:gd name="T13" fmla="*/ 0 h 96"/>
                <a:gd name="T14" fmla="*/ 62 w 207"/>
                <a:gd name="T15" fmla="*/ 6 h 96"/>
                <a:gd name="T16" fmla="*/ 34 w 207"/>
                <a:gd name="T17" fmla="*/ 6 h 96"/>
                <a:gd name="T18" fmla="*/ 97 w 207"/>
                <a:gd name="T19" fmla="*/ 0 h 96"/>
                <a:gd name="T20" fmla="*/ 90 w 207"/>
                <a:gd name="T21" fmla="*/ 0 h 96"/>
                <a:gd name="T22" fmla="*/ 54 w 207"/>
                <a:gd name="T23" fmla="*/ 96 h 96"/>
                <a:gd name="T24" fmla="*/ 61 w 207"/>
                <a:gd name="T25" fmla="*/ 96 h 96"/>
                <a:gd name="T26" fmla="*/ 72 w 207"/>
                <a:gd name="T27" fmla="*/ 66 h 96"/>
                <a:gd name="T28" fmla="*/ 114 w 207"/>
                <a:gd name="T29" fmla="*/ 66 h 96"/>
                <a:gd name="T30" fmla="*/ 125 w 207"/>
                <a:gd name="T31" fmla="*/ 96 h 96"/>
                <a:gd name="T32" fmla="*/ 132 w 207"/>
                <a:gd name="T33" fmla="*/ 96 h 96"/>
                <a:gd name="T34" fmla="*/ 97 w 207"/>
                <a:gd name="T35" fmla="*/ 0 h 96"/>
                <a:gd name="T36" fmla="*/ 75 w 207"/>
                <a:gd name="T37" fmla="*/ 60 h 96"/>
                <a:gd name="T38" fmla="*/ 91 w 207"/>
                <a:gd name="T39" fmla="*/ 16 h 96"/>
                <a:gd name="T40" fmla="*/ 93 w 207"/>
                <a:gd name="T41" fmla="*/ 9 h 96"/>
                <a:gd name="T42" fmla="*/ 93 w 207"/>
                <a:gd name="T43" fmla="*/ 9 h 96"/>
                <a:gd name="T44" fmla="*/ 94 w 207"/>
                <a:gd name="T45" fmla="*/ 12 h 96"/>
                <a:gd name="T46" fmla="*/ 95 w 207"/>
                <a:gd name="T47" fmla="*/ 16 h 96"/>
                <a:gd name="T48" fmla="*/ 112 w 207"/>
                <a:gd name="T49" fmla="*/ 60 h 96"/>
                <a:gd name="T50" fmla="*/ 75 w 207"/>
                <a:gd name="T51" fmla="*/ 60 h 96"/>
                <a:gd name="T52" fmla="*/ 198 w 207"/>
                <a:gd name="T53" fmla="*/ 96 h 96"/>
                <a:gd name="T54" fmla="*/ 157 w 207"/>
                <a:gd name="T55" fmla="*/ 50 h 96"/>
                <a:gd name="T56" fmla="*/ 156 w 207"/>
                <a:gd name="T57" fmla="*/ 48 h 96"/>
                <a:gd name="T58" fmla="*/ 155 w 207"/>
                <a:gd name="T59" fmla="*/ 48 h 96"/>
                <a:gd name="T60" fmla="*/ 155 w 207"/>
                <a:gd name="T61" fmla="*/ 96 h 96"/>
                <a:gd name="T62" fmla="*/ 149 w 207"/>
                <a:gd name="T63" fmla="*/ 96 h 96"/>
                <a:gd name="T64" fmla="*/ 149 w 207"/>
                <a:gd name="T65" fmla="*/ 0 h 96"/>
                <a:gd name="T66" fmla="*/ 155 w 207"/>
                <a:gd name="T67" fmla="*/ 0 h 96"/>
                <a:gd name="T68" fmla="*/ 155 w 207"/>
                <a:gd name="T69" fmla="*/ 45 h 96"/>
                <a:gd name="T70" fmla="*/ 156 w 207"/>
                <a:gd name="T71" fmla="*/ 45 h 96"/>
                <a:gd name="T72" fmla="*/ 157 w 207"/>
                <a:gd name="T73" fmla="*/ 43 h 96"/>
                <a:gd name="T74" fmla="*/ 196 w 207"/>
                <a:gd name="T75" fmla="*/ 0 h 96"/>
                <a:gd name="T76" fmla="*/ 205 w 207"/>
                <a:gd name="T77" fmla="*/ 0 h 96"/>
                <a:gd name="T78" fmla="*/ 163 w 207"/>
                <a:gd name="T79" fmla="*/ 47 h 96"/>
                <a:gd name="T80" fmla="*/ 207 w 207"/>
                <a:gd name="T81" fmla="*/ 96 h 96"/>
                <a:gd name="T82" fmla="*/ 198 w 207"/>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7" h="96">
                  <a:moveTo>
                    <a:pt x="34" y="6"/>
                  </a:moveTo>
                  <a:cubicBezTo>
                    <a:pt x="34" y="96"/>
                    <a:pt x="34" y="96"/>
                    <a:pt x="34" y="96"/>
                  </a:cubicBezTo>
                  <a:cubicBezTo>
                    <a:pt x="27" y="96"/>
                    <a:pt x="27" y="96"/>
                    <a:pt x="27" y="96"/>
                  </a:cubicBezTo>
                  <a:cubicBezTo>
                    <a:pt x="27" y="6"/>
                    <a:pt x="27" y="6"/>
                    <a:pt x="27" y="6"/>
                  </a:cubicBezTo>
                  <a:cubicBezTo>
                    <a:pt x="0" y="6"/>
                    <a:pt x="0" y="6"/>
                    <a:pt x="0" y="6"/>
                  </a:cubicBezTo>
                  <a:cubicBezTo>
                    <a:pt x="0" y="0"/>
                    <a:pt x="0" y="0"/>
                    <a:pt x="0" y="0"/>
                  </a:cubicBezTo>
                  <a:cubicBezTo>
                    <a:pt x="62" y="0"/>
                    <a:pt x="62" y="0"/>
                    <a:pt x="62" y="0"/>
                  </a:cubicBezTo>
                  <a:cubicBezTo>
                    <a:pt x="62" y="6"/>
                    <a:pt x="62" y="6"/>
                    <a:pt x="62" y="6"/>
                  </a:cubicBezTo>
                  <a:lnTo>
                    <a:pt x="34" y="6"/>
                  </a:lnTo>
                  <a:close/>
                  <a:moveTo>
                    <a:pt x="97" y="0"/>
                  </a:moveTo>
                  <a:cubicBezTo>
                    <a:pt x="90" y="0"/>
                    <a:pt x="90" y="0"/>
                    <a:pt x="90" y="0"/>
                  </a:cubicBezTo>
                  <a:cubicBezTo>
                    <a:pt x="54" y="96"/>
                    <a:pt x="54" y="96"/>
                    <a:pt x="54" y="96"/>
                  </a:cubicBezTo>
                  <a:cubicBezTo>
                    <a:pt x="61" y="96"/>
                    <a:pt x="61" y="96"/>
                    <a:pt x="61" y="96"/>
                  </a:cubicBezTo>
                  <a:cubicBezTo>
                    <a:pt x="72" y="66"/>
                    <a:pt x="72" y="66"/>
                    <a:pt x="72" y="66"/>
                  </a:cubicBezTo>
                  <a:cubicBezTo>
                    <a:pt x="114" y="66"/>
                    <a:pt x="114" y="66"/>
                    <a:pt x="114" y="66"/>
                  </a:cubicBezTo>
                  <a:cubicBezTo>
                    <a:pt x="125" y="96"/>
                    <a:pt x="125" y="96"/>
                    <a:pt x="125" y="96"/>
                  </a:cubicBezTo>
                  <a:cubicBezTo>
                    <a:pt x="132" y="96"/>
                    <a:pt x="132" y="96"/>
                    <a:pt x="132" y="96"/>
                  </a:cubicBezTo>
                  <a:lnTo>
                    <a:pt x="97" y="0"/>
                  </a:lnTo>
                  <a:close/>
                  <a:moveTo>
                    <a:pt x="75" y="60"/>
                  </a:moveTo>
                  <a:cubicBezTo>
                    <a:pt x="91" y="16"/>
                    <a:pt x="91" y="16"/>
                    <a:pt x="91" y="16"/>
                  </a:cubicBezTo>
                  <a:cubicBezTo>
                    <a:pt x="92" y="14"/>
                    <a:pt x="92" y="12"/>
                    <a:pt x="93" y="9"/>
                  </a:cubicBezTo>
                  <a:cubicBezTo>
                    <a:pt x="93" y="9"/>
                    <a:pt x="93" y="9"/>
                    <a:pt x="93" y="9"/>
                  </a:cubicBezTo>
                  <a:cubicBezTo>
                    <a:pt x="94" y="10"/>
                    <a:pt x="94" y="11"/>
                    <a:pt x="94" y="12"/>
                  </a:cubicBezTo>
                  <a:cubicBezTo>
                    <a:pt x="95" y="13"/>
                    <a:pt x="95" y="15"/>
                    <a:pt x="95" y="16"/>
                  </a:cubicBezTo>
                  <a:cubicBezTo>
                    <a:pt x="112" y="60"/>
                    <a:pt x="112" y="60"/>
                    <a:pt x="112" y="60"/>
                  </a:cubicBezTo>
                  <a:lnTo>
                    <a:pt x="75" y="60"/>
                  </a:lnTo>
                  <a:close/>
                  <a:moveTo>
                    <a:pt x="198" y="96"/>
                  </a:moveTo>
                  <a:cubicBezTo>
                    <a:pt x="157" y="50"/>
                    <a:pt x="157" y="50"/>
                    <a:pt x="157" y="50"/>
                  </a:cubicBezTo>
                  <a:cubicBezTo>
                    <a:pt x="156" y="49"/>
                    <a:pt x="156" y="49"/>
                    <a:pt x="156" y="48"/>
                  </a:cubicBezTo>
                  <a:cubicBezTo>
                    <a:pt x="155" y="48"/>
                    <a:pt x="155" y="48"/>
                    <a:pt x="155" y="48"/>
                  </a:cubicBezTo>
                  <a:cubicBezTo>
                    <a:pt x="155" y="96"/>
                    <a:pt x="155" y="96"/>
                    <a:pt x="155" y="96"/>
                  </a:cubicBezTo>
                  <a:cubicBezTo>
                    <a:pt x="149" y="96"/>
                    <a:pt x="149" y="96"/>
                    <a:pt x="149" y="96"/>
                  </a:cubicBezTo>
                  <a:cubicBezTo>
                    <a:pt x="149" y="0"/>
                    <a:pt x="149" y="0"/>
                    <a:pt x="149" y="0"/>
                  </a:cubicBezTo>
                  <a:cubicBezTo>
                    <a:pt x="155" y="0"/>
                    <a:pt x="155" y="0"/>
                    <a:pt x="155" y="0"/>
                  </a:cubicBezTo>
                  <a:cubicBezTo>
                    <a:pt x="155" y="45"/>
                    <a:pt x="155" y="45"/>
                    <a:pt x="155" y="45"/>
                  </a:cubicBezTo>
                  <a:cubicBezTo>
                    <a:pt x="156" y="45"/>
                    <a:pt x="156" y="45"/>
                    <a:pt x="156" y="45"/>
                  </a:cubicBezTo>
                  <a:cubicBezTo>
                    <a:pt x="156" y="45"/>
                    <a:pt x="157" y="44"/>
                    <a:pt x="157" y="43"/>
                  </a:cubicBezTo>
                  <a:cubicBezTo>
                    <a:pt x="196" y="0"/>
                    <a:pt x="196" y="0"/>
                    <a:pt x="196" y="0"/>
                  </a:cubicBezTo>
                  <a:cubicBezTo>
                    <a:pt x="205" y="0"/>
                    <a:pt x="205" y="0"/>
                    <a:pt x="205" y="0"/>
                  </a:cubicBezTo>
                  <a:cubicBezTo>
                    <a:pt x="163" y="47"/>
                    <a:pt x="163" y="47"/>
                    <a:pt x="163" y="47"/>
                  </a:cubicBezTo>
                  <a:cubicBezTo>
                    <a:pt x="207" y="96"/>
                    <a:pt x="207" y="96"/>
                    <a:pt x="207" y="96"/>
                  </a:cubicBezTo>
                  <a:lnTo>
                    <a:pt x="198" y="96"/>
                  </a:ln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9" name="Freeform 227">
              <a:extLst>
                <a:ext uri="{FF2B5EF4-FFF2-40B4-BE49-F238E27FC236}">
                  <a16:creationId xmlns:a16="http://schemas.microsoft.com/office/drawing/2014/main" id="{DC91E3E9-1A25-49D0-5F65-106F429B8006}"/>
                </a:ext>
                <a:ext uri="{C183D7F6-B498-43B3-948B-1728B52AA6E4}">
                  <adec:decorative xmlns:adec="http://schemas.microsoft.com/office/drawing/2017/decorative" val="1"/>
                </a:ext>
              </a:extLst>
            </p:cNvPr>
            <p:cNvSpPr>
              <a:spLocks noEditPoints="1"/>
            </p:cNvSpPr>
            <p:nvPr/>
          </p:nvSpPr>
          <p:spPr bwMode="auto">
            <a:xfrm>
              <a:off x="6514730" y="1804137"/>
              <a:ext cx="1557973" cy="222200"/>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0" name="Freeform 229">
              <a:extLst>
                <a:ext uri="{FF2B5EF4-FFF2-40B4-BE49-F238E27FC236}">
                  <a16:creationId xmlns:a16="http://schemas.microsoft.com/office/drawing/2014/main" id="{B66574FF-C293-B228-CF74-A679148F4391}"/>
                </a:ext>
                <a:ext uri="{C183D7F6-B498-43B3-948B-1728B52AA6E4}">
                  <adec:decorative xmlns:adec="http://schemas.microsoft.com/office/drawing/2017/decorative" val="1"/>
                </a:ext>
              </a:extLst>
            </p:cNvPr>
            <p:cNvSpPr>
              <a:spLocks noEditPoints="1"/>
            </p:cNvSpPr>
            <p:nvPr/>
          </p:nvSpPr>
          <p:spPr bwMode="auto">
            <a:xfrm rot="16200000">
              <a:off x="9594955" y="3334053"/>
              <a:ext cx="162367" cy="1082779"/>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solidFill>
              <a:srgbClr val="BB9575"/>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1" name="Freeform 230">
              <a:extLst>
                <a:ext uri="{FF2B5EF4-FFF2-40B4-BE49-F238E27FC236}">
                  <a16:creationId xmlns:a16="http://schemas.microsoft.com/office/drawing/2014/main" id="{F6341E86-9697-D970-30FB-452F76CE5B21}"/>
                </a:ext>
                <a:ext uri="{C183D7F6-B498-43B3-948B-1728B52AA6E4}">
                  <adec:decorative xmlns:adec="http://schemas.microsoft.com/office/drawing/2017/decorative" val="1"/>
                </a:ext>
              </a:extLst>
            </p:cNvPr>
            <p:cNvSpPr>
              <a:spLocks noEditPoints="1"/>
            </p:cNvSpPr>
            <p:nvPr/>
          </p:nvSpPr>
          <p:spPr bwMode="auto">
            <a:xfrm>
              <a:off x="9116212" y="1833507"/>
              <a:ext cx="1045498" cy="495776"/>
            </a:xfrm>
            <a:custGeom>
              <a:avLst/>
              <a:gdLst>
                <a:gd name="T0" fmla="*/ 38 w 344"/>
                <a:gd name="T1" fmla="*/ 56 h 163"/>
                <a:gd name="T2" fmla="*/ 50 w 344"/>
                <a:gd name="T3" fmla="*/ 114 h 163"/>
                <a:gd name="T4" fmla="*/ 20 w 344"/>
                <a:gd name="T5" fmla="*/ 136 h 163"/>
                <a:gd name="T6" fmla="*/ 0 w 344"/>
                <a:gd name="T7" fmla="*/ 54 h 163"/>
                <a:gd name="T8" fmla="*/ 38 w 344"/>
                <a:gd name="T9" fmla="*/ 29 h 163"/>
                <a:gd name="T10" fmla="*/ 16 w 344"/>
                <a:gd name="T11" fmla="*/ 7 h 163"/>
                <a:gd name="T12" fmla="*/ 93 w 344"/>
                <a:gd name="T13" fmla="*/ 23 h 163"/>
                <a:gd name="T14" fmla="*/ 76 w 344"/>
                <a:gd name="T15" fmla="*/ 14 h 163"/>
                <a:gd name="T16" fmla="*/ 45 w 344"/>
                <a:gd name="T17" fmla="*/ 97 h 163"/>
                <a:gd name="T18" fmla="*/ 61 w 344"/>
                <a:gd name="T19" fmla="*/ 136 h 163"/>
                <a:gd name="T20" fmla="*/ 94 w 344"/>
                <a:gd name="T21" fmla="*/ 107 h 163"/>
                <a:gd name="T22" fmla="*/ 71 w 344"/>
                <a:gd name="T23" fmla="*/ 150 h 163"/>
                <a:gd name="T24" fmla="*/ 94 w 344"/>
                <a:gd name="T25" fmla="*/ 161 h 163"/>
                <a:gd name="T26" fmla="*/ 107 w 344"/>
                <a:gd name="T27" fmla="*/ 23 h 163"/>
                <a:gd name="T28" fmla="*/ 94 w 344"/>
                <a:gd name="T29" fmla="*/ 98 h 163"/>
                <a:gd name="T30" fmla="*/ 94 w 344"/>
                <a:gd name="T31" fmla="*/ 73 h 163"/>
                <a:gd name="T32" fmla="*/ 94 w 344"/>
                <a:gd name="T33" fmla="*/ 47 h 163"/>
                <a:gd name="T34" fmla="*/ 137 w 344"/>
                <a:gd name="T35" fmla="*/ 2 h 163"/>
                <a:gd name="T36" fmla="*/ 146 w 344"/>
                <a:gd name="T37" fmla="*/ 46 h 163"/>
                <a:gd name="T38" fmla="*/ 163 w 344"/>
                <a:gd name="T39" fmla="*/ 52 h 163"/>
                <a:gd name="T40" fmla="*/ 132 w 344"/>
                <a:gd name="T41" fmla="*/ 162 h 163"/>
                <a:gd name="T42" fmla="*/ 113 w 344"/>
                <a:gd name="T43" fmla="*/ 145 h 163"/>
                <a:gd name="T44" fmla="*/ 126 w 344"/>
                <a:gd name="T45" fmla="*/ 52 h 163"/>
                <a:gd name="T46" fmla="*/ 123 w 344"/>
                <a:gd name="T47" fmla="*/ 85 h 163"/>
                <a:gd name="T48" fmla="*/ 122 w 344"/>
                <a:gd name="T49" fmla="*/ 110 h 163"/>
                <a:gd name="T50" fmla="*/ 113 w 344"/>
                <a:gd name="T51" fmla="*/ 70 h 163"/>
                <a:gd name="T52" fmla="*/ 217 w 344"/>
                <a:gd name="T53" fmla="*/ 56 h 163"/>
                <a:gd name="T54" fmla="*/ 229 w 344"/>
                <a:gd name="T55" fmla="*/ 114 h 163"/>
                <a:gd name="T56" fmla="*/ 199 w 344"/>
                <a:gd name="T57" fmla="*/ 136 h 163"/>
                <a:gd name="T58" fmla="*/ 179 w 344"/>
                <a:gd name="T59" fmla="*/ 54 h 163"/>
                <a:gd name="T60" fmla="*/ 217 w 344"/>
                <a:gd name="T61" fmla="*/ 29 h 163"/>
                <a:gd name="T62" fmla="*/ 195 w 344"/>
                <a:gd name="T63" fmla="*/ 7 h 163"/>
                <a:gd name="T64" fmla="*/ 272 w 344"/>
                <a:gd name="T65" fmla="*/ 23 h 163"/>
                <a:gd name="T66" fmla="*/ 255 w 344"/>
                <a:gd name="T67" fmla="*/ 14 h 163"/>
                <a:gd name="T68" fmla="*/ 224 w 344"/>
                <a:gd name="T69" fmla="*/ 97 h 163"/>
                <a:gd name="T70" fmla="*/ 240 w 344"/>
                <a:gd name="T71" fmla="*/ 136 h 163"/>
                <a:gd name="T72" fmla="*/ 273 w 344"/>
                <a:gd name="T73" fmla="*/ 107 h 163"/>
                <a:gd name="T74" fmla="*/ 250 w 344"/>
                <a:gd name="T75" fmla="*/ 150 h 163"/>
                <a:gd name="T76" fmla="*/ 273 w 344"/>
                <a:gd name="T77" fmla="*/ 161 h 163"/>
                <a:gd name="T78" fmla="*/ 286 w 344"/>
                <a:gd name="T79" fmla="*/ 23 h 163"/>
                <a:gd name="T80" fmla="*/ 273 w 344"/>
                <a:gd name="T81" fmla="*/ 98 h 163"/>
                <a:gd name="T82" fmla="*/ 273 w 344"/>
                <a:gd name="T83" fmla="*/ 73 h 163"/>
                <a:gd name="T84" fmla="*/ 273 w 344"/>
                <a:gd name="T85" fmla="*/ 47 h 163"/>
                <a:gd name="T86" fmla="*/ 316 w 344"/>
                <a:gd name="T87" fmla="*/ 2 h 163"/>
                <a:gd name="T88" fmla="*/ 325 w 344"/>
                <a:gd name="T89" fmla="*/ 46 h 163"/>
                <a:gd name="T90" fmla="*/ 342 w 344"/>
                <a:gd name="T91" fmla="*/ 52 h 163"/>
                <a:gd name="T92" fmla="*/ 311 w 344"/>
                <a:gd name="T93" fmla="*/ 162 h 163"/>
                <a:gd name="T94" fmla="*/ 292 w 344"/>
                <a:gd name="T95" fmla="*/ 145 h 163"/>
                <a:gd name="T96" fmla="*/ 305 w 344"/>
                <a:gd name="T97" fmla="*/ 52 h 163"/>
                <a:gd name="T98" fmla="*/ 302 w 344"/>
                <a:gd name="T99" fmla="*/ 85 h 163"/>
                <a:gd name="T100" fmla="*/ 301 w 344"/>
                <a:gd name="T101" fmla="*/ 110 h 163"/>
                <a:gd name="T102" fmla="*/ 292 w 344"/>
                <a:gd name="T103" fmla="*/ 7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4" h="163">
                  <a:moveTo>
                    <a:pt x="0" y="54"/>
                  </a:moveTo>
                  <a:cubicBezTo>
                    <a:pt x="5" y="56"/>
                    <a:pt x="11" y="56"/>
                    <a:pt x="20" y="56"/>
                  </a:cubicBezTo>
                  <a:cubicBezTo>
                    <a:pt x="22" y="56"/>
                    <a:pt x="22" y="56"/>
                    <a:pt x="22" y="56"/>
                  </a:cubicBezTo>
                  <a:cubicBezTo>
                    <a:pt x="29" y="48"/>
                    <a:pt x="29" y="48"/>
                    <a:pt x="29" y="48"/>
                  </a:cubicBezTo>
                  <a:cubicBezTo>
                    <a:pt x="33" y="51"/>
                    <a:pt x="36" y="54"/>
                    <a:pt x="38" y="56"/>
                  </a:cubicBezTo>
                  <a:cubicBezTo>
                    <a:pt x="38" y="57"/>
                    <a:pt x="39" y="58"/>
                    <a:pt x="39" y="58"/>
                  </a:cubicBezTo>
                  <a:cubicBezTo>
                    <a:pt x="39" y="59"/>
                    <a:pt x="36" y="61"/>
                    <a:pt x="31" y="64"/>
                  </a:cubicBezTo>
                  <a:cubicBezTo>
                    <a:pt x="31" y="130"/>
                    <a:pt x="31" y="130"/>
                    <a:pt x="31" y="130"/>
                  </a:cubicBezTo>
                  <a:cubicBezTo>
                    <a:pt x="33" y="128"/>
                    <a:pt x="35" y="127"/>
                    <a:pt x="37" y="126"/>
                  </a:cubicBezTo>
                  <a:cubicBezTo>
                    <a:pt x="42" y="121"/>
                    <a:pt x="47" y="118"/>
                    <a:pt x="50" y="114"/>
                  </a:cubicBezTo>
                  <a:cubicBezTo>
                    <a:pt x="51" y="117"/>
                    <a:pt x="51" y="117"/>
                    <a:pt x="51" y="117"/>
                  </a:cubicBezTo>
                  <a:cubicBezTo>
                    <a:pt x="49" y="121"/>
                    <a:pt x="46" y="125"/>
                    <a:pt x="43" y="128"/>
                  </a:cubicBezTo>
                  <a:cubicBezTo>
                    <a:pt x="40" y="133"/>
                    <a:pt x="37" y="137"/>
                    <a:pt x="33" y="141"/>
                  </a:cubicBezTo>
                  <a:cubicBezTo>
                    <a:pt x="33" y="146"/>
                    <a:pt x="32" y="149"/>
                    <a:pt x="31" y="149"/>
                  </a:cubicBezTo>
                  <a:cubicBezTo>
                    <a:pt x="30" y="149"/>
                    <a:pt x="27" y="145"/>
                    <a:pt x="20" y="136"/>
                  </a:cubicBezTo>
                  <a:cubicBezTo>
                    <a:pt x="22" y="136"/>
                    <a:pt x="23" y="135"/>
                    <a:pt x="24" y="134"/>
                  </a:cubicBezTo>
                  <a:cubicBezTo>
                    <a:pt x="24" y="61"/>
                    <a:pt x="24" y="61"/>
                    <a:pt x="24" y="61"/>
                  </a:cubicBezTo>
                  <a:cubicBezTo>
                    <a:pt x="20" y="61"/>
                    <a:pt x="20" y="61"/>
                    <a:pt x="20" y="61"/>
                  </a:cubicBezTo>
                  <a:cubicBezTo>
                    <a:pt x="11" y="61"/>
                    <a:pt x="5" y="61"/>
                    <a:pt x="3" y="62"/>
                  </a:cubicBezTo>
                  <a:cubicBezTo>
                    <a:pt x="0" y="54"/>
                    <a:pt x="0" y="54"/>
                    <a:pt x="0" y="54"/>
                  </a:cubicBezTo>
                  <a:cubicBezTo>
                    <a:pt x="0" y="54"/>
                    <a:pt x="0" y="54"/>
                    <a:pt x="0" y="54"/>
                  </a:cubicBezTo>
                  <a:close/>
                  <a:moveTo>
                    <a:pt x="18" y="5"/>
                  </a:moveTo>
                  <a:cubicBezTo>
                    <a:pt x="23" y="7"/>
                    <a:pt x="27" y="11"/>
                    <a:pt x="30" y="15"/>
                  </a:cubicBezTo>
                  <a:cubicBezTo>
                    <a:pt x="33" y="18"/>
                    <a:pt x="35" y="20"/>
                    <a:pt x="36" y="23"/>
                  </a:cubicBezTo>
                  <a:cubicBezTo>
                    <a:pt x="37" y="25"/>
                    <a:pt x="38" y="27"/>
                    <a:pt x="38" y="29"/>
                  </a:cubicBezTo>
                  <a:cubicBezTo>
                    <a:pt x="38" y="33"/>
                    <a:pt x="36" y="34"/>
                    <a:pt x="33" y="34"/>
                  </a:cubicBezTo>
                  <a:cubicBezTo>
                    <a:pt x="32" y="34"/>
                    <a:pt x="31" y="34"/>
                    <a:pt x="31" y="34"/>
                  </a:cubicBezTo>
                  <a:cubicBezTo>
                    <a:pt x="31" y="33"/>
                    <a:pt x="30" y="32"/>
                    <a:pt x="29" y="29"/>
                  </a:cubicBezTo>
                  <a:cubicBezTo>
                    <a:pt x="27" y="25"/>
                    <a:pt x="26" y="20"/>
                    <a:pt x="24" y="17"/>
                  </a:cubicBezTo>
                  <a:cubicBezTo>
                    <a:pt x="22" y="14"/>
                    <a:pt x="19" y="11"/>
                    <a:pt x="16" y="7"/>
                  </a:cubicBezTo>
                  <a:cubicBezTo>
                    <a:pt x="18" y="5"/>
                    <a:pt x="18" y="5"/>
                    <a:pt x="18" y="5"/>
                  </a:cubicBezTo>
                  <a:cubicBezTo>
                    <a:pt x="18" y="5"/>
                    <a:pt x="18" y="5"/>
                    <a:pt x="18" y="5"/>
                  </a:cubicBezTo>
                  <a:close/>
                  <a:moveTo>
                    <a:pt x="107" y="23"/>
                  </a:moveTo>
                  <a:cubicBezTo>
                    <a:pt x="106" y="20"/>
                    <a:pt x="103" y="18"/>
                    <a:pt x="98" y="16"/>
                  </a:cubicBezTo>
                  <a:cubicBezTo>
                    <a:pt x="98" y="16"/>
                    <a:pt x="98" y="16"/>
                    <a:pt x="93" y="23"/>
                  </a:cubicBezTo>
                  <a:cubicBezTo>
                    <a:pt x="93" y="23"/>
                    <a:pt x="93" y="23"/>
                    <a:pt x="76" y="23"/>
                  </a:cubicBezTo>
                  <a:cubicBezTo>
                    <a:pt x="80" y="19"/>
                    <a:pt x="83" y="14"/>
                    <a:pt x="85" y="9"/>
                  </a:cubicBezTo>
                  <a:cubicBezTo>
                    <a:pt x="90" y="9"/>
                    <a:pt x="94" y="9"/>
                    <a:pt x="94" y="7"/>
                  </a:cubicBezTo>
                  <a:cubicBezTo>
                    <a:pt x="94" y="5"/>
                    <a:pt x="88" y="3"/>
                    <a:pt x="77" y="0"/>
                  </a:cubicBezTo>
                  <a:cubicBezTo>
                    <a:pt x="77" y="6"/>
                    <a:pt x="76" y="10"/>
                    <a:pt x="76" y="14"/>
                  </a:cubicBezTo>
                  <a:cubicBezTo>
                    <a:pt x="75" y="16"/>
                    <a:pt x="74" y="20"/>
                    <a:pt x="73" y="23"/>
                  </a:cubicBezTo>
                  <a:cubicBezTo>
                    <a:pt x="73" y="23"/>
                    <a:pt x="73" y="23"/>
                    <a:pt x="70" y="23"/>
                  </a:cubicBezTo>
                  <a:cubicBezTo>
                    <a:pt x="70" y="23"/>
                    <a:pt x="70" y="23"/>
                    <a:pt x="60" y="18"/>
                  </a:cubicBezTo>
                  <a:cubicBezTo>
                    <a:pt x="60" y="18"/>
                    <a:pt x="60" y="18"/>
                    <a:pt x="60" y="98"/>
                  </a:cubicBezTo>
                  <a:cubicBezTo>
                    <a:pt x="54" y="98"/>
                    <a:pt x="49" y="98"/>
                    <a:pt x="45" y="97"/>
                  </a:cubicBezTo>
                  <a:cubicBezTo>
                    <a:pt x="45" y="97"/>
                    <a:pt x="45" y="97"/>
                    <a:pt x="48" y="105"/>
                  </a:cubicBezTo>
                  <a:cubicBezTo>
                    <a:pt x="50" y="104"/>
                    <a:pt x="56" y="104"/>
                    <a:pt x="65" y="104"/>
                  </a:cubicBezTo>
                  <a:cubicBezTo>
                    <a:pt x="65" y="104"/>
                    <a:pt x="65" y="104"/>
                    <a:pt x="87" y="104"/>
                  </a:cubicBezTo>
                  <a:cubicBezTo>
                    <a:pt x="83" y="111"/>
                    <a:pt x="79" y="116"/>
                    <a:pt x="75" y="122"/>
                  </a:cubicBezTo>
                  <a:cubicBezTo>
                    <a:pt x="71" y="127"/>
                    <a:pt x="66" y="132"/>
                    <a:pt x="61" y="136"/>
                  </a:cubicBezTo>
                  <a:cubicBezTo>
                    <a:pt x="56" y="142"/>
                    <a:pt x="49" y="148"/>
                    <a:pt x="40" y="154"/>
                  </a:cubicBezTo>
                  <a:cubicBezTo>
                    <a:pt x="40" y="154"/>
                    <a:pt x="40" y="154"/>
                    <a:pt x="42" y="156"/>
                  </a:cubicBezTo>
                  <a:cubicBezTo>
                    <a:pt x="51" y="151"/>
                    <a:pt x="60" y="145"/>
                    <a:pt x="66" y="141"/>
                  </a:cubicBezTo>
                  <a:cubicBezTo>
                    <a:pt x="72" y="135"/>
                    <a:pt x="78" y="129"/>
                    <a:pt x="84" y="123"/>
                  </a:cubicBezTo>
                  <a:cubicBezTo>
                    <a:pt x="87" y="119"/>
                    <a:pt x="91" y="113"/>
                    <a:pt x="94" y="107"/>
                  </a:cubicBezTo>
                  <a:cubicBezTo>
                    <a:pt x="94" y="107"/>
                    <a:pt x="94" y="107"/>
                    <a:pt x="94" y="143"/>
                  </a:cubicBezTo>
                  <a:cubicBezTo>
                    <a:pt x="94" y="145"/>
                    <a:pt x="94" y="148"/>
                    <a:pt x="92" y="148"/>
                  </a:cubicBezTo>
                  <a:cubicBezTo>
                    <a:pt x="92" y="149"/>
                    <a:pt x="89" y="149"/>
                    <a:pt x="87" y="149"/>
                  </a:cubicBezTo>
                  <a:cubicBezTo>
                    <a:pt x="82" y="149"/>
                    <a:pt x="77" y="148"/>
                    <a:pt x="71" y="146"/>
                  </a:cubicBezTo>
                  <a:cubicBezTo>
                    <a:pt x="71" y="146"/>
                    <a:pt x="71" y="146"/>
                    <a:pt x="71" y="150"/>
                  </a:cubicBezTo>
                  <a:cubicBezTo>
                    <a:pt x="75" y="151"/>
                    <a:pt x="78" y="152"/>
                    <a:pt x="81" y="153"/>
                  </a:cubicBezTo>
                  <a:cubicBezTo>
                    <a:pt x="83" y="154"/>
                    <a:pt x="85" y="155"/>
                    <a:pt x="87" y="156"/>
                  </a:cubicBezTo>
                  <a:cubicBezTo>
                    <a:pt x="87" y="157"/>
                    <a:pt x="87" y="158"/>
                    <a:pt x="87" y="159"/>
                  </a:cubicBezTo>
                  <a:cubicBezTo>
                    <a:pt x="87" y="159"/>
                    <a:pt x="87" y="159"/>
                    <a:pt x="88" y="163"/>
                  </a:cubicBezTo>
                  <a:cubicBezTo>
                    <a:pt x="89" y="163"/>
                    <a:pt x="92" y="162"/>
                    <a:pt x="94" y="161"/>
                  </a:cubicBezTo>
                  <a:cubicBezTo>
                    <a:pt x="96" y="159"/>
                    <a:pt x="98" y="158"/>
                    <a:pt x="99" y="156"/>
                  </a:cubicBezTo>
                  <a:cubicBezTo>
                    <a:pt x="101" y="154"/>
                    <a:pt x="102" y="151"/>
                    <a:pt x="102" y="147"/>
                  </a:cubicBezTo>
                  <a:cubicBezTo>
                    <a:pt x="102" y="147"/>
                    <a:pt x="102" y="147"/>
                    <a:pt x="102" y="31"/>
                  </a:cubicBezTo>
                  <a:cubicBezTo>
                    <a:pt x="107" y="28"/>
                    <a:pt x="109" y="26"/>
                    <a:pt x="109" y="25"/>
                  </a:cubicBezTo>
                  <a:cubicBezTo>
                    <a:pt x="109" y="25"/>
                    <a:pt x="109" y="24"/>
                    <a:pt x="107" y="23"/>
                  </a:cubicBezTo>
                  <a:close/>
                  <a:moveTo>
                    <a:pt x="94" y="98"/>
                  </a:moveTo>
                  <a:cubicBezTo>
                    <a:pt x="94" y="98"/>
                    <a:pt x="94" y="98"/>
                    <a:pt x="68" y="98"/>
                  </a:cubicBezTo>
                  <a:cubicBezTo>
                    <a:pt x="68" y="78"/>
                    <a:pt x="68" y="78"/>
                    <a:pt x="68" y="78"/>
                  </a:cubicBezTo>
                  <a:cubicBezTo>
                    <a:pt x="68" y="78"/>
                    <a:pt x="68" y="78"/>
                    <a:pt x="94" y="78"/>
                  </a:cubicBezTo>
                  <a:cubicBezTo>
                    <a:pt x="94" y="78"/>
                    <a:pt x="94" y="78"/>
                    <a:pt x="94" y="98"/>
                  </a:cubicBezTo>
                  <a:close/>
                  <a:moveTo>
                    <a:pt x="94" y="73"/>
                  </a:moveTo>
                  <a:cubicBezTo>
                    <a:pt x="94" y="73"/>
                    <a:pt x="94" y="73"/>
                    <a:pt x="68" y="73"/>
                  </a:cubicBezTo>
                  <a:cubicBezTo>
                    <a:pt x="68" y="52"/>
                    <a:pt x="68" y="52"/>
                    <a:pt x="68" y="52"/>
                  </a:cubicBezTo>
                  <a:cubicBezTo>
                    <a:pt x="68" y="52"/>
                    <a:pt x="68" y="52"/>
                    <a:pt x="94" y="52"/>
                  </a:cubicBezTo>
                  <a:cubicBezTo>
                    <a:pt x="94" y="52"/>
                    <a:pt x="94" y="52"/>
                    <a:pt x="94" y="73"/>
                  </a:cubicBezTo>
                  <a:close/>
                  <a:moveTo>
                    <a:pt x="94" y="47"/>
                  </a:moveTo>
                  <a:cubicBezTo>
                    <a:pt x="94" y="47"/>
                    <a:pt x="94" y="47"/>
                    <a:pt x="68" y="47"/>
                  </a:cubicBezTo>
                  <a:cubicBezTo>
                    <a:pt x="68" y="28"/>
                    <a:pt x="68" y="28"/>
                    <a:pt x="68" y="28"/>
                  </a:cubicBezTo>
                  <a:cubicBezTo>
                    <a:pt x="68" y="28"/>
                    <a:pt x="68" y="28"/>
                    <a:pt x="94" y="28"/>
                  </a:cubicBezTo>
                  <a:cubicBezTo>
                    <a:pt x="94" y="28"/>
                    <a:pt x="94" y="28"/>
                    <a:pt x="94" y="47"/>
                  </a:cubicBezTo>
                  <a:close/>
                  <a:moveTo>
                    <a:pt x="105" y="44"/>
                  </a:moveTo>
                  <a:cubicBezTo>
                    <a:pt x="110" y="45"/>
                    <a:pt x="117" y="46"/>
                    <a:pt x="126" y="46"/>
                  </a:cubicBezTo>
                  <a:cubicBezTo>
                    <a:pt x="138" y="46"/>
                    <a:pt x="138" y="46"/>
                    <a:pt x="138" y="46"/>
                  </a:cubicBezTo>
                  <a:cubicBezTo>
                    <a:pt x="138" y="16"/>
                    <a:pt x="138" y="16"/>
                    <a:pt x="138" y="16"/>
                  </a:cubicBezTo>
                  <a:cubicBezTo>
                    <a:pt x="138" y="9"/>
                    <a:pt x="137" y="5"/>
                    <a:pt x="137" y="2"/>
                  </a:cubicBezTo>
                  <a:cubicBezTo>
                    <a:pt x="143" y="3"/>
                    <a:pt x="149" y="5"/>
                    <a:pt x="154" y="7"/>
                  </a:cubicBezTo>
                  <a:cubicBezTo>
                    <a:pt x="155" y="7"/>
                    <a:pt x="156" y="7"/>
                    <a:pt x="156" y="8"/>
                  </a:cubicBezTo>
                  <a:cubicBezTo>
                    <a:pt x="156" y="9"/>
                    <a:pt x="155" y="10"/>
                    <a:pt x="154" y="11"/>
                  </a:cubicBezTo>
                  <a:cubicBezTo>
                    <a:pt x="151" y="12"/>
                    <a:pt x="149" y="12"/>
                    <a:pt x="146" y="13"/>
                  </a:cubicBezTo>
                  <a:cubicBezTo>
                    <a:pt x="146" y="46"/>
                    <a:pt x="146" y="46"/>
                    <a:pt x="146" y="46"/>
                  </a:cubicBezTo>
                  <a:cubicBezTo>
                    <a:pt x="147" y="46"/>
                    <a:pt x="147" y="46"/>
                    <a:pt x="147" y="46"/>
                  </a:cubicBezTo>
                  <a:cubicBezTo>
                    <a:pt x="154" y="38"/>
                    <a:pt x="154" y="38"/>
                    <a:pt x="154" y="38"/>
                  </a:cubicBezTo>
                  <a:cubicBezTo>
                    <a:pt x="158" y="41"/>
                    <a:pt x="161" y="44"/>
                    <a:pt x="164" y="47"/>
                  </a:cubicBezTo>
                  <a:cubicBezTo>
                    <a:pt x="165" y="47"/>
                    <a:pt x="165" y="47"/>
                    <a:pt x="165" y="48"/>
                  </a:cubicBezTo>
                  <a:cubicBezTo>
                    <a:pt x="165" y="50"/>
                    <a:pt x="165" y="52"/>
                    <a:pt x="163" y="52"/>
                  </a:cubicBezTo>
                  <a:cubicBezTo>
                    <a:pt x="146" y="52"/>
                    <a:pt x="146" y="52"/>
                    <a:pt x="146" y="52"/>
                  </a:cubicBezTo>
                  <a:cubicBezTo>
                    <a:pt x="146" y="146"/>
                    <a:pt x="146" y="146"/>
                    <a:pt x="146" y="146"/>
                  </a:cubicBezTo>
                  <a:cubicBezTo>
                    <a:pt x="146" y="150"/>
                    <a:pt x="145" y="153"/>
                    <a:pt x="143" y="155"/>
                  </a:cubicBezTo>
                  <a:cubicBezTo>
                    <a:pt x="142" y="157"/>
                    <a:pt x="141" y="159"/>
                    <a:pt x="138" y="160"/>
                  </a:cubicBezTo>
                  <a:cubicBezTo>
                    <a:pt x="136" y="161"/>
                    <a:pt x="134" y="162"/>
                    <a:pt x="132" y="162"/>
                  </a:cubicBezTo>
                  <a:cubicBezTo>
                    <a:pt x="132" y="159"/>
                    <a:pt x="132" y="159"/>
                    <a:pt x="132" y="159"/>
                  </a:cubicBezTo>
                  <a:cubicBezTo>
                    <a:pt x="132" y="157"/>
                    <a:pt x="131" y="156"/>
                    <a:pt x="130" y="156"/>
                  </a:cubicBezTo>
                  <a:cubicBezTo>
                    <a:pt x="130" y="154"/>
                    <a:pt x="127" y="153"/>
                    <a:pt x="124" y="152"/>
                  </a:cubicBezTo>
                  <a:cubicBezTo>
                    <a:pt x="121" y="151"/>
                    <a:pt x="117" y="150"/>
                    <a:pt x="113" y="150"/>
                  </a:cubicBezTo>
                  <a:cubicBezTo>
                    <a:pt x="113" y="145"/>
                    <a:pt x="113" y="145"/>
                    <a:pt x="113" y="145"/>
                  </a:cubicBezTo>
                  <a:cubicBezTo>
                    <a:pt x="119" y="148"/>
                    <a:pt x="125" y="148"/>
                    <a:pt x="131" y="148"/>
                  </a:cubicBezTo>
                  <a:cubicBezTo>
                    <a:pt x="134" y="148"/>
                    <a:pt x="135" y="148"/>
                    <a:pt x="136" y="148"/>
                  </a:cubicBezTo>
                  <a:cubicBezTo>
                    <a:pt x="137" y="147"/>
                    <a:pt x="138" y="145"/>
                    <a:pt x="138" y="142"/>
                  </a:cubicBezTo>
                  <a:cubicBezTo>
                    <a:pt x="138" y="52"/>
                    <a:pt x="138" y="52"/>
                    <a:pt x="138" y="52"/>
                  </a:cubicBezTo>
                  <a:cubicBezTo>
                    <a:pt x="126" y="52"/>
                    <a:pt x="126" y="52"/>
                    <a:pt x="126" y="52"/>
                  </a:cubicBezTo>
                  <a:cubicBezTo>
                    <a:pt x="118" y="52"/>
                    <a:pt x="112" y="52"/>
                    <a:pt x="109" y="52"/>
                  </a:cubicBezTo>
                  <a:cubicBezTo>
                    <a:pt x="105" y="44"/>
                    <a:pt x="105" y="44"/>
                    <a:pt x="105" y="44"/>
                  </a:cubicBezTo>
                  <a:cubicBezTo>
                    <a:pt x="105" y="44"/>
                    <a:pt x="105" y="44"/>
                    <a:pt x="105" y="44"/>
                  </a:cubicBezTo>
                  <a:close/>
                  <a:moveTo>
                    <a:pt x="113" y="70"/>
                  </a:moveTo>
                  <a:cubicBezTo>
                    <a:pt x="117" y="75"/>
                    <a:pt x="121" y="80"/>
                    <a:pt x="123" y="85"/>
                  </a:cubicBezTo>
                  <a:cubicBezTo>
                    <a:pt x="125" y="88"/>
                    <a:pt x="127" y="92"/>
                    <a:pt x="127" y="96"/>
                  </a:cubicBezTo>
                  <a:cubicBezTo>
                    <a:pt x="129" y="99"/>
                    <a:pt x="130" y="101"/>
                    <a:pt x="130" y="104"/>
                  </a:cubicBezTo>
                  <a:cubicBezTo>
                    <a:pt x="130" y="105"/>
                    <a:pt x="129" y="107"/>
                    <a:pt x="128" y="108"/>
                  </a:cubicBezTo>
                  <a:cubicBezTo>
                    <a:pt x="127" y="110"/>
                    <a:pt x="126" y="110"/>
                    <a:pt x="125" y="110"/>
                  </a:cubicBezTo>
                  <a:cubicBezTo>
                    <a:pt x="124" y="110"/>
                    <a:pt x="123" y="110"/>
                    <a:pt x="122" y="110"/>
                  </a:cubicBezTo>
                  <a:cubicBezTo>
                    <a:pt x="121" y="108"/>
                    <a:pt x="121" y="107"/>
                    <a:pt x="121" y="105"/>
                  </a:cubicBezTo>
                  <a:cubicBezTo>
                    <a:pt x="120" y="97"/>
                    <a:pt x="119" y="91"/>
                    <a:pt x="118" y="87"/>
                  </a:cubicBezTo>
                  <a:cubicBezTo>
                    <a:pt x="116" y="83"/>
                    <a:pt x="114" y="78"/>
                    <a:pt x="111" y="72"/>
                  </a:cubicBezTo>
                  <a:cubicBezTo>
                    <a:pt x="113" y="70"/>
                    <a:pt x="113" y="70"/>
                    <a:pt x="113" y="70"/>
                  </a:cubicBezTo>
                  <a:cubicBezTo>
                    <a:pt x="113" y="70"/>
                    <a:pt x="113" y="70"/>
                    <a:pt x="113" y="70"/>
                  </a:cubicBezTo>
                  <a:close/>
                  <a:moveTo>
                    <a:pt x="179" y="54"/>
                  </a:moveTo>
                  <a:cubicBezTo>
                    <a:pt x="184" y="56"/>
                    <a:pt x="190" y="56"/>
                    <a:pt x="199" y="56"/>
                  </a:cubicBezTo>
                  <a:cubicBezTo>
                    <a:pt x="201" y="56"/>
                    <a:pt x="201" y="56"/>
                    <a:pt x="201" y="56"/>
                  </a:cubicBezTo>
                  <a:cubicBezTo>
                    <a:pt x="208" y="48"/>
                    <a:pt x="208" y="48"/>
                    <a:pt x="208" y="48"/>
                  </a:cubicBezTo>
                  <a:cubicBezTo>
                    <a:pt x="212" y="51"/>
                    <a:pt x="215" y="54"/>
                    <a:pt x="217" y="56"/>
                  </a:cubicBezTo>
                  <a:cubicBezTo>
                    <a:pt x="217" y="57"/>
                    <a:pt x="218" y="58"/>
                    <a:pt x="218" y="58"/>
                  </a:cubicBezTo>
                  <a:cubicBezTo>
                    <a:pt x="218" y="59"/>
                    <a:pt x="215" y="61"/>
                    <a:pt x="210" y="64"/>
                  </a:cubicBezTo>
                  <a:cubicBezTo>
                    <a:pt x="210" y="130"/>
                    <a:pt x="210" y="130"/>
                    <a:pt x="210" y="130"/>
                  </a:cubicBezTo>
                  <a:cubicBezTo>
                    <a:pt x="213" y="128"/>
                    <a:pt x="214" y="127"/>
                    <a:pt x="215" y="126"/>
                  </a:cubicBezTo>
                  <a:cubicBezTo>
                    <a:pt x="222" y="121"/>
                    <a:pt x="226" y="118"/>
                    <a:pt x="229" y="114"/>
                  </a:cubicBezTo>
                  <a:cubicBezTo>
                    <a:pt x="230" y="117"/>
                    <a:pt x="230" y="117"/>
                    <a:pt x="230" y="117"/>
                  </a:cubicBezTo>
                  <a:cubicBezTo>
                    <a:pt x="228" y="121"/>
                    <a:pt x="225" y="125"/>
                    <a:pt x="222" y="128"/>
                  </a:cubicBezTo>
                  <a:cubicBezTo>
                    <a:pt x="219" y="133"/>
                    <a:pt x="215" y="137"/>
                    <a:pt x="212" y="141"/>
                  </a:cubicBezTo>
                  <a:cubicBezTo>
                    <a:pt x="212" y="146"/>
                    <a:pt x="211" y="149"/>
                    <a:pt x="210" y="149"/>
                  </a:cubicBezTo>
                  <a:cubicBezTo>
                    <a:pt x="209" y="149"/>
                    <a:pt x="206" y="145"/>
                    <a:pt x="199" y="136"/>
                  </a:cubicBezTo>
                  <a:cubicBezTo>
                    <a:pt x="201" y="136"/>
                    <a:pt x="202" y="135"/>
                    <a:pt x="203" y="134"/>
                  </a:cubicBezTo>
                  <a:cubicBezTo>
                    <a:pt x="203" y="61"/>
                    <a:pt x="203" y="61"/>
                    <a:pt x="203" y="61"/>
                  </a:cubicBezTo>
                  <a:cubicBezTo>
                    <a:pt x="199" y="61"/>
                    <a:pt x="199" y="61"/>
                    <a:pt x="199" y="61"/>
                  </a:cubicBezTo>
                  <a:cubicBezTo>
                    <a:pt x="190" y="61"/>
                    <a:pt x="184" y="61"/>
                    <a:pt x="182" y="62"/>
                  </a:cubicBezTo>
                  <a:cubicBezTo>
                    <a:pt x="179" y="54"/>
                    <a:pt x="179" y="54"/>
                    <a:pt x="179" y="54"/>
                  </a:cubicBezTo>
                  <a:cubicBezTo>
                    <a:pt x="179" y="54"/>
                    <a:pt x="179" y="54"/>
                    <a:pt x="179" y="54"/>
                  </a:cubicBezTo>
                  <a:close/>
                  <a:moveTo>
                    <a:pt x="197" y="5"/>
                  </a:moveTo>
                  <a:cubicBezTo>
                    <a:pt x="202" y="7"/>
                    <a:pt x="206" y="11"/>
                    <a:pt x="209" y="15"/>
                  </a:cubicBezTo>
                  <a:cubicBezTo>
                    <a:pt x="212" y="18"/>
                    <a:pt x="214" y="20"/>
                    <a:pt x="215" y="23"/>
                  </a:cubicBezTo>
                  <a:cubicBezTo>
                    <a:pt x="216" y="25"/>
                    <a:pt x="217" y="27"/>
                    <a:pt x="217" y="29"/>
                  </a:cubicBezTo>
                  <a:cubicBezTo>
                    <a:pt x="217" y="33"/>
                    <a:pt x="215" y="34"/>
                    <a:pt x="212" y="34"/>
                  </a:cubicBezTo>
                  <a:cubicBezTo>
                    <a:pt x="211" y="34"/>
                    <a:pt x="210" y="34"/>
                    <a:pt x="210" y="34"/>
                  </a:cubicBezTo>
                  <a:cubicBezTo>
                    <a:pt x="209" y="33"/>
                    <a:pt x="209" y="32"/>
                    <a:pt x="208" y="29"/>
                  </a:cubicBezTo>
                  <a:cubicBezTo>
                    <a:pt x="206" y="25"/>
                    <a:pt x="205" y="20"/>
                    <a:pt x="203" y="17"/>
                  </a:cubicBezTo>
                  <a:cubicBezTo>
                    <a:pt x="201" y="14"/>
                    <a:pt x="198" y="11"/>
                    <a:pt x="195" y="7"/>
                  </a:cubicBezTo>
                  <a:cubicBezTo>
                    <a:pt x="197" y="5"/>
                    <a:pt x="197" y="5"/>
                    <a:pt x="197" y="5"/>
                  </a:cubicBezTo>
                  <a:cubicBezTo>
                    <a:pt x="197" y="5"/>
                    <a:pt x="197" y="5"/>
                    <a:pt x="197" y="5"/>
                  </a:cubicBezTo>
                  <a:close/>
                  <a:moveTo>
                    <a:pt x="286" y="23"/>
                  </a:moveTo>
                  <a:cubicBezTo>
                    <a:pt x="285" y="20"/>
                    <a:pt x="282" y="18"/>
                    <a:pt x="277" y="16"/>
                  </a:cubicBezTo>
                  <a:cubicBezTo>
                    <a:pt x="277" y="16"/>
                    <a:pt x="277" y="16"/>
                    <a:pt x="272" y="23"/>
                  </a:cubicBezTo>
                  <a:cubicBezTo>
                    <a:pt x="272" y="23"/>
                    <a:pt x="272" y="23"/>
                    <a:pt x="255" y="23"/>
                  </a:cubicBezTo>
                  <a:cubicBezTo>
                    <a:pt x="259" y="19"/>
                    <a:pt x="261" y="14"/>
                    <a:pt x="263" y="9"/>
                  </a:cubicBezTo>
                  <a:cubicBezTo>
                    <a:pt x="269" y="9"/>
                    <a:pt x="273" y="9"/>
                    <a:pt x="273" y="7"/>
                  </a:cubicBezTo>
                  <a:cubicBezTo>
                    <a:pt x="273" y="5"/>
                    <a:pt x="267" y="3"/>
                    <a:pt x="256" y="0"/>
                  </a:cubicBezTo>
                  <a:cubicBezTo>
                    <a:pt x="256" y="6"/>
                    <a:pt x="255" y="10"/>
                    <a:pt x="255" y="14"/>
                  </a:cubicBezTo>
                  <a:cubicBezTo>
                    <a:pt x="254" y="16"/>
                    <a:pt x="253" y="20"/>
                    <a:pt x="251" y="23"/>
                  </a:cubicBezTo>
                  <a:cubicBezTo>
                    <a:pt x="251" y="23"/>
                    <a:pt x="251" y="23"/>
                    <a:pt x="249" y="23"/>
                  </a:cubicBezTo>
                  <a:cubicBezTo>
                    <a:pt x="249" y="23"/>
                    <a:pt x="249" y="23"/>
                    <a:pt x="239" y="18"/>
                  </a:cubicBezTo>
                  <a:cubicBezTo>
                    <a:pt x="239" y="18"/>
                    <a:pt x="239" y="18"/>
                    <a:pt x="239" y="98"/>
                  </a:cubicBezTo>
                  <a:cubicBezTo>
                    <a:pt x="233" y="98"/>
                    <a:pt x="228" y="98"/>
                    <a:pt x="224" y="97"/>
                  </a:cubicBezTo>
                  <a:cubicBezTo>
                    <a:pt x="224" y="97"/>
                    <a:pt x="224" y="97"/>
                    <a:pt x="227" y="105"/>
                  </a:cubicBezTo>
                  <a:cubicBezTo>
                    <a:pt x="229" y="104"/>
                    <a:pt x="235" y="104"/>
                    <a:pt x="244" y="104"/>
                  </a:cubicBezTo>
                  <a:cubicBezTo>
                    <a:pt x="244" y="104"/>
                    <a:pt x="244" y="104"/>
                    <a:pt x="266" y="104"/>
                  </a:cubicBezTo>
                  <a:cubicBezTo>
                    <a:pt x="262" y="111"/>
                    <a:pt x="258" y="116"/>
                    <a:pt x="254" y="122"/>
                  </a:cubicBezTo>
                  <a:cubicBezTo>
                    <a:pt x="250" y="127"/>
                    <a:pt x="245" y="132"/>
                    <a:pt x="240" y="136"/>
                  </a:cubicBezTo>
                  <a:cubicBezTo>
                    <a:pt x="235" y="142"/>
                    <a:pt x="228" y="148"/>
                    <a:pt x="219" y="154"/>
                  </a:cubicBezTo>
                  <a:cubicBezTo>
                    <a:pt x="219" y="154"/>
                    <a:pt x="219" y="154"/>
                    <a:pt x="221" y="156"/>
                  </a:cubicBezTo>
                  <a:cubicBezTo>
                    <a:pt x="230" y="151"/>
                    <a:pt x="239" y="145"/>
                    <a:pt x="245" y="141"/>
                  </a:cubicBezTo>
                  <a:cubicBezTo>
                    <a:pt x="251" y="135"/>
                    <a:pt x="257" y="129"/>
                    <a:pt x="262" y="123"/>
                  </a:cubicBezTo>
                  <a:cubicBezTo>
                    <a:pt x="266" y="119"/>
                    <a:pt x="270" y="113"/>
                    <a:pt x="273" y="107"/>
                  </a:cubicBezTo>
                  <a:cubicBezTo>
                    <a:pt x="273" y="107"/>
                    <a:pt x="273" y="107"/>
                    <a:pt x="273" y="143"/>
                  </a:cubicBezTo>
                  <a:cubicBezTo>
                    <a:pt x="273" y="145"/>
                    <a:pt x="273" y="148"/>
                    <a:pt x="271" y="148"/>
                  </a:cubicBezTo>
                  <a:cubicBezTo>
                    <a:pt x="271" y="149"/>
                    <a:pt x="268" y="149"/>
                    <a:pt x="266" y="149"/>
                  </a:cubicBezTo>
                  <a:cubicBezTo>
                    <a:pt x="261" y="149"/>
                    <a:pt x="255" y="148"/>
                    <a:pt x="250" y="146"/>
                  </a:cubicBezTo>
                  <a:cubicBezTo>
                    <a:pt x="250" y="146"/>
                    <a:pt x="250" y="146"/>
                    <a:pt x="250" y="150"/>
                  </a:cubicBezTo>
                  <a:cubicBezTo>
                    <a:pt x="254" y="151"/>
                    <a:pt x="257" y="152"/>
                    <a:pt x="260" y="153"/>
                  </a:cubicBezTo>
                  <a:cubicBezTo>
                    <a:pt x="262" y="154"/>
                    <a:pt x="264" y="155"/>
                    <a:pt x="266" y="156"/>
                  </a:cubicBezTo>
                  <a:cubicBezTo>
                    <a:pt x="266" y="157"/>
                    <a:pt x="266" y="158"/>
                    <a:pt x="266" y="159"/>
                  </a:cubicBezTo>
                  <a:cubicBezTo>
                    <a:pt x="266" y="159"/>
                    <a:pt x="266" y="159"/>
                    <a:pt x="267" y="163"/>
                  </a:cubicBezTo>
                  <a:cubicBezTo>
                    <a:pt x="268" y="163"/>
                    <a:pt x="271" y="162"/>
                    <a:pt x="273" y="161"/>
                  </a:cubicBezTo>
                  <a:cubicBezTo>
                    <a:pt x="275" y="159"/>
                    <a:pt x="277" y="158"/>
                    <a:pt x="278" y="156"/>
                  </a:cubicBezTo>
                  <a:cubicBezTo>
                    <a:pt x="280" y="154"/>
                    <a:pt x="281" y="151"/>
                    <a:pt x="281" y="147"/>
                  </a:cubicBezTo>
                  <a:cubicBezTo>
                    <a:pt x="281" y="147"/>
                    <a:pt x="281" y="147"/>
                    <a:pt x="281" y="31"/>
                  </a:cubicBezTo>
                  <a:cubicBezTo>
                    <a:pt x="286" y="28"/>
                    <a:pt x="288" y="26"/>
                    <a:pt x="288" y="25"/>
                  </a:cubicBezTo>
                  <a:cubicBezTo>
                    <a:pt x="288" y="25"/>
                    <a:pt x="288" y="24"/>
                    <a:pt x="286" y="23"/>
                  </a:cubicBezTo>
                  <a:close/>
                  <a:moveTo>
                    <a:pt x="273" y="98"/>
                  </a:moveTo>
                  <a:cubicBezTo>
                    <a:pt x="273" y="98"/>
                    <a:pt x="273" y="98"/>
                    <a:pt x="247" y="98"/>
                  </a:cubicBezTo>
                  <a:cubicBezTo>
                    <a:pt x="247" y="78"/>
                    <a:pt x="247" y="78"/>
                    <a:pt x="247" y="78"/>
                  </a:cubicBezTo>
                  <a:cubicBezTo>
                    <a:pt x="247" y="78"/>
                    <a:pt x="247" y="78"/>
                    <a:pt x="273" y="78"/>
                  </a:cubicBezTo>
                  <a:cubicBezTo>
                    <a:pt x="273" y="78"/>
                    <a:pt x="273" y="78"/>
                    <a:pt x="273" y="98"/>
                  </a:cubicBezTo>
                  <a:close/>
                  <a:moveTo>
                    <a:pt x="273" y="73"/>
                  </a:moveTo>
                  <a:cubicBezTo>
                    <a:pt x="273" y="73"/>
                    <a:pt x="273" y="73"/>
                    <a:pt x="247" y="73"/>
                  </a:cubicBezTo>
                  <a:cubicBezTo>
                    <a:pt x="247" y="52"/>
                    <a:pt x="247" y="52"/>
                    <a:pt x="247" y="52"/>
                  </a:cubicBezTo>
                  <a:cubicBezTo>
                    <a:pt x="247" y="52"/>
                    <a:pt x="247" y="52"/>
                    <a:pt x="273" y="52"/>
                  </a:cubicBezTo>
                  <a:cubicBezTo>
                    <a:pt x="273" y="52"/>
                    <a:pt x="273" y="52"/>
                    <a:pt x="273" y="73"/>
                  </a:cubicBezTo>
                  <a:close/>
                  <a:moveTo>
                    <a:pt x="273" y="47"/>
                  </a:moveTo>
                  <a:cubicBezTo>
                    <a:pt x="273" y="47"/>
                    <a:pt x="273" y="47"/>
                    <a:pt x="247" y="47"/>
                  </a:cubicBezTo>
                  <a:cubicBezTo>
                    <a:pt x="247" y="28"/>
                    <a:pt x="247" y="28"/>
                    <a:pt x="247" y="28"/>
                  </a:cubicBezTo>
                  <a:cubicBezTo>
                    <a:pt x="247" y="28"/>
                    <a:pt x="247" y="28"/>
                    <a:pt x="273" y="28"/>
                  </a:cubicBezTo>
                  <a:cubicBezTo>
                    <a:pt x="273" y="28"/>
                    <a:pt x="273" y="28"/>
                    <a:pt x="273" y="47"/>
                  </a:cubicBezTo>
                  <a:close/>
                  <a:moveTo>
                    <a:pt x="284" y="44"/>
                  </a:moveTo>
                  <a:cubicBezTo>
                    <a:pt x="289" y="45"/>
                    <a:pt x="296" y="46"/>
                    <a:pt x="305" y="46"/>
                  </a:cubicBezTo>
                  <a:cubicBezTo>
                    <a:pt x="317" y="46"/>
                    <a:pt x="317" y="46"/>
                    <a:pt x="317" y="46"/>
                  </a:cubicBezTo>
                  <a:cubicBezTo>
                    <a:pt x="317" y="16"/>
                    <a:pt x="317" y="16"/>
                    <a:pt x="317" y="16"/>
                  </a:cubicBezTo>
                  <a:cubicBezTo>
                    <a:pt x="317" y="9"/>
                    <a:pt x="316" y="5"/>
                    <a:pt x="316" y="2"/>
                  </a:cubicBezTo>
                  <a:cubicBezTo>
                    <a:pt x="322" y="3"/>
                    <a:pt x="328" y="5"/>
                    <a:pt x="333" y="7"/>
                  </a:cubicBezTo>
                  <a:cubicBezTo>
                    <a:pt x="334" y="7"/>
                    <a:pt x="335" y="7"/>
                    <a:pt x="335" y="8"/>
                  </a:cubicBezTo>
                  <a:cubicBezTo>
                    <a:pt x="335" y="9"/>
                    <a:pt x="334" y="10"/>
                    <a:pt x="333" y="11"/>
                  </a:cubicBezTo>
                  <a:cubicBezTo>
                    <a:pt x="330" y="12"/>
                    <a:pt x="328" y="12"/>
                    <a:pt x="325" y="13"/>
                  </a:cubicBezTo>
                  <a:cubicBezTo>
                    <a:pt x="325" y="46"/>
                    <a:pt x="325" y="46"/>
                    <a:pt x="325" y="46"/>
                  </a:cubicBezTo>
                  <a:cubicBezTo>
                    <a:pt x="326" y="46"/>
                    <a:pt x="326" y="46"/>
                    <a:pt x="326" y="46"/>
                  </a:cubicBezTo>
                  <a:cubicBezTo>
                    <a:pt x="333" y="38"/>
                    <a:pt x="333" y="38"/>
                    <a:pt x="333" y="38"/>
                  </a:cubicBezTo>
                  <a:cubicBezTo>
                    <a:pt x="336" y="41"/>
                    <a:pt x="340" y="44"/>
                    <a:pt x="343" y="47"/>
                  </a:cubicBezTo>
                  <a:cubicBezTo>
                    <a:pt x="344" y="47"/>
                    <a:pt x="344" y="47"/>
                    <a:pt x="344" y="48"/>
                  </a:cubicBezTo>
                  <a:cubicBezTo>
                    <a:pt x="344" y="50"/>
                    <a:pt x="344" y="52"/>
                    <a:pt x="342" y="52"/>
                  </a:cubicBezTo>
                  <a:cubicBezTo>
                    <a:pt x="325" y="52"/>
                    <a:pt x="325" y="52"/>
                    <a:pt x="325" y="52"/>
                  </a:cubicBezTo>
                  <a:cubicBezTo>
                    <a:pt x="325" y="146"/>
                    <a:pt x="325" y="146"/>
                    <a:pt x="325" y="146"/>
                  </a:cubicBezTo>
                  <a:cubicBezTo>
                    <a:pt x="325" y="150"/>
                    <a:pt x="324" y="153"/>
                    <a:pt x="322" y="155"/>
                  </a:cubicBezTo>
                  <a:cubicBezTo>
                    <a:pt x="321" y="157"/>
                    <a:pt x="320" y="159"/>
                    <a:pt x="317" y="160"/>
                  </a:cubicBezTo>
                  <a:cubicBezTo>
                    <a:pt x="315" y="161"/>
                    <a:pt x="313" y="162"/>
                    <a:pt x="311" y="162"/>
                  </a:cubicBezTo>
                  <a:cubicBezTo>
                    <a:pt x="311" y="159"/>
                    <a:pt x="311" y="159"/>
                    <a:pt x="311" y="159"/>
                  </a:cubicBezTo>
                  <a:cubicBezTo>
                    <a:pt x="311" y="157"/>
                    <a:pt x="310" y="156"/>
                    <a:pt x="309" y="156"/>
                  </a:cubicBezTo>
                  <a:cubicBezTo>
                    <a:pt x="308" y="154"/>
                    <a:pt x="306" y="153"/>
                    <a:pt x="303" y="152"/>
                  </a:cubicBezTo>
                  <a:cubicBezTo>
                    <a:pt x="300" y="151"/>
                    <a:pt x="296" y="150"/>
                    <a:pt x="292" y="150"/>
                  </a:cubicBezTo>
                  <a:cubicBezTo>
                    <a:pt x="292" y="145"/>
                    <a:pt x="292" y="145"/>
                    <a:pt x="292" y="145"/>
                  </a:cubicBezTo>
                  <a:cubicBezTo>
                    <a:pt x="298" y="148"/>
                    <a:pt x="304" y="148"/>
                    <a:pt x="309" y="148"/>
                  </a:cubicBezTo>
                  <a:cubicBezTo>
                    <a:pt x="313" y="148"/>
                    <a:pt x="314" y="148"/>
                    <a:pt x="315" y="148"/>
                  </a:cubicBezTo>
                  <a:cubicBezTo>
                    <a:pt x="316" y="147"/>
                    <a:pt x="317" y="145"/>
                    <a:pt x="317" y="142"/>
                  </a:cubicBezTo>
                  <a:cubicBezTo>
                    <a:pt x="317" y="52"/>
                    <a:pt x="317" y="52"/>
                    <a:pt x="317" y="52"/>
                  </a:cubicBezTo>
                  <a:cubicBezTo>
                    <a:pt x="305" y="52"/>
                    <a:pt x="305" y="52"/>
                    <a:pt x="305" y="52"/>
                  </a:cubicBezTo>
                  <a:cubicBezTo>
                    <a:pt x="297" y="52"/>
                    <a:pt x="291" y="52"/>
                    <a:pt x="288" y="52"/>
                  </a:cubicBezTo>
                  <a:cubicBezTo>
                    <a:pt x="284" y="44"/>
                    <a:pt x="284" y="44"/>
                    <a:pt x="284" y="44"/>
                  </a:cubicBezTo>
                  <a:cubicBezTo>
                    <a:pt x="284" y="44"/>
                    <a:pt x="284" y="44"/>
                    <a:pt x="284" y="44"/>
                  </a:cubicBezTo>
                  <a:close/>
                  <a:moveTo>
                    <a:pt x="292" y="70"/>
                  </a:moveTo>
                  <a:cubicBezTo>
                    <a:pt x="296" y="75"/>
                    <a:pt x="300" y="80"/>
                    <a:pt x="302" y="85"/>
                  </a:cubicBezTo>
                  <a:cubicBezTo>
                    <a:pt x="304" y="88"/>
                    <a:pt x="306" y="92"/>
                    <a:pt x="306" y="96"/>
                  </a:cubicBezTo>
                  <a:cubicBezTo>
                    <a:pt x="308" y="99"/>
                    <a:pt x="308" y="101"/>
                    <a:pt x="308" y="104"/>
                  </a:cubicBezTo>
                  <a:cubicBezTo>
                    <a:pt x="308" y="105"/>
                    <a:pt x="308" y="107"/>
                    <a:pt x="307" y="108"/>
                  </a:cubicBezTo>
                  <a:cubicBezTo>
                    <a:pt x="306" y="110"/>
                    <a:pt x="305" y="110"/>
                    <a:pt x="304" y="110"/>
                  </a:cubicBezTo>
                  <a:cubicBezTo>
                    <a:pt x="303" y="110"/>
                    <a:pt x="302" y="110"/>
                    <a:pt x="301" y="110"/>
                  </a:cubicBezTo>
                  <a:cubicBezTo>
                    <a:pt x="300" y="108"/>
                    <a:pt x="300" y="107"/>
                    <a:pt x="300" y="105"/>
                  </a:cubicBezTo>
                  <a:cubicBezTo>
                    <a:pt x="299" y="97"/>
                    <a:pt x="298" y="91"/>
                    <a:pt x="297" y="87"/>
                  </a:cubicBezTo>
                  <a:cubicBezTo>
                    <a:pt x="295" y="83"/>
                    <a:pt x="293" y="78"/>
                    <a:pt x="290" y="72"/>
                  </a:cubicBezTo>
                  <a:cubicBezTo>
                    <a:pt x="292" y="70"/>
                    <a:pt x="292" y="70"/>
                    <a:pt x="292" y="70"/>
                  </a:cubicBezTo>
                  <a:cubicBezTo>
                    <a:pt x="292" y="70"/>
                    <a:pt x="292" y="70"/>
                    <a:pt x="292" y="70"/>
                  </a:cubicBezTo>
                  <a:close/>
                </a:path>
              </a:pathLst>
            </a:custGeom>
            <a:solidFill>
              <a:srgbClr val="D29FD6"/>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2" name="Freeform 231">
              <a:extLst>
                <a:ext uri="{FF2B5EF4-FFF2-40B4-BE49-F238E27FC236}">
                  <a16:creationId xmlns:a16="http://schemas.microsoft.com/office/drawing/2014/main" id="{652F3D98-67F9-4D5F-B6AF-138493A82E4E}"/>
                </a:ext>
                <a:ext uri="{C183D7F6-B498-43B3-948B-1728B52AA6E4}">
                  <adec:decorative xmlns:adec="http://schemas.microsoft.com/office/drawing/2017/decorative" val="1"/>
                </a:ext>
              </a:extLst>
            </p:cNvPr>
            <p:cNvSpPr>
              <a:spLocks noEditPoints="1"/>
            </p:cNvSpPr>
            <p:nvPr/>
          </p:nvSpPr>
          <p:spPr bwMode="auto">
            <a:xfrm>
              <a:off x="9134749" y="2706701"/>
              <a:ext cx="1791752" cy="319999"/>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3" name="Freeform 232">
              <a:extLst>
                <a:ext uri="{FF2B5EF4-FFF2-40B4-BE49-F238E27FC236}">
                  <a16:creationId xmlns:a16="http://schemas.microsoft.com/office/drawing/2014/main" id="{E913F960-9C78-D39D-BE73-11E28A81BF5F}"/>
                </a:ext>
                <a:ext uri="{C183D7F6-B498-43B3-948B-1728B52AA6E4}">
                  <adec:decorative xmlns:adec="http://schemas.microsoft.com/office/drawing/2017/decorative" val="1"/>
                </a:ext>
              </a:extLst>
            </p:cNvPr>
            <p:cNvSpPr>
              <a:spLocks noEditPoints="1"/>
            </p:cNvSpPr>
            <p:nvPr/>
          </p:nvSpPr>
          <p:spPr bwMode="auto">
            <a:xfrm>
              <a:off x="6815645" y="2421951"/>
              <a:ext cx="1950999" cy="233759"/>
            </a:xfrm>
            <a:custGeom>
              <a:avLst/>
              <a:gdLst>
                <a:gd name="T0" fmla="*/ 21 w 642"/>
                <a:gd name="T1" fmla="*/ 76 h 77"/>
                <a:gd name="T2" fmla="*/ 0 w 642"/>
                <a:gd name="T3" fmla="*/ 1 h 77"/>
                <a:gd name="T4" fmla="*/ 27 w 642"/>
                <a:gd name="T5" fmla="*/ 6 h 77"/>
                <a:gd name="T6" fmla="*/ 96 w 642"/>
                <a:gd name="T7" fmla="*/ 1 h 77"/>
                <a:gd name="T8" fmla="*/ 66 w 642"/>
                <a:gd name="T9" fmla="*/ 36 h 77"/>
                <a:gd name="T10" fmla="*/ 66 w 642"/>
                <a:gd name="T11" fmla="*/ 40 h 77"/>
                <a:gd name="T12" fmla="*/ 98 w 642"/>
                <a:gd name="T13" fmla="*/ 76 h 77"/>
                <a:gd name="T14" fmla="*/ 139 w 642"/>
                <a:gd name="T15" fmla="*/ 41 h 77"/>
                <a:gd name="T16" fmla="*/ 157 w 642"/>
                <a:gd name="T17" fmla="*/ 20 h 77"/>
                <a:gd name="T18" fmla="*/ 115 w 642"/>
                <a:gd name="T19" fmla="*/ 1 h 77"/>
                <a:gd name="T20" fmla="*/ 120 w 642"/>
                <a:gd name="T21" fmla="*/ 43 h 77"/>
                <a:gd name="T22" fmla="*/ 143 w 642"/>
                <a:gd name="T23" fmla="*/ 54 h 77"/>
                <a:gd name="T24" fmla="*/ 148 w 642"/>
                <a:gd name="T25" fmla="*/ 52 h 77"/>
                <a:gd name="T26" fmla="*/ 120 w 642"/>
                <a:gd name="T27" fmla="*/ 6 h 77"/>
                <a:gd name="T28" fmla="*/ 152 w 642"/>
                <a:gd name="T29" fmla="*/ 21 h 77"/>
                <a:gd name="T30" fmla="*/ 175 w 642"/>
                <a:gd name="T31" fmla="*/ 76 h 77"/>
                <a:gd name="T32" fmla="*/ 180 w 642"/>
                <a:gd name="T33" fmla="*/ 76 h 77"/>
                <a:gd name="T34" fmla="*/ 264 w 642"/>
                <a:gd name="T35" fmla="*/ 23 h 77"/>
                <a:gd name="T36" fmla="*/ 262 w 642"/>
                <a:gd name="T37" fmla="*/ 18 h 77"/>
                <a:gd name="T38" fmla="*/ 207 w 642"/>
                <a:gd name="T39" fmla="*/ 18 h 77"/>
                <a:gd name="T40" fmla="*/ 204 w 642"/>
                <a:gd name="T41" fmla="*/ 21 h 77"/>
                <a:gd name="T42" fmla="*/ 199 w 642"/>
                <a:gd name="T43" fmla="*/ 1 h 77"/>
                <a:gd name="T44" fmla="*/ 233 w 642"/>
                <a:gd name="T45" fmla="*/ 63 h 77"/>
                <a:gd name="T46" fmla="*/ 235 w 642"/>
                <a:gd name="T47" fmla="*/ 68 h 77"/>
                <a:gd name="T48" fmla="*/ 265 w 642"/>
                <a:gd name="T49" fmla="*/ 1 h 77"/>
                <a:gd name="T50" fmla="*/ 264 w 642"/>
                <a:gd name="T51" fmla="*/ 76 h 77"/>
                <a:gd name="T52" fmla="*/ 282 w 642"/>
                <a:gd name="T53" fmla="*/ 76 h 77"/>
                <a:gd name="T54" fmla="*/ 329 w 642"/>
                <a:gd name="T55" fmla="*/ 53 h 77"/>
                <a:gd name="T56" fmla="*/ 316 w 642"/>
                <a:gd name="T57" fmla="*/ 1 h 77"/>
                <a:gd name="T58" fmla="*/ 313 w 642"/>
                <a:gd name="T59" fmla="*/ 7 h 77"/>
                <a:gd name="T60" fmla="*/ 315 w 642"/>
                <a:gd name="T61" fmla="*/ 13 h 77"/>
                <a:gd name="T62" fmla="*/ 425 w 642"/>
                <a:gd name="T63" fmla="*/ 76 h 77"/>
                <a:gd name="T64" fmla="*/ 391 w 642"/>
                <a:gd name="T65" fmla="*/ 38 h 77"/>
                <a:gd name="T66" fmla="*/ 386 w 642"/>
                <a:gd name="T67" fmla="*/ 1 h 77"/>
                <a:gd name="T68" fmla="*/ 391 w 642"/>
                <a:gd name="T69" fmla="*/ 36 h 77"/>
                <a:gd name="T70" fmla="*/ 430 w 642"/>
                <a:gd name="T71" fmla="*/ 1 h 77"/>
                <a:gd name="T72" fmla="*/ 425 w 642"/>
                <a:gd name="T73" fmla="*/ 76 h 77"/>
                <a:gd name="T74" fmla="*/ 436 w 642"/>
                <a:gd name="T75" fmla="*/ 76 h 77"/>
                <a:gd name="T76" fmla="*/ 483 w 642"/>
                <a:gd name="T77" fmla="*/ 53 h 77"/>
                <a:gd name="T78" fmla="*/ 469 w 642"/>
                <a:gd name="T79" fmla="*/ 1 h 77"/>
                <a:gd name="T80" fmla="*/ 467 w 642"/>
                <a:gd name="T81" fmla="*/ 7 h 77"/>
                <a:gd name="T82" fmla="*/ 468 w 642"/>
                <a:gd name="T83" fmla="*/ 13 h 77"/>
                <a:gd name="T84" fmla="*/ 508 w 642"/>
                <a:gd name="T85" fmla="*/ 73 h 77"/>
                <a:gd name="T86" fmla="*/ 538 w 642"/>
                <a:gd name="T87" fmla="*/ 69 h 77"/>
                <a:gd name="T88" fmla="*/ 526 w 642"/>
                <a:gd name="T89" fmla="*/ 40 h 77"/>
                <a:gd name="T90" fmla="*/ 514 w 642"/>
                <a:gd name="T91" fmla="*/ 5 h 77"/>
                <a:gd name="T92" fmla="*/ 544 w 642"/>
                <a:gd name="T93" fmla="*/ 7 h 77"/>
                <a:gd name="T94" fmla="*/ 514 w 642"/>
                <a:gd name="T95" fmla="*/ 18 h 77"/>
                <a:gd name="T96" fmla="*/ 544 w 642"/>
                <a:gd name="T97" fmla="*/ 47 h 77"/>
                <a:gd name="T98" fmla="*/ 524 w 642"/>
                <a:gd name="T99" fmla="*/ 77 h 77"/>
                <a:gd name="T100" fmla="*/ 564 w 642"/>
                <a:gd name="T101" fmla="*/ 76 h 77"/>
                <a:gd name="T102" fmla="*/ 569 w 642"/>
                <a:gd name="T103" fmla="*/ 76 h 77"/>
                <a:gd name="T104" fmla="*/ 636 w 642"/>
                <a:gd name="T105" fmla="*/ 40 h 77"/>
                <a:gd name="T106" fmla="*/ 588 w 642"/>
                <a:gd name="T107" fmla="*/ 76 h 77"/>
                <a:gd name="T108" fmla="*/ 593 w 642"/>
                <a:gd name="T109" fmla="*/ 35 h 77"/>
                <a:gd name="T110" fmla="*/ 642 w 642"/>
                <a:gd name="T111"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2" h="77">
                  <a:moveTo>
                    <a:pt x="27" y="6"/>
                  </a:moveTo>
                  <a:cubicBezTo>
                    <a:pt x="27" y="76"/>
                    <a:pt x="27" y="76"/>
                    <a:pt x="27" y="76"/>
                  </a:cubicBezTo>
                  <a:cubicBezTo>
                    <a:pt x="21" y="76"/>
                    <a:pt x="21" y="76"/>
                    <a:pt x="21" y="76"/>
                  </a:cubicBezTo>
                  <a:cubicBezTo>
                    <a:pt x="21" y="6"/>
                    <a:pt x="21" y="6"/>
                    <a:pt x="21" y="6"/>
                  </a:cubicBezTo>
                  <a:cubicBezTo>
                    <a:pt x="0" y="6"/>
                    <a:pt x="0" y="6"/>
                    <a:pt x="0" y="6"/>
                  </a:cubicBezTo>
                  <a:cubicBezTo>
                    <a:pt x="0" y="1"/>
                    <a:pt x="0" y="1"/>
                    <a:pt x="0" y="1"/>
                  </a:cubicBezTo>
                  <a:cubicBezTo>
                    <a:pt x="48" y="1"/>
                    <a:pt x="48" y="1"/>
                    <a:pt x="48" y="1"/>
                  </a:cubicBezTo>
                  <a:cubicBezTo>
                    <a:pt x="48" y="6"/>
                    <a:pt x="48" y="6"/>
                    <a:pt x="48" y="6"/>
                  </a:cubicBezTo>
                  <a:lnTo>
                    <a:pt x="27" y="6"/>
                  </a:lnTo>
                  <a:close/>
                  <a:moveTo>
                    <a:pt x="61" y="76"/>
                  </a:moveTo>
                  <a:cubicBezTo>
                    <a:pt x="61" y="1"/>
                    <a:pt x="61" y="1"/>
                    <a:pt x="61" y="1"/>
                  </a:cubicBezTo>
                  <a:cubicBezTo>
                    <a:pt x="96" y="1"/>
                    <a:pt x="96" y="1"/>
                    <a:pt x="96" y="1"/>
                  </a:cubicBezTo>
                  <a:cubicBezTo>
                    <a:pt x="96" y="6"/>
                    <a:pt x="96" y="6"/>
                    <a:pt x="96" y="6"/>
                  </a:cubicBezTo>
                  <a:cubicBezTo>
                    <a:pt x="66" y="6"/>
                    <a:pt x="66" y="6"/>
                    <a:pt x="66" y="6"/>
                  </a:cubicBezTo>
                  <a:cubicBezTo>
                    <a:pt x="66" y="36"/>
                    <a:pt x="66" y="36"/>
                    <a:pt x="66" y="36"/>
                  </a:cubicBezTo>
                  <a:cubicBezTo>
                    <a:pt x="94" y="36"/>
                    <a:pt x="94" y="36"/>
                    <a:pt x="94" y="36"/>
                  </a:cubicBezTo>
                  <a:cubicBezTo>
                    <a:pt x="94" y="40"/>
                    <a:pt x="94" y="40"/>
                    <a:pt x="94" y="40"/>
                  </a:cubicBezTo>
                  <a:cubicBezTo>
                    <a:pt x="66" y="40"/>
                    <a:pt x="66" y="40"/>
                    <a:pt x="66" y="40"/>
                  </a:cubicBezTo>
                  <a:cubicBezTo>
                    <a:pt x="66" y="71"/>
                    <a:pt x="66" y="71"/>
                    <a:pt x="66" y="71"/>
                  </a:cubicBezTo>
                  <a:cubicBezTo>
                    <a:pt x="98" y="71"/>
                    <a:pt x="98" y="71"/>
                    <a:pt x="98" y="71"/>
                  </a:cubicBezTo>
                  <a:cubicBezTo>
                    <a:pt x="98" y="76"/>
                    <a:pt x="98" y="76"/>
                    <a:pt x="98" y="76"/>
                  </a:cubicBezTo>
                  <a:lnTo>
                    <a:pt x="61" y="76"/>
                  </a:lnTo>
                  <a:close/>
                  <a:moveTo>
                    <a:pt x="148" y="52"/>
                  </a:moveTo>
                  <a:cubicBezTo>
                    <a:pt x="145" y="46"/>
                    <a:pt x="142" y="42"/>
                    <a:pt x="139" y="41"/>
                  </a:cubicBezTo>
                  <a:cubicBezTo>
                    <a:pt x="139" y="41"/>
                    <a:pt x="139" y="41"/>
                    <a:pt x="139" y="41"/>
                  </a:cubicBezTo>
                  <a:cubicBezTo>
                    <a:pt x="145" y="40"/>
                    <a:pt x="149" y="38"/>
                    <a:pt x="152" y="34"/>
                  </a:cubicBezTo>
                  <a:cubicBezTo>
                    <a:pt x="156" y="30"/>
                    <a:pt x="157" y="26"/>
                    <a:pt x="157" y="20"/>
                  </a:cubicBezTo>
                  <a:cubicBezTo>
                    <a:pt x="157" y="14"/>
                    <a:pt x="155" y="10"/>
                    <a:pt x="151" y="6"/>
                  </a:cubicBezTo>
                  <a:cubicBezTo>
                    <a:pt x="148" y="3"/>
                    <a:pt x="142" y="1"/>
                    <a:pt x="136" y="1"/>
                  </a:cubicBezTo>
                  <a:cubicBezTo>
                    <a:pt x="115" y="1"/>
                    <a:pt x="115" y="1"/>
                    <a:pt x="115" y="1"/>
                  </a:cubicBezTo>
                  <a:cubicBezTo>
                    <a:pt x="115" y="76"/>
                    <a:pt x="115" y="76"/>
                    <a:pt x="115" y="76"/>
                  </a:cubicBezTo>
                  <a:cubicBezTo>
                    <a:pt x="120" y="76"/>
                    <a:pt x="120" y="76"/>
                    <a:pt x="120" y="76"/>
                  </a:cubicBezTo>
                  <a:cubicBezTo>
                    <a:pt x="120" y="43"/>
                    <a:pt x="120" y="43"/>
                    <a:pt x="120" y="43"/>
                  </a:cubicBezTo>
                  <a:cubicBezTo>
                    <a:pt x="129" y="43"/>
                    <a:pt x="129" y="43"/>
                    <a:pt x="129" y="43"/>
                  </a:cubicBezTo>
                  <a:cubicBezTo>
                    <a:pt x="133" y="43"/>
                    <a:pt x="135" y="43"/>
                    <a:pt x="137" y="45"/>
                  </a:cubicBezTo>
                  <a:cubicBezTo>
                    <a:pt x="139" y="46"/>
                    <a:pt x="141" y="49"/>
                    <a:pt x="143" y="54"/>
                  </a:cubicBezTo>
                  <a:cubicBezTo>
                    <a:pt x="153" y="76"/>
                    <a:pt x="153" y="76"/>
                    <a:pt x="153" y="76"/>
                  </a:cubicBezTo>
                  <a:cubicBezTo>
                    <a:pt x="159" y="76"/>
                    <a:pt x="159" y="76"/>
                    <a:pt x="159" y="76"/>
                  </a:cubicBezTo>
                  <a:lnTo>
                    <a:pt x="148" y="52"/>
                  </a:lnTo>
                  <a:close/>
                  <a:moveTo>
                    <a:pt x="133" y="38"/>
                  </a:moveTo>
                  <a:cubicBezTo>
                    <a:pt x="120" y="38"/>
                    <a:pt x="120" y="38"/>
                    <a:pt x="120" y="38"/>
                  </a:cubicBezTo>
                  <a:cubicBezTo>
                    <a:pt x="120" y="6"/>
                    <a:pt x="120" y="6"/>
                    <a:pt x="120" y="6"/>
                  </a:cubicBezTo>
                  <a:cubicBezTo>
                    <a:pt x="134" y="6"/>
                    <a:pt x="134" y="6"/>
                    <a:pt x="134" y="6"/>
                  </a:cubicBezTo>
                  <a:cubicBezTo>
                    <a:pt x="140" y="6"/>
                    <a:pt x="144" y="7"/>
                    <a:pt x="147" y="10"/>
                  </a:cubicBezTo>
                  <a:cubicBezTo>
                    <a:pt x="150" y="12"/>
                    <a:pt x="152" y="16"/>
                    <a:pt x="152" y="21"/>
                  </a:cubicBezTo>
                  <a:cubicBezTo>
                    <a:pt x="152" y="26"/>
                    <a:pt x="150" y="30"/>
                    <a:pt x="147" y="33"/>
                  </a:cubicBezTo>
                  <a:cubicBezTo>
                    <a:pt x="143" y="36"/>
                    <a:pt x="139" y="38"/>
                    <a:pt x="133" y="38"/>
                  </a:cubicBezTo>
                  <a:close/>
                  <a:moveTo>
                    <a:pt x="175" y="76"/>
                  </a:moveTo>
                  <a:cubicBezTo>
                    <a:pt x="175" y="1"/>
                    <a:pt x="175" y="1"/>
                    <a:pt x="175" y="1"/>
                  </a:cubicBezTo>
                  <a:cubicBezTo>
                    <a:pt x="180" y="1"/>
                    <a:pt x="180" y="1"/>
                    <a:pt x="180" y="1"/>
                  </a:cubicBezTo>
                  <a:cubicBezTo>
                    <a:pt x="180" y="76"/>
                    <a:pt x="180" y="76"/>
                    <a:pt x="180" y="76"/>
                  </a:cubicBezTo>
                  <a:lnTo>
                    <a:pt x="175" y="76"/>
                  </a:lnTo>
                  <a:close/>
                  <a:moveTo>
                    <a:pt x="264" y="76"/>
                  </a:moveTo>
                  <a:cubicBezTo>
                    <a:pt x="264" y="23"/>
                    <a:pt x="264" y="23"/>
                    <a:pt x="264" y="23"/>
                  </a:cubicBezTo>
                  <a:cubicBezTo>
                    <a:pt x="264" y="21"/>
                    <a:pt x="265" y="18"/>
                    <a:pt x="265" y="12"/>
                  </a:cubicBezTo>
                  <a:cubicBezTo>
                    <a:pt x="265" y="12"/>
                    <a:pt x="265" y="12"/>
                    <a:pt x="265" y="12"/>
                  </a:cubicBezTo>
                  <a:cubicBezTo>
                    <a:pt x="264" y="14"/>
                    <a:pt x="263" y="17"/>
                    <a:pt x="262" y="18"/>
                  </a:cubicBezTo>
                  <a:cubicBezTo>
                    <a:pt x="235" y="76"/>
                    <a:pt x="235" y="76"/>
                    <a:pt x="235" y="76"/>
                  </a:cubicBezTo>
                  <a:cubicBezTo>
                    <a:pt x="234" y="76"/>
                    <a:pt x="234" y="76"/>
                    <a:pt x="234" y="76"/>
                  </a:cubicBezTo>
                  <a:cubicBezTo>
                    <a:pt x="207" y="18"/>
                    <a:pt x="207" y="18"/>
                    <a:pt x="207" y="18"/>
                  </a:cubicBezTo>
                  <a:cubicBezTo>
                    <a:pt x="206" y="17"/>
                    <a:pt x="205" y="14"/>
                    <a:pt x="204" y="11"/>
                  </a:cubicBezTo>
                  <a:cubicBezTo>
                    <a:pt x="204" y="11"/>
                    <a:pt x="204" y="11"/>
                    <a:pt x="204" y="11"/>
                  </a:cubicBezTo>
                  <a:cubicBezTo>
                    <a:pt x="204" y="15"/>
                    <a:pt x="204" y="18"/>
                    <a:pt x="204" y="21"/>
                  </a:cubicBezTo>
                  <a:cubicBezTo>
                    <a:pt x="204" y="76"/>
                    <a:pt x="204" y="76"/>
                    <a:pt x="204" y="76"/>
                  </a:cubicBezTo>
                  <a:cubicBezTo>
                    <a:pt x="199" y="76"/>
                    <a:pt x="199" y="76"/>
                    <a:pt x="199" y="76"/>
                  </a:cubicBezTo>
                  <a:cubicBezTo>
                    <a:pt x="199" y="1"/>
                    <a:pt x="199" y="1"/>
                    <a:pt x="199" y="1"/>
                  </a:cubicBezTo>
                  <a:cubicBezTo>
                    <a:pt x="204" y="1"/>
                    <a:pt x="204" y="1"/>
                    <a:pt x="204" y="1"/>
                  </a:cubicBezTo>
                  <a:cubicBezTo>
                    <a:pt x="232" y="61"/>
                    <a:pt x="232" y="61"/>
                    <a:pt x="232" y="61"/>
                  </a:cubicBezTo>
                  <a:cubicBezTo>
                    <a:pt x="232" y="62"/>
                    <a:pt x="232" y="62"/>
                    <a:pt x="233" y="63"/>
                  </a:cubicBezTo>
                  <a:cubicBezTo>
                    <a:pt x="233" y="63"/>
                    <a:pt x="233" y="64"/>
                    <a:pt x="233" y="65"/>
                  </a:cubicBezTo>
                  <a:cubicBezTo>
                    <a:pt x="234" y="66"/>
                    <a:pt x="234" y="67"/>
                    <a:pt x="234" y="68"/>
                  </a:cubicBezTo>
                  <a:cubicBezTo>
                    <a:pt x="235" y="68"/>
                    <a:pt x="235" y="68"/>
                    <a:pt x="235" y="68"/>
                  </a:cubicBezTo>
                  <a:cubicBezTo>
                    <a:pt x="235" y="66"/>
                    <a:pt x="235" y="66"/>
                    <a:pt x="235" y="66"/>
                  </a:cubicBezTo>
                  <a:cubicBezTo>
                    <a:pt x="235" y="66"/>
                    <a:pt x="236" y="64"/>
                    <a:pt x="237" y="61"/>
                  </a:cubicBezTo>
                  <a:cubicBezTo>
                    <a:pt x="265" y="1"/>
                    <a:pt x="265" y="1"/>
                    <a:pt x="265" y="1"/>
                  </a:cubicBezTo>
                  <a:cubicBezTo>
                    <a:pt x="269" y="1"/>
                    <a:pt x="269" y="1"/>
                    <a:pt x="269" y="1"/>
                  </a:cubicBezTo>
                  <a:cubicBezTo>
                    <a:pt x="269" y="76"/>
                    <a:pt x="269" y="76"/>
                    <a:pt x="269" y="76"/>
                  </a:cubicBezTo>
                  <a:lnTo>
                    <a:pt x="264" y="76"/>
                  </a:lnTo>
                  <a:close/>
                  <a:moveTo>
                    <a:pt x="316" y="1"/>
                  </a:moveTo>
                  <a:cubicBezTo>
                    <a:pt x="311" y="1"/>
                    <a:pt x="311" y="1"/>
                    <a:pt x="311" y="1"/>
                  </a:cubicBezTo>
                  <a:cubicBezTo>
                    <a:pt x="282" y="76"/>
                    <a:pt x="282" y="76"/>
                    <a:pt x="282" y="76"/>
                  </a:cubicBezTo>
                  <a:cubicBezTo>
                    <a:pt x="288" y="76"/>
                    <a:pt x="288" y="76"/>
                    <a:pt x="288" y="76"/>
                  </a:cubicBezTo>
                  <a:cubicBezTo>
                    <a:pt x="297" y="53"/>
                    <a:pt x="297" y="53"/>
                    <a:pt x="297" y="53"/>
                  </a:cubicBezTo>
                  <a:cubicBezTo>
                    <a:pt x="329" y="53"/>
                    <a:pt x="329" y="53"/>
                    <a:pt x="329" y="53"/>
                  </a:cubicBezTo>
                  <a:cubicBezTo>
                    <a:pt x="338" y="76"/>
                    <a:pt x="338" y="76"/>
                    <a:pt x="338" y="76"/>
                  </a:cubicBezTo>
                  <a:cubicBezTo>
                    <a:pt x="344" y="76"/>
                    <a:pt x="344" y="76"/>
                    <a:pt x="344" y="76"/>
                  </a:cubicBezTo>
                  <a:lnTo>
                    <a:pt x="316" y="1"/>
                  </a:lnTo>
                  <a:close/>
                  <a:moveTo>
                    <a:pt x="298" y="48"/>
                  </a:moveTo>
                  <a:cubicBezTo>
                    <a:pt x="311" y="13"/>
                    <a:pt x="311" y="13"/>
                    <a:pt x="311" y="13"/>
                  </a:cubicBezTo>
                  <a:cubicBezTo>
                    <a:pt x="312" y="12"/>
                    <a:pt x="312" y="10"/>
                    <a:pt x="313" y="7"/>
                  </a:cubicBezTo>
                  <a:cubicBezTo>
                    <a:pt x="313" y="7"/>
                    <a:pt x="313" y="7"/>
                    <a:pt x="313" y="7"/>
                  </a:cubicBezTo>
                  <a:cubicBezTo>
                    <a:pt x="313" y="8"/>
                    <a:pt x="313" y="9"/>
                    <a:pt x="314" y="10"/>
                  </a:cubicBezTo>
                  <a:cubicBezTo>
                    <a:pt x="314" y="11"/>
                    <a:pt x="314" y="12"/>
                    <a:pt x="315" y="13"/>
                  </a:cubicBezTo>
                  <a:cubicBezTo>
                    <a:pt x="327" y="48"/>
                    <a:pt x="327" y="48"/>
                    <a:pt x="327" y="48"/>
                  </a:cubicBezTo>
                  <a:lnTo>
                    <a:pt x="298" y="48"/>
                  </a:lnTo>
                  <a:close/>
                  <a:moveTo>
                    <a:pt x="425" y="76"/>
                  </a:moveTo>
                  <a:cubicBezTo>
                    <a:pt x="393" y="40"/>
                    <a:pt x="393" y="40"/>
                    <a:pt x="393" y="40"/>
                  </a:cubicBezTo>
                  <a:cubicBezTo>
                    <a:pt x="392" y="39"/>
                    <a:pt x="391" y="39"/>
                    <a:pt x="391" y="38"/>
                  </a:cubicBezTo>
                  <a:cubicBezTo>
                    <a:pt x="391" y="38"/>
                    <a:pt x="391" y="38"/>
                    <a:pt x="391" y="38"/>
                  </a:cubicBezTo>
                  <a:cubicBezTo>
                    <a:pt x="391" y="76"/>
                    <a:pt x="391" y="76"/>
                    <a:pt x="391" y="76"/>
                  </a:cubicBezTo>
                  <a:cubicBezTo>
                    <a:pt x="386" y="76"/>
                    <a:pt x="386" y="76"/>
                    <a:pt x="386" y="76"/>
                  </a:cubicBezTo>
                  <a:cubicBezTo>
                    <a:pt x="386" y="1"/>
                    <a:pt x="386" y="1"/>
                    <a:pt x="386" y="1"/>
                  </a:cubicBezTo>
                  <a:cubicBezTo>
                    <a:pt x="391" y="1"/>
                    <a:pt x="391" y="1"/>
                    <a:pt x="391" y="1"/>
                  </a:cubicBezTo>
                  <a:cubicBezTo>
                    <a:pt x="391" y="36"/>
                    <a:pt x="391" y="36"/>
                    <a:pt x="391" y="36"/>
                  </a:cubicBezTo>
                  <a:cubicBezTo>
                    <a:pt x="391" y="36"/>
                    <a:pt x="391" y="36"/>
                    <a:pt x="391" y="36"/>
                  </a:cubicBezTo>
                  <a:cubicBezTo>
                    <a:pt x="392" y="36"/>
                    <a:pt x="392" y="35"/>
                    <a:pt x="393" y="34"/>
                  </a:cubicBezTo>
                  <a:cubicBezTo>
                    <a:pt x="423" y="1"/>
                    <a:pt x="423" y="1"/>
                    <a:pt x="423" y="1"/>
                  </a:cubicBezTo>
                  <a:cubicBezTo>
                    <a:pt x="430" y="1"/>
                    <a:pt x="430" y="1"/>
                    <a:pt x="430" y="1"/>
                  </a:cubicBezTo>
                  <a:cubicBezTo>
                    <a:pt x="397" y="37"/>
                    <a:pt x="397" y="37"/>
                    <a:pt x="397" y="37"/>
                  </a:cubicBezTo>
                  <a:cubicBezTo>
                    <a:pt x="432" y="76"/>
                    <a:pt x="432" y="76"/>
                    <a:pt x="432" y="76"/>
                  </a:cubicBezTo>
                  <a:lnTo>
                    <a:pt x="425" y="76"/>
                  </a:lnTo>
                  <a:close/>
                  <a:moveTo>
                    <a:pt x="469" y="1"/>
                  </a:moveTo>
                  <a:cubicBezTo>
                    <a:pt x="464" y="1"/>
                    <a:pt x="464" y="1"/>
                    <a:pt x="464" y="1"/>
                  </a:cubicBezTo>
                  <a:cubicBezTo>
                    <a:pt x="436" y="76"/>
                    <a:pt x="436" y="76"/>
                    <a:pt x="436" y="76"/>
                  </a:cubicBezTo>
                  <a:cubicBezTo>
                    <a:pt x="442" y="76"/>
                    <a:pt x="442" y="76"/>
                    <a:pt x="442" y="76"/>
                  </a:cubicBezTo>
                  <a:cubicBezTo>
                    <a:pt x="450" y="53"/>
                    <a:pt x="450" y="53"/>
                    <a:pt x="450" y="53"/>
                  </a:cubicBezTo>
                  <a:cubicBezTo>
                    <a:pt x="483" y="53"/>
                    <a:pt x="483" y="53"/>
                    <a:pt x="483" y="53"/>
                  </a:cubicBezTo>
                  <a:cubicBezTo>
                    <a:pt x="492" y="76"/>
                    <a:pt x="492" y="76"/>
                    <a:pt x="492" y="76"/>
                  </a:cubicBezTo>
                  <a:cubicBezTo>
                    <a:pt x="497" y="76"/>
                    <a:pt x="497" y="76"/>
                    <a:pt x="497" y="76"/>
                  </a:cubicBezTo>
                  <a:lnTo>
                    <a:pt x="469" y="1"/>
                  </a:lnTo>
                  <a:close/>
                  <a:moveTo>
                    <a:pt x="452" y="48"/>
                  </a:moveTo>
                  <a:cubicBezTo>
                    <a:pt x="465" y="13"/>
                    <a:pt x="465" y="13"/>
                    <a:pt x="465" y="13"/>
                  </a:cubicBezTo>
                  <a:cubicBezTo>
                    <a:pt x="465" y="12"/>
                    <a:pt x="466" y="10"/>
                    <a:pt x="467" y="7"/>
                  </a:cubicBezTo>
                  <a:cubicBezTo>
                    <a:pt x="467" y="7"/>
                    <a:pt x="467" y="7"/>
                    <a:pt x="467" y="7"/>
                  </a:cubicBezTo>
                  <a:cubicBezTo>
                    <a:pt x="467" y="8"/>
                    <a:pt x="467" y="9"/>
                    <a:pt x="468" y="10"/>
                  </a:cubicBezTo>
                  <a:cubicBezTo>
                    <a:pt x="468" y="11"/>
                    <a:pt x="468" y="12"/>
                    <a:pt x="468" y="13"/>
                  </a:cubicBezTo>
                  <a:cubicBezTo>
                    <a:pt x="481" y="48"/>
                    <a:pt x="481" y="48"/>
                    <a:pt x="481" y="48"/>
                  </a:cubicBezTo>
                  <a:lnTo>
                    <a:pt x="452" y="48"/>
                  </a:lnTo>
                  <a:close/>
                  <a:moveTo>
                    <a:pt x="508" y="73"/>
                  </a:moveTo>
                  <a:cubicBezTo>
                    <a:pt x="508" y="67"/>
                    <a:pt x="508" y="67"/>
                    <a:pt x="508" y="67"/>
                  </a:cubicBezTo>
                  <a:cubicBezTo>
                    <a:pt x="513" y="71"/>
                    <a:pt x="519" y="73"/>
                    <a:pt x="524" y="73"/>
                  </a:cubicBezTo>
                  <a:cubicBezTo>
                    <a:pt x="530" y="73"/>
                    <a:pt x="535" y="71"/>
                    <a:pt x="538" y="69"/>
                  </a:cubicBezTo>
                  <a:cubicBezTo>
                    <a:pt x="541" y="67"/>
                    <a:pt x="542" y="63"/>
                    <a:pt x="542" y="59"/>
                  </a:cubicBezTo>
                  <a:cubicBezTo>
                    <a:pt x="542" y="55"/>
                    <a:pt x="541" y="52"/>
                    <a:pt x="539" y="50"/>
                  </a:cubicBezTo>
                  <a:cubicBezTo>
                    <a:pt x="537" y="47"/>
                    <a:pt x="533" y="44"/>
                    <a:pt x="526" y="40"/>
                  </a:cubicBezTo>
                  <a:cubicBezTo>
                    <a:pt x="518" y="36"/>
                    <a:pt x="513" y="32"/>
                    <a:pt x="511" y="29"/>
                  </a:cubicBezTo>
                  <a:cubicBezTo>
                    <a:pt x="509" y="26"/>
                    <a:pt x="508" y="23"/>
                    <a:pt x="508" y="19"/>
                  </a:cubicBezTo>
                  <a:cubicBezTo>
                    <a:pt x="508" y="13"/>
                    <a:pt x="510" y="9"/>
                    <a:pt x="514" y="5"/>
                  </a:cubicBezTo>
                  <a:cubicBezTo>
                    <a:pt x="519" y="1"/>
                    <a:pt x="524" y="0"/>
                    <a:pt x="531" y="0"/>
                  </a:cubicBezTo>
                  <a:cubicBezTo>
                    <a:pt x="535" y="0"/>
                    <a:pt x="540" y="0"/>
                    <a:pt x="544" y="2"/>
                  </a:cubicBezTo>
                  <a:cubicBezTo>
                    <a:pt x="544" y="7"/>
                    <a:pt x="544" y="7"/>
                    <a:pt x="544" y="7"/>
                  </a:cubicBezTo>
                  <a:cubicBezTo>
                    <a:pt x="540" y="5"/>
                    <a:pt x="535" y="4"/>
                    <a:pt x="530" y="4"/>
                  </a:cubicBezTo>
                  <a:cubicBezTo>
                    <a:pt x="525" y="4"/>
                    <a:pt x="521" y="6"/>
                    <a:pt x="518" y="8"/>
                  </a:cubicBezTo>
                  <a:cubicBezTo>
                    <a:pt x="515" y="11"/>
                    <a:pt x="514" y="14"/>
                    <a:pt x="514" y="18"/>
                  </a:cubicBezTo>
                  <a:cubicBezTo>
                    <a:pt x="514" y="22"/>
                    <a:pt x="515" y="25"/>
                    <a:pt x="517" y="27"/>
                  </a:cubicBezTo>
                  <a:cubicBezTo>
                    <a:pt x="519" y="29"/>
                    <a:pt x="523" y="33"/>
                    <a:pt x="530" y="36"/>
                  </a:cubicBezTo>
                  <a:cubicBezTo>
                    <a:pt x="537" y="40"/>
                    <a:pt x="542" y="44"/>
                    <a:pt x="544" y="47"/>
                  </a:cubicBezTo>
                  <a:cubicBezTo>
                    <a:pt x="546" y="50"/>
                    <a:pt x="547" y="54"/>
                    <a:pt x="547" y="58"/>
                  </a:cubicBezTo>
                  <a:cubicBezTo>
                    <a:pt x="547" y="64"/>
                    <a:pt x="545" y="68"/>
                    <a:pt x="541" y="72"/>
                  </a:cubicBezTo>
                  <a:cubicBezTo>
                    <a:pt x="537" y="76"/>
                    <a:pt x="532" y="77"/>
                    <a:pt x="524" y="77"/>
                  </a:cubicBezTo>
                  <a:cubicBezTo>
                    <a:pt x="522" y="77"/>
                    <a:pt x="519" y="77"/>
                    <a:pt x="516" y="76"/>
                  </a:cubicBezTo>
                  <a:cubicBezTo>
                    <a:pt x="512" y="75"/>
                    <a:pt x="510" y="74"/>
                    <a:pt x="508" y="73"/>
                  </a:cubicBezTo>
                  <a:close/>
                  <a:moveTo>
                    <a:pt x="564" y="76"/>
                  </a:moveTo>
                  <a:cubicBezTo>
                    <a:pt x="564" y="1"/>
                    <a:pt x="564" y="1"/>
                    <a:pt x="564" y="1"/>
                  </a:cubicBezTo>
                  <a:cubicBezTo>
                    <a:pt x="569" y="1"/>
                    <a:pt x="569" y="1"/>
                    <a:pt x="569" y="1"/>
                  </a:cubicBezTo>
                  <a:cubicBezTo>
                    <a:pt x="569" y="76"/>
                    <a:pt x="569" y="76"/>
                    <a:pt x="569" y="76"/>
                  </a:cubicBezTo>
                  <a:lnTo>
                    <a:pt x="564" y="76"/>
                  </a:lnTo>
                  <a:close/>
                  <a:moveTo>
                    <a:pt x="636" y="76"/>
                  </a:moveTo>
                  <a:cubicBezTo>
                    <a:pt x="636" y="40"/>
                    <a:pt x="636" y="40"/>
                    <a:pt x="636" y="40"/>
                  </a:cubicBezTo>
                  <a:cubicBezTo>
                    <a:pt x="593" y="40"/>
                    <a:pt x="593" y="40"/>
                    <a:pt x="593" y="40"/>
                  </a:cubicBezTo>
                  <a:cubicBezTo>
                    <a:pt x="593" y="76"/>
                    <a:pt x="593" y="76"/>
                    <a:pt x="593" y="76"/>
                  </a:cubicBezTo>
                  <a:cubicBezTo>
                    <a:pt x="588" y="76"/>
                    <a:pt x="588" y="76"/>
                    <a:pt x="588" y="76"/>
                  </a:cubicBezTo>
                  <a:cubicBezTo>
                    <a:pt x="588" y="1"/>
                    <a:pt x="588" y="1"/>
                    <a:pt x="588" y="1"/>
                  </a:cubicBezTo>
                  <a:cubicBezTo>
                    <a:pt x="593" y="1"/>
                    <a:pt x="593" y="1"/>
                    <a:pt x="593" y="1"/>
                  </a:cubicBezTo>
                  <a:cubicBezTo>
                    <a:pt x="593" y="35"/>
                    <a:pt x="593" y="35"/>
                    <a:pt x="593" y="35"/>
                  </a:cubicBezTo>
                  <a:cubicBezTo>
                    <a:pt x="636" y="35"/>
                    <a:pt x="636" y="35"/>
                    <a:pt x="636" y="35"/>
                  </a:cubicBezTo>
                  <a:cubicBezTo>
                    <a:pt x="636" y="1"/>
                    <a:pt x="636" y="1"/>
                    <a:pt x="636" y="1"/>
                  </a:cubicBezTo>
                  <a:cubicBezTo>
                    <a:pt x="642" y="1"/>
                    <a:pt x="642" y="1"/>
                    <a:pt x="642" y="1"/>
                  </a:cubicBezTo>
                  <a:cubicBezTo>
                    <a:pt x="642" y="76"/>
                    <a:pt x="642" y="76"/>
                    <a:pt x="642" y="76"/>
                  </a:cubicBezTo>
                  <a:lnTo>
                    <a:pt x="636" y="76"/>
                  </a:lnTo>
                  <a:close/>
                </a:path>
              </a:pathLst>
            </a:custGeom>
            <a:solidFill>
              <a:srgbClr val="D6D2CA"/>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4" name="Freeform 233">
              <a:extLst>
                <a:ext uri="{FF2B5EF4-FFF2-40B4-BE49-F238E27FC236}">
                  <a16:creationId xmlns:a16="http://schemas.microsoft.com/office/drawing/2014/main" id="{2EDE83D4-972F-2F7C-172C-A767F819F3D6}"/>
                </a:ext>
                <a:ext uri="{C183D7F6-B498-43B3-948B-1728B52AA6E4}">
                  <adec:decorative xmlns:adec="http://schemas.microsoft.com/office/drawing/2017/decorative" val="1"/>
                </a:ext>
              </a:extLst>
            </p:cNvPr>
            <p:cNvSpPr>
              <a:spLocks noEditPoints="1"/>
            </p:cNvSpPr>
            <p:nvPr/>
          </p:nvSpPr>
          <p:spPr bwMode="auto">
            <a:xfrm>
              <a:off x="7020893" y="4999159"/>
              <a:ext cx="1408983" cy="237614"/>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solidFill>
              <a:srgbClr val="5CC4B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5" name="Freeform 236">
              <a:extLst>
                <a:ext uri="{FF2B5EF4-FFF2-40B4-BE49-F238E27FC236}">
                  <a16:creationId xmlns:a16="http://schemas.microsoft.com/office/drawing/2014/main" id="{501EB981-F206-B8AB-0372-BE901E8F1F2E}"/>
                </a:ext>
                <a:ext uri="{C183D7F6-B498-43B3-948B-1728B52AA6E4}">
                  <adec:decorative xmlns:adec="http://schemas.microsoft.com/office/drawing/2017/decorative" val="1"/>
                </a:ext>
              </a:extLst>
            </p:cNvPr>
            <p:cNvSpPr>
              <a:spLocks noEditPoints="1"/>
            </p:cNvSpPr>
            <p:nvPr/>
          </p:nvSpPr>
          <p:spPr bwMode="auto">
            <a:xfrm rot="16200000">
              <a:off x="5307293" y="1022674"/>
              <a:ext cx="336945" cy="1680561"/>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solidFill>
              <a:srgbClr val="F8BB2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3"/>
                </a:solidFill>
                <a:effectLst/>
                <a:uLnTx/>
                <a:uFillTx/>
                <a:latin typeface="Segoe UI Semilight"/>
                <a:ea typeface="+mn-ea"/>
                <a:cs typeface="+mn-cs"/>
              </a:endParaRPr>
            </a:p>
          </p:txBody>
        </p:sp>
        <p:sp>
          <p:nvSpPr>
            <p:cNvPr id="26" name="Freeform 237">
              <a:extLst>
                <a:ext uri="{FF2B5EF4-FFF2-40B4-BE49-F238E27FC236}">
                  <a16:creationId xmlns:a16="http://schemas.microsoft.com/office/drawing/2014/main" id="{59D9DF78-99E8-CEC2-F38A-27BA3F85F5A3}"/>
                </a:ext>
                <a:ext uri="{C183D7F6-B498-43B3-948B-1728B52AA6E4}">
                  <adec:decorative xmlns:adec="http://schemas.microsoft.com/office/drawing/2017/decorative" val="1"/>
                </a:ext>
              </a:extLst>
            </p:cNvPr>
            <p:cNvSpPr>
              <a:spLocks noEditPoints="1"/>
            </p:cNvSpPr>
            <p:nvPr/>
          </p:nvSpPr>
          <p:spPr bwMode="auto">
            <a:xfrm>
              <a:off x="3076592" y="4926642"/>
              <a:ext cx="3322733" cy="350641"/>
            </a:xfrm>
            <a:custGeom>
              <a:avLst/>
              <a:gdLst>
                <a:gd name="T0" fmla="*/ 57 w 1094"/>
                <a:gd name="T1" fmla="*/ 47 h 115"/>
                <a:gd name="T2" fmla="*/ 39 w 1094"/>
                <a:gd name="T3" fmla="*/ 24 h 115"/>
                <a:gd name="T4" fmla="*/ 4 w 1094"/>
                <a:gd name="T5" fmla="*/ 24 h 115"/>
                <a:gd name="T6" fmla="*/ 14 w 1094"/>
                <a:gd name="T7" fmla="*/ 105 h 115"/>
                <a:gd name="T8" fmla="*/ 68 w 1094"/>
                <a:gd name="T9" fmla="*/ 56 h 115"/>
                <a:gd name="T10" fmla="*/ 99 w 1094"/>
                <a:gd name="T11" fmla="*/ 79 h 115"/>
                <a:gd name="T12" fmla="*/ 35 w 1094"/>
                <a:gd name="T13" fmla="*/ 88 h 115"/>
                <a:gd name="T14" fmla="*/ 42 w 1094"/>
                <a:gd name="T15" fmla="*/ 82 h 115"/>
                <a:gd name="T16" fmla="*/ 134 w 1094"/>
                <a:gd name="T17" fmla="*/ 17 h 115"/>
                <a:gd name="T18" fmla="*/ 133 w 1094"/>
                <a:gd name="T19" fmla="*/ 71 h 115"/>
                <a:gd name="T20" fmla="*/ 188 w 1094"/>
                <a:gd name="T21" fmla="*/ 54 h 115"/>
                <a:gd name="T22" fmla="*/ 190 w 1094"/>
                <a:gd name="T23" fmla="*/ 10 h 115"/>
                <a:gd name="T24" fmla="*/ 282 w 1094"/>
                <a:gd name="T25" fmla="*/ 66 h 115"/>
                <a:gd name="T26" fmla="*/ 257 w 1094"/>
                <a:gd name="T27" fmla="*/ 103 h 115"/>
                <a:gd name="T28" fmla="*/ 218 w 1094"/>
                <a:gd name="T29" fmla="*/ 111 h 115"/>
                <a:gd name="T30" fmla="*/ 236 w 1094"/>
                <a:gd name="T31" fmla="*/ 38 h 115"/>
                <a:gd name="T32" fmla="*/ 293 w 1094"/>
                <a:gd name="T33" fmla="*/ 26 h 115"/>
                <a:gd name="T34" fmla="*/ 291 w 1094"/>
                <a:gd name="T35" fmla="*/ 30 h 115"/>
                <a:gd name="T36" fmla="*/ 311 w 1094"/>
                <a:gd name="T37" fmla="*/ 22 h 115"/>
                <a:gd name="T38" fmla="*/ 408 w 1094"/>
                <a:gd name="T39" fmla="*/ 46 h 115"/>
                <a:gd name="T40" fmla="*/ 372 w 1094"/>
                <a:gd name="T41" fmla="*/ 112 h 115"/>
                <a:gd name="T42" fmla="*/ 367 w 1094"/>
                <a:gd name="T43" fmla="*/ 11 h 115"/>
                <a:gd name="T44" fmla="*/ 482 w 1094"/>
                <a:gd name="T45" fmla="*/ 38 h 115"/>
                <a:gd name="T46" fmla="*/ 502 w 1094"/>
                <a:gd name="T47" fmla="*/ 67 h 115"/>
                <a:gd name="T48" fmla="*/ 449 w 1094"/>
                <a:gd name="T49" fmla="*/ 7 h 115"/>
                <a:gd name="T50" fmla="*/ 615 w 1094"/>
                <a:gd name="T51" fmla="*/ 104 h 115"/>
                <a:gd name="T52" fmla="*/ 553 w 1094"/>
                <a:gd name="T53" fmla="*/ 60 h 115"/>
                <a:gd name="T54" fmla="*/ 615 w 1094"/>
                <a:gd name="T55" fmla="*/ 104 h 115"/>
                <a:gd name="T56" fmla="*/ 538 w 1094"/>
                <a:gd name="T57" fmla="*/ 22 h 115"/>
                <a:gd name="T58" fmla="*/ 567 w 1094"/>
                <a:gd name="T59" fmla="*/ 47 h 115"/>
                <a:gd name="T60" fmla="*/ 619 w 1094"/>
                <a:gd name="T61" fmla="*/ 56 h 115"/>
                <a:gd name="T62" fmla="*/ 631 w 1094"/>
                <a:gd name="T63" fmla="*/ 45 h 115"/>
                <a:gd name="T64" fmla="*/ 716 w 1094"/>
                <a:gd name="T65" fmla="*/ 78 h 115"/>
                <a:gd name="T66" fmla="*/ 671 w 1094"/>
                <a:gd name="T67" fmla="*/ 40 h 115"/>
                <a:gd name="T68" fmla="*/ 685 w 1094"/>
                <a:gd name="T69" fmla="*/ 7 h 115"/>
                <a:gd name="T70" fmla="*/ 740 w 1094"/>
                <a:gd name="T71" fmla="*/ 32 h 115"/>
                <a:gd name="T72" fmla="*/ 671 w 1094"/>
                <a:gd name="T73" fmla="*/ 73 h 115"/>
                <a:gd name="T74" fmla="*/ 716 w 1094"/>
                <a:gd name="T75" fmla="*/ 3 h 115"/>
                <a:gd name="T76" fmla="*/ 733 w 1094"/>
                <a:gd name="T77" fmla="*/ 0 h 115"/>
                <a:gd name="T78" fmla="*/ 776 w 1094"/>
                <a:gd name="T79" fmla="*/ 20 h 115"/>
                <a:gd name="T80" fmla="*/ 806 w 1094"/>
                <a:gd name="T81" fmla="*/ 72 h 115"/>
                <a:gd name="T82" fmla="*/ 764 w 1094"/>
                <a:gd name="T83" fmla="*/ 18 h 115"/>
                <a:gd name="T84" fmla="*/ 865 w 1094"/>
                <a:gd name="T85" fmla="*/ 73 h 115"/>
                <a:gd name="T86" fmla="*/ 932 w 1094"/>
                <a:gd name="T87" fmla="*/ 52 h 115"/>
                <a:gd name="T88" fmla="*/ 932 w 1094"/>
                <a:gd name="T89" fmla="*/ 9 h 115"/>
                <a:gd name="T90" fmla="*/ 881 w 1094"/>
                <a:gd name="T91" fmla="*/ 23 h 115"/>
                <a:gd name="T92" fmla="*/ 916 w 1094"/>
                <a:gd name="T93" fmla="*/ 53 h 115"/>
                <a:gd name="T94" fmla="*/ 913 w 1094"/>
                <a:gd name="T95" fmla="*/ 60 h 115"/>
                <a:gd name="T96" fmla="*/ 912 w 1094"/>
                <a:gd name="T97" fmla="*/ 112 h 115"/>
                <a:gd name="T98" fmla="*/ 933 w 1094"/>
                <a:gd name="T99" fmla="*/ 80 h 115"/>
                <a:gd name="T100" fmla="*/ 926 w 1094"/>
                <a:gd name="T101" fmla="*/ 85 h 115"/>
                <a:gd name="T102" fmla="*/ 1058 w 1094"/>
                <a:gd name="T103" fmla="*/ 6 h 115"/>
                <a:gd name="T104" fmla="*/ 991 w 1094"/>
                <a:gd name="T105" fmla="*/ 33 h 115"/>
                <a:gd name="T106" fmla="*/ 1034 w 1094"/>
                <a:gd name="T107" fmla="*/ 87 h 115"/>
                <a:gd name="T108" fmla="*/ 1056 w 1094"/>
                <a:gd name="T109" fmla="*/ 80 h 115"/>
                <a:gd name="T110" fmla="*/ 1094 w 1094"/>
                <a:gd name="T111" fmla="*/ 23 h 115"/>
                <a:gd name="T112" fmla="*/ 1048 w 1094"/>
                <a:gd name="T113"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4" h="115">
                  <a:moveTo>
                    <a:pt x="70" y="48"/>
                  </a:moveTo>
                  <a:cubicBezTo>
                    <a:pt x="71" y="47"/>
                    <a:pt x="71" y="45"/>
                    <a:pt x="72" y="43"/>
                  </a:cubicBezTo>
                  <a:cubicBezTo>
                    <a:pt x="63" y="41"/>
                    <a:pt x="63" y="41"/>
                    <a:pt x="63" y="41"/>
                  </a:cubicBezTo>
                  <a:cubicBezTo>
                    <a:pt x="63" y="43"/>
                    <a:pt x="62" y="45"/>
                    <a:pt x="62" y="47"/>
                  </a:cubicBezTo>
                  <a:cubicBezTo>
                    <a:pt x="60" y="47"/>
                    <a:pt x="59" y="47"/>
                    <a:pt x="57" y="47"/>
                  </a:cubicBezTo>
                  <a:cubicBezTo>
                    <a:pt x="55" y="47"/>
                    <a:pt x="47" y="47"/>
                    <a:pt x="39" y="50"/>
                  </a:cubicBezTo>
                  <a:cubicBezTo>
                    <a:pt x="39" y="44"/>
                    <a:pt x="39" y="38"/>
                    <a:pt x="39" y="32"/>
                  </a:cubicBezTo>
                  <a:cubicBezTo>
                    <a:pt x="53" y="31"/>
                    <a:pt x="76" y="30"/>
                    <a:pt x="89" y="27"/>
                  </a:cubicBezTo>
                  <a:cubicBezTo>
                    <a:pt x="88" y="19"/>
                    <a:pt x="88" y="19"/>
                    <a:pt x="88" y="19"/>
                  </a:cubicBezTo>
                  <a:cubicBezTo>
                    <a:pt x="75" y="22"/>
                    <a:pt x="53" y="24"/>
                    <a:pt x="39" y="24"/>
                  </a:cubicBezTo>
                  <a:cubicBezTo>
                    <a:pt x="40" y="19"/>
                    <a:pt x="40" y="14"/>
                    <a:pt x="40" y="9"/>
                  </a:cubicBezTo>
                  <a:cubicBezTo>
                    <a:pt x="42" y="9"/>
                    <a:pt x="43" y="8"/>
                    <a:pt x="44" y="7"/>
                  </a:cubicBezTo>
                  <a:cubicBezTo>
                    <a:pt x="31" y="6"/>
                    <a:pt x="31" y="6"/>
                    <a:pt x="31" y="6"/>
                  </a:cubicBezTo>
                  <a:cubicBezTo>
                    <a:pt x="31" y="12"/>
                    <a:pt x="31" y="19"/>
                    <a:pt x="31" y="24"/>
                  </a:cubicBezTo>
                  <a:cubicBezTo>
                    <a:pt x="21" y="24"/>
                    <a:pt x="10" y="24"/>
                    <a:pt x="4" y="24"/>
                  </a:cubicBezTo>
                  <a:cubicBezTo>
                    <a:pt x="4" y="32"/>
                    <a:pt x="4" y="32"/>
                    <a:pt x="4" y="32"/>
                  </a:cubicBezTo>
                  <a:cubicBezTo>
                    <a:pt x="8" y="32"/>
                    <a:pt x="10" y="32"/>
                    <a:pt x="31" y="32"/>
                  </a:cubicBezTo>
                  <a:cubicBezTo>
                    <a:pt x="31" y="39"/>
                    <a:pt x="31" y="46"/>
                    <a:pt x="31" y="52"/>
                  </a:cubicBezTo>
                  <a:cubicBezTo>
                    <a:pt x="13" y="59"/>
                    <a:pt x="0" y="72"/>
                    <a:pt x="0" y="89"/>
                  </a:cubicBezTo>
                  <a:cubicBezTo>
                    <a:pt x="0" y="98"/>
                    <a:pt x="5" y="105"/>
                    <a:pt x="14" y="105"/>
                  </a:cubicBezTo>
                  <a:cubicBezTo>
                    <a:pt x="20" y="105"/>
                    <a:pt x="27" y="103"/>
                    <a:pt x="37" y="96"/>
                  </a:cubicBezTo>
                  <a:cubicBezTo>
                    <a:pt x="38" y="98"/>
                    <a:pt x="39" y="100"/>
                    <a:pt x="40" y="102"/>
                  </a:cubicBezTo>
                  <a:cubicBezTo>
                    <a:pt x="47" y="97"/>
                    <a:pt x="47" y="97"/>
                    <a:pt x="47" y="97"/>
                  </a:cubicBezTo>
                  <a:cubicBezTo>
                    <a:pt x="46" y="96"/>
                    <a:pt x="45" y="93"/>
                    <a:pt x="44" y="91"/>
                  </a:cubicBezTo>
                  <a:cubicBezTo>
                    <a:pt x="54" y="82"/>
                    <a:pt x="62" y="69"/>
                    <a:pt x="68" y="56"/>
                  </a:cubicBezTo>
                  <a:cubicBezTo>
                    <a:pt x="81" y="58"/>
                    <a:pt x="90" y="65"/>
                    <a:pt x="90" y="79"/>
                  </a:cubicBezTo>
                  <a:cubicBezTo>
                    <a:pt x="90" y="79"/>
                    <a:pt x="90" y="79"/>
                    <a:pt x="90" y="79"/>
                  </a:cubicBezTo>
                  <a:cubicBezTo>
                    <a:pt x="90" y="95"/>
                    <a:pt x="75" y="104"/>
                    <a:pt x="50" y="106"/>
                  </a:cubicBezTo>
                  <a:cubicBezTo>
                    <a:pt x="51" y="108"/>
                    <a:pt x="52" y="111"/>
                    <a:pt x="53" y="113"/>
                  </a:cubicBezTo>
                  <a:cubicBezTo>
                    <a:pt x="83" y="110"/>
                    <a:pt x="99" y="98"/>
                    <a:pt x="99" y="79"/>
                  </a:cubicBezTo>
                  <a:cubicBezTo>
                    <a:pt x="99" y="65"/>
                    <a:pt x="91" y="52"/>
                    <a:pt x="70" y="48"/>
                  </a:cubicBezTo>
                  <a:close/>
                  <a:moveTo>
                    <a:pt x="16" y="97"/>
                  </a:moveTo>
                  <a:cubicBezTo>
                    <a:pt x="12" y="97"/>
                    <a:pt x="8" y="95"/>
                    <a:pt x="8" y="88"/>
                  </a:cubicBezTo>
                  <a:cubicBezTo>
                    <a:pt x="8" y="76"/>
                    <a:pt x="18" y="66"/>
                    <a:pt x="31" y="60"/>
                  </a:cubicBezTo>
                  <a:cubicBezTo>
                    <a:pt x="32" y="71"/>
                    <a:pt x="33" y="81"/>
                    <a:pt x="35" y="88"/>
                  </a:cubicBezTo>
                  <a:cubicBezTo>
                    <a:pt x="28" y="93"/>
                    <a:pt x="22" y="97"/>
                    <a:pt x="16" y="97"/>
                  </a:cubicBezTo>
                  <a:close/>
                  <a:moveTo>
                    <a:pt x="42" y="82"/>
                  </a:moveTo>
                  <a:cubicBezTo>
                    <a:pt x="40" y="75"/>
                    <a:pt x="39" y="67"/>
                    <a:pt x="39" y="57"/>
                  </a:cubicBezTo>
                  <a:cubicBezTo>
                    <a:pt x="48" y="54"/>
                    <a:pt x="57" y="54"/>
                    <a:pt x="59" y="55"/>
                  </a:cubicBezTo>
                  <a:cubicBezTo>
                    <a:pt x="55" y="65"/>
                    <a:pt x="49" y="75"/>
                    <a:pt x="42" y="82"/>
                  </a:cubicBezTo>
                  <a:close/>
                  <a:moveTo>
                    <a:pt x="125" y="75"/>
                  </a:moveTo>
                  <a:cubicBezTo>
                    <a:pt x="123" y="68"/>
                    <a:pt x="122" y="59"/>
                    <a:pt x="122" y="52"/>
                  </a:cubicBezTo>
                  <a:cubicBezTo>
                    <a:pt x="122" y="41"/>
                    <a:pt x="123" y="28"/>
                    <a:pt x="126" y="13"/>
                  </a:cubicBezTo>
                  <a:cubicBezTo>
                    <a:pt x="138" y="15"/>
                    <a:pt x="138" y="15"/>
                    <a:pt x="138" y="15"/>
                  </a:cubicBezTo>
                  <a:cubicBezTo>
                    <a:pt x="137" y="16"/>
                    <a:pt x="136" y="17"/>
                    <a:pt x="134" y="17"/>
                  </a:cubicBezTo>
                  <a:cubicBezTo>
                    <a:pt x="132" y="27"/>
                    <a:pt x="130" y="42"/>
                    <a:pt x="130" y="52"/>
                  </a:cubicBezTo>
                  <a:cubicBezTo>
                    <a:pt x="130" y="54"/>
                    <a:pt x="130" y="57"/>
                    <a:pt x="131" y="58"/>
                  </a:cubicBezTo>
                  <a:cubicBezTo>
                    <a:pt x="133" y="52"/>
                    <a:pt x="137" y="44"/>
                    <a:pt x="140" y="40"/>
                  </a:cubicBezTo>
                  <a:cubicBezTo>
                    <a:pt x="141" y="41"/>
                    <a:pt x="143" y="44"/>
                    <a:pt x="145" y="45"/>
                  </a:cubicBezTo>
                  <a:cubicBezTo>
                    <a:pt x="136" y="61"/>
                    <a:pt x="133" y="65"/>
                    <a:pt x="133" y="71"/>
                  </a:cubicBezTo>
                  <a:cubicBezTo>
                    <a:pt x="133" y="71"/>
                    <a:pt x="133" y="72"/>
                    <a:pt x="133" y="74"/>
                  </a:cubicBezTo>
                  <a:lnTo>
                    <a:pt x="125" y="75"/>
                  </a:lnTo>
                  <a:close/>
                  <a:moveTo>
                    <a:pt x="190" y="10"/>
                  </a:moveTo>
                  <a:cubicBezTo>
                    <a:pt x="189" y="11"/>
                    <a:pt x="188" y="12"/>
                    <a:pt x="186" y="12"/>
                  </a:cubicBezTo>
                  <a:cubicBezTo>
                    <a:pt x="187" y="23"/>
                    <a:pt x="188" y="40"/>
                    <a:pt x="188" y="54"/>
                  </a:cubicBezTo>
                  <a:cubicBezTo>
                    <a:pt x="188" y="77"/>
                    <a:pt x="180" y="98"/>
                    <a:pt x="144" y="113"/>
                  </a:cubicBezTo>
                  <a:cubicBezTo>
                    <a:pt x="142" y="111"/>
                    <a:pt x="140" y="108"/>
                    <a:pt x="138" y="106"/>
                  </a:cubicBezTo>
                  <a:cubicBezTo>
                    <a:pt x="171" y="94"/>
                    <a:pt x="179" y="74"/>
                    <a:pt x="179" y="54"/>
                  </a:cubicBezTo>
                  <a:cubicBezTo>
                    <a:pt x="179" y="39"/>
                    <a:pt x="178" y="22"/>
                    <a:pt x="177" y="9"/>
                  </a:cubicBezTo>
                  <a:lnTo>
                    <a:pt x="190" y="10"/>
                  </a:lnTo>
                  <a:close/>
                  <a:moveTo>
                    <a:pt x="253" y="10"/>
                  </a:moveTo>
                  <a:cubicBezTo>
                    <a:pt x="253" y="11"/>
                    <a:pt x="252" y="12"/>
                    <a:pt x="249" y="12"/>
                  </a:cubicBezTo>
                  <a:cubicBezTo>
                    <a:pt x="248" y="19"/>
                    <a:pt x="246" y="30"/>
                    <a:pt x="244" y="38"/>
                  </a:cubicBezTo>
                  <a:cubicBezTo>
                    <a:pt x="250" y="37"/>
                    <a:pt x="255" y="37"/>
                    <a:pt x="258" y="37"/>
                  </a:cubicBezTo>
                  <a:cubicBezTo>
                    <a:pt x="276" y="36"/>
                    <a:pt x="282" y="48"/>
                    <a:pt x="282" y="66"/>
                  </a:cubicBezTo>
                  <a:cubicBezTo>
                    <a:pt x="282" y="75"/>
                    <a:pt x="281" y="86"/>
                    <a:pt x="278" y="93"/>
                  </a:cubicBezTo>
                  <a:cubicBezTo>
                    <a:pt x="274" y="106"/>
                    <a:pt x="267" y="111"/>
                    <a:pt x="257" y="111"/>
                  </a:cubicBezTo>
                  <a:cubicBezTo>
                    <a:pt x="252" y="111"/>
                    <a:pt x="245" y="109"/>
                    <a:pt x="235" y="101"/>
                  </a:cubicBezTo>
                  <a:cubicBezTo>
                    <a:pt x="236" y="99"/>
                    <a:pt x="237" y="96"/>
                    <a:pt x="238" y="94"/>
                  </a:cubicBezTo>
                  <a:cubicBezTo>
                    <a:pt x="248" y="101"/>
                    <a:pt x="253" y="103"/>
                    <a:pt x="257" y="103"/>
                  </a:cubicBezTo>
                  <a:cubicBezTo>
                    <a:pt x="264" y="103"/>
                    <a:pt x="268" y="99"/>
                    <a:pt x="270" y="91"/>
                  </a:cubicBezTo>
                  <a:cubicBezTo>
                    <a:pt x="273" y="83"/>
                    <a:pt x="274" y="72"/>
                    <a:pt x="274" y="66"/>
                  </a:cubicBezTo>
                  <a:cubicBezTo>
                    <a:pt x="274" y="52"/>
                    <a:pt x="269" y="44"/>
                    <a:pt x="257" y="44"/>
                  </a:cubicBezTo>
                  <a:cubicBezTo>
                    <a:pt x="254" y="44"/>
                    <a:pt x="249" y="45"/>
                    <a:pt x="243" y="46"/>
                  </a:cubicBezTo>
                  <a:cubicBezTo>
                    <a:pt x="237" y="70"/>
                    <a:pt x="230" y="91"/>
                    <a:pt x="218" y="111"/>
                  </a:cubicBezTo>
                  <a:cubicBezTo>
                    <a:pt x="210" y="107"/>
                    <a:pt x="210" y="107"/>
                    <a:pt x="210" y="107"/>
                  </a:cubicBezTo>
                  <a:cubicBezTo>
                    <a:pt x="222" y="88"/>
                    <a:pt x="228" y="69"/>
                    <a:pt x="234" y="47"/>
                  </a:cubicBezTo>
                  <a:cubicBezTo>
                    <a:pt x="228" y="47"/>
                    <a:pt x="219" y="48"/>
                    <a:pt x="213" y="49"/>
                  </a:cubicBezTo>
                  <a:cubicBezTo>
                    <a:pt x="212" y="41"/>
                    <a:pt x="212" y="41"/>
                    <a:pt x="212" y="41"/>
                  </a:cubicBezTo>
                  <a:cubicBezTo>
                    <a:pt x="218" y="40"/>
                    <a:pt x="228" y="39"/>
                    <a:pt x="236" y="38"/>
                  </a:cubicBezTo>
                  <a:cubicBezTo>
                    <a:pt x="237" y="30"/>
                    <a:pt x="239" y="19"/>
                    <a:pt x="241" y="8"/>
                  </a:cubicBezTo>
                  <a:lnTo>
                    <a:pt x="253" y="10"/>
                  </a:lnTo>
                  <a:close/>
                  <a:moveTo>
                    <a:pt x="281" y="6"/>
                  </a:moveTo>
                  <a:cubicBezTo>
                    <a:pt x="287" y="11"/>
                    <a:pt x="294" y="18"/>
                    <a:pt x="297" y="23"/>
                  </a:cubicBezTo>
                  <a:cubicBezTo>
                    <a:pt x="293" y="26"/>
                    <a:pt x="293" y="26"/>
                    <a:pt x="293" y="26"/>
                  </a:cubicBezTo>
                  <a:cubicBezTo>
                    <a:pt x="289" y="21"/>
                    <a:pt x="282" y="14"/>
                    <a:pt x="277" y="10"/>
                  </a:cubicBezTo>
                  <a:lnTo>
                    <a:pt x="281" y="6"/>
                  </a:lnTo>
                  <a:close/>
                  <a:moveTo>
                    <a:pt x="308" y="76"/>
                  </a:moveTo>
                  <a:cubicBezTo>
                    <a:pt x="304" y="59"/>
                    <a:pt x="295" y="44"/>
                    <a:pt x="284" y="35"/>
                  </a:cubicBezTo>
                  <a:cubicBezTo>
                    <a:pt x="291" y="30"/>
                    <a:pt x="291" y="30"/>
                    <a:pt x="291" y="30"/>
                  </a:cubicBezTo>
                  <a:cubicBezTo>
                    <a:pt x="302" y="40"/>
                    <a:pt x="313" y="55"/>
                    <a:pt x="317" y="73"/>
                  </a:cubicBezTo>
                  <a:lnTo>
                    <a:pt x="308" y="76"/>
                  </a:lnTo>
                  <a:close/>
                  <a:moveTo>
                    <a:pt x="299" y="1"/>
                  </a:moveTo>
                  <a:cubicBezTo>
                    <a:pt x="305" y="6"/>
                    <a:pt x="312" y="13"/>
                    <a:pt x="316" y="18"/>
                  </a:cubicBezTo>
                  <a:cubicBezTo>
                    <a:pt x="311" y="22"/>
                    <a:pt x="311" y="22"/>
                    <a:pt x="311" y="22"/>
                  </a:cubicBezTo>
                  <a:cubicBezTo>
                    <a:pt x="308" y="16"/>
                    <a:pt x="300" y="9"/>
                    <a:pt x="295" y="5"/>
                  </a:cubicBezTo>
                  <a:lnTo>
                    <a:pt x="299" y="1"/>
                  </a:lnTo>
                  <a:close/>
                  <a:moveTo>
                    <a:pt x="411" y="47"/>
                  </a:moveTo>
                  <a:cubicBezTo>
                    <a:pt x="411" y="47"/>
                    <a:pt x="411" y="47"/>
                    <a:pt x="410" y="47"/>
                  </a:cubicBezTo>
                  <a:cubicBezTo>
                    <a:pt x="409" y="47"/>
                    <a:pt x="408" y="47"/>
                    <a:pt x="408" y="46"/>
                  </a:cubicBezTo>
                  <a:cubicBezTo>
                    <a:pt x="372" y="57"/>
                    <a:pt x="340" y="72"/>
                    <a:pt x="340" y="88"/>
                  </a:cubicBezTo>
                  <a:cubicBezTo>
                    <a:pt x="340" y="100"/>
                    <a:pt x="353" y="104"/>
                    <a:pt x="372" y="104"/>
                  </a:cubicBezTo>
                  <a:cubicBezTo>
                    <a:pt x="391" y="104"/>
                    <a:pt x="406" y="102"/>
                    <a:pt x="415" y="101"/>
                  </a:cubicBezTo>
                  <a:cubicBezTo>
                    <a:pt x="415" y="110"/>
                    <a:pt x="415" y="110"/>
                    <a:pt x="415" y="110"/>
                  </a:cubicBezTo>
                  <a:cubicBezTo>
                    <a:pt x="404" y="111"/>
                    <a:pt x="386" y="112"/>
                    <a:pt x="372" y="112"/>
                  </a:cubicBezTo>
                  <a:cubicBezTo>
                    <a:pt x="349" y="112"/>
                    <a:pt x="331" y="107"/>
                    <a:pt x="331" y="89"/>
                  </a:cubicBezTo>
                  <a:cubicBezTo>
                    <a:pt x="331" y="76"/>
                    <a:pt x="344" y="65"/>
                    <a:pt x="363" y="55"/>
                  </a:cubicBezTo>
                  <a:cubicBezTo>
                    <a:pt x="359" y="48"/>
                    <a:pt x="357" y="34"/>
                    <a:pt x="357" y="7"/>
                  </a:cubicBezTo>
                  <a:cubicBezTo>
                    <a:pt x="370" y="8"/>
                    <a:pt x="370" y="8"/>
                    <a:pt x="370" y="8"/>
                  </a:cubicBezTo>
                  <a:cubicBezTo>
                    <a:pt x="370" y="9"/>
                    <a:pt x="369" y="10"/>
                    <a:pt x="367" y="11"/>
                  </a:cubicBezTo>
                  <a:cubicBezTo>
                    <a:pt x="367" y="32"/>
                    <a:pt x="367" y="45"/>
                    <a:pt x="371" y="51"/>
                  </a:cubicBezTo>
                  <a:cubicBezTo>
                    <a:pt x="382" y="46"/>
                    <a:pt x="395" y="41"/>
                    <a:pt x="408" y="37"/>
                  </a:cubicBezTo>
                  <a:lnTo>
                    <a:pt x="411" y="47"/>
                  </a:lnTo>
                  <a:close/>
                  <a:moveTo>
                    <a:pt x="432" y="48"/>
                  </a:moveTo>
                  <a:cubicBezTo>
                    <a:pt x="450" y="43"/>
                    <a:pt x="473" y="38"/>
                    <a:pt x="482" y="38"/>
                  </a:cubicBezTo>
                  <a:cubicBezTo>
                    <a:pt x="500" y="38"/>
                    <a:pt x="511" y="48"/>
                    <a:pt x="511" y="66"/>
                  </a:cubicBezTo>
                  <a:cubicBezTo>
                    <a:pt x="511" y="67"/>
                    <a:pt x="511" y="67"/>
                    <a:pt x="511" y="67"/>
                  </a:cubicBezTo>
                  <a:cubicBezTo>
                    <a:pt x="510" y="89"/>
                    <a:pt x="493" y="105"/>
                    <a:pt x="459" y="114"/>
                  </a:cubicBezTo>
                  <a:cubicBezTo>
                    <a:pt x="458" y="112"/>
                    <a:pt x="455" y="109"/>
                    <a:pt x="453" y="107"/>
                  </a:cubicBezTo>
                  <a:cubicBezTo>
                    <a:pt x="484" y="99"/>
                    <a:pt x="502" y="85"/>
                    <a:pt x="502" y="67"/>
                  </a:cubicBezTo>
                  <a:cubicBezTo>
                    <a:pt x="502" y="55"/>
                    <a:pt x="496" y="47"/>
                    <a:pt x="482" y="47"/>
                  </a:cubicBezTo>
                  <a:cubicBezTo>
                    <a:pt x="472" y="47"/>
                    <a:pt x="453" y="51"/>
                    <a:pt x="438" y="56"/>
                  </a:cubicBezTo>
                  <a:cubicBezTo>
                    <a:pt x="438" y="57"/>
                    <a:pt x="437" y="58"/>
                    <a:pt x="436" y="59"/>
                  </a:cubicBezTo>
                  <a:lnTo>
                    <a:pt x="432" y="48"/>
                  </a:lnTo>
                  <a:close/>
                  <a:moveTo>
                    <a:pt x="449" y="7"/>
                  </a:moveTo>
                  <a:cubicBezTo>
                    <a:pt x="466" y="8"/>
                    <a:pt x="485" y="12"/>
                    <a:pt x="497" y="16"/>
                  </a:cubicBezTo>
                  <a:cubicBezTo>
                    <a:pt x="495" y="24"/>
                    <a:pt x="495" y="24"/>
                    <a:pt x="495" y="24"/>
                  </a:cubicBezTo>
                  <a:cubicBezTo>
                    <a:pt x="482" y="20"/>
                    <a:pt x="463" y="16"/>
                    <a:pt x="447" y="15"/>
                  </a:cubicBezTo>
                  <a:lnTo>
                    <a:pt x="449" y="7"/>
                  </a:lnTo>
                  <a:close/>
                  <a:moveTo>
                    <a:pt x="615" y="104"/>
                  </a:moveTo>
                  <a:cubicBezTo>
                    <a:pt x="604" y="105"/>
                    <a:pt x="590" y="106"/>
                    <a:pt x="578" y="106"/>
                  </a:cubicBezTo>
                  <a:cubicBezTo>
                    <a:pt x="568" y="106"/>
                    <a:pt x="559" y="106"/>
                    <a:pt x="555" y="105"/>
                  </a:cubicBezTo>
                  <a:cubicBezTo>
                    <a:pt x="540" y="102"/>
                    <a:pt x="534" y="92"/>
                    <a:pt x="534" y="82"/>
                  </a:cubicBezTo>
                  <a:cubicBezTo>
                    <a:pt x="534" y="73"/>
                    <a:pt x="539" y="63"/>
                    <a:pt x="546" y="56"/>
                  </a:cubicBezTo>
                  <a:cubicBezTo>
                    <a:pt x="553" y="60"/>
                    <a:pt x="553" y="60"/>
                    <a:pt x="553" y="60"/>
                  </a:cubicBezTo>
                  <a:cubicBezTo>
                    <a:pt x="546" y="67"/>
                    <a:pt x="542" y="74"/>
                    <a:pt x="542" y="81"/>
                  </a:cubicBezTo>
                  <a:cubicBezTo>
                    <a:pt x="542" y="88"/>
                    <a:pt x="547" y="94"/>
                    <a:pt x="557" y="97"/>
                  </a:cubicBezTo>
                  <a:cubicBezTo>
                    <a:pt x="561" y="98"/>
                    <a:pt x="568" y="98"/>
                    <a:pt x="577" y="98"/>
                  </a:cubicBezTo>
                  <a:cubicBezTo>
                    <a:pt x="588" y="98"/>
                    <a:pt x="602" y="97"/>
                    <a:pt x="614" y="95"/>
                  </a:cubicBezTo>
                  <a:lnTo>
                    <a:pt x="615" y="104"/>
                  </a:lnTo>
                  <a:close/>
                  <a:moveTo>
                    <a:pt x="561" y="43"/>
                  </a:moveTo>
                  <a:cubicBezTo>
                    <a:pt x="567" y="38"/>
                    <a:pt x="575" y="32"/>
                    <a:pt x="582" y="29"/>
                  </a:cubicBezTo>
                  <a:cubicBezTo>
                    <a:pt x="582" y="29"/>
                    <a:pt x="582" y="29"/>
                    <a:pt x="582" y="29"/>
                  </a:cubicBezTo>
                  <a:cubicBezTo>
                    <a:pt x="573" y="30"/>
                    <a:pt x="552" y="30"/>
                    <a:pt x="539" y="30"/>
                  </a:cubicBezTo>
                  <a:cubicBezTo>
                    <a:pt x="539" y="28"/>
                    <a:pt x="539" y="24"/>
                    <a:pt x="538" y="22"/>
                  </a:cubicBezTo>
                  <a:cubicBezTo>
                    <a:pt x="545" y="22"/>
                    <a:pt x="545" y="22"/>
                    <a:pt x="545" y="22"/>
                  </a:cubicBezTo>
                  <a:cubicBezTo>
                    <a:pt x="560" y="22"/>
                    <a:pt x="592" y="22"/>
                    <a:pt x="607" y="18"/>
                  </a:cubicBezTo>
                  <a:cubicBezTo>
                    <a:pt x="608" y="27"/>
                    <a:pt x="608" y="27"/>
                    <a:pt x="608" y="27"/>
                  </a:cubicBezTo>
                  <a:cubicBezTo>
                    <a:pt x="604" y="27"/>
                    <a:pt x="601" y="28"/>
                    <a:pt x="595" y="30"/>
                  </a:cubicBezTo>
                  <a:cubicBezTo>
                    <a:pt x="589" y="33"/>
                    <a:pt x="577" y="40"/>
                    <a:pt x="567" y="47"/>
                  </a:cubicBezTo>
                  <a:lnTo>
                    <a:pt x="561" y="43"/>
                  </a:lnTo>
                  <a:close/>
                  <a:moveTo>
                    <a:pt x="614" y="60"/>
                  </a:moveTo>
                  <a:cubicBezTo>
                    <a:pt x="611" y="55"/>
                    <a:pt x="604" y="48"/>
                    <a:pt x="598" y="44"/>
                  </a:cubicBezTo>
                  <a:cubicBezTo>
                    <a:pt x="602" y="40"/>
                    <a:pt x="602" y="40"/>
                    <a:pt x="602" y="40"/>
                  </a:cubicBezTo>
                  <a:cubicBezTo>
                    <a:pt x="608" y="44"/>
                    <a:pt x="615" y="51"/>
                    <a:pt x="619" y="56"/>
                  </a:cubicBezTo>
                  <a:lnTo>
                    <a:pt x="614" y="60"/>
                  </a:lnTo>
                  <a:close/>
                  <a:moveTo>
                    <a:pt x="627" y="49"/>
                  </a:moveTo>
                  <a:cubicBezTo>
                    <a:pt x="624" y="44"/>
                    <a:pt x="617" y="37"/>
                    <a:pt x="611" y="32"/>
                  </a:cubicBezTo>
                  <a:cubicBezTo>
                    <a:pt x="615" y="29"/>
                    <a:pt x="615" y="29"/>
                    <a:pt x="615" y="29"/>
                  </a:cubicBezTo>
                  <a:cubicBezTo>
                    <a:pt x="621" y="33"/>
                    <a:pt x="628" y="40"/>
                    <a:pt x="631" y="45"/>
                  </a:cubicBezTo>
                  <a:lnTo>
                    <a:pt x="627" y="49"/>
                  </a:lnTo>
                  <a:close/>
                  <a:moveTo>
                    <a:pt x="740" y="32"/>
                  </a:moveTo>
                  <a:cubicBezTo>
                    <a:pt x="729" y="35"/>
                    <a:pt x="714" y="38"/>
                    <a:pt x="700" y="39"/>
                  </a:cubicBezTo>
                  <a:cubicBezTo>
                    <a:pt x="704" y="55"/>
                    <a:pt x="710" y="65"/>
                    <a:pt x="722" y="71"/>
                  </a:cubicBezTo>
                  <a:cubicBezTo>
                    <a:pt x="716" y="78"/>
                    <a:pt x="716" y="78"/>
                    <a:pt x="716" y="78"/>
                  </a:cubicBezTo>
                  <a:cubicBezTo>
                    <a:pt x="710" y="73"/>
                    <a:pt x="702" y="70"/>
                    <a:pt x="689" y="70"/>
                  </a:cubicBezTo>
                  <a:cubicBezTo>
                    <a:pt x="688" y="63"/>
                    <a:pt x="688" y="63"/>
                    <a:pt x="688" y="63"/>
                  </a:cubicBezTo>
                  <a:cubicBezTo>
                    <a:pt x="694" y="63"/>
                    <a:pt x="698" y="64"/>
                    <a:pt x="701" y="64"/>
                  </a:cubicBezTo>
                  <a:cubicBezTo>
                    <a:pt x="698" y="60"/>
                    <a:pt x="694" y="50"/>
                    <a:pt x="691" y="40"/>
                  </a:cubicBezTo>
                  <a:cubicBezTo>
                    <a:pt x="686" y="40"/>
                    <a:pt x="678" y="40"/>
                    <a:pt x="671" y="40"/>
                  </a:cubicBezTo>
                  <a:cubicBezTo>
                    <a:pt x="663" y="40"/>
                    <a:pt x="650" y="40"/>
                    <a:pt x="643" y="40"/>
                  </a:cubicBezTo>
                  <a:cubicBezTo>
                    <a:pt x="643" y="32"/>
                    <a:pt x="643" y="32"/>
                    <a:pt x="643" y="32"/>
                  </a:cubicBezTo>
                  <a:cubicBezTo>
                    <a:pt x="650" y="32"/>
                    <a:pt x="660" y="32"/>
                    <a:pt x="671" y="32"/>
                  </a:cubicBezTo>
                  <a:cubicBezTo>
                    <a:pt x="677" y="32"/>
                    <a:pt x="684" y="32"/>
                    <a:pt x="689" y="32"/>
                  </a:cubicBezTo>
                  <a:cubicBezTo>
                    <a:pt x="688" y="25"/>
                    <a:pt x="686" y="16"/>
                    <a:pt x="685" y="7"/>
                  </a:cubicBezTo>
                  <a:cubicBezTo>
                    <a:pt x="698" y="7"/>
                    <a:pt x="698" y="7"/>
                    <a:pt x="698" y="7"/>
                  </a:cubicBezTo>
                  <a:cubicBezTo>
                    <a:pt x="698" y="9"/>
                    <a:pt x="697" y="10"/>
                    <a:pt x="695" y="10"/>
                  </a:cubicBezTo>
                  <a:cubicBezTo>
                    <a:pt x="695" y="17"/>
                    <a:pt x="696" y="24"/>
                    <a:pt x="698" y="31"/>
                  </a:cubicBezTo>
                  <a:cubicBezTo>
                    <a:pt x="712" y="30"/>
                    <a:pt x="727" y="27"/>
                    <a:pt x="738" y="24"/>
                  </a:cubicBezTo>
                  <a:lnTo>
                    <a:pt x="740" y="32"/>
                  </a:lnTo>
                  <a:close/>
                  <a:moveTo>
                    <a:pt x="719" y="112"/>
                  </a:moveTo>
                  <a:cubicBezTo>
                    <a:pt x="713" y="112"/>
                    <a:pt x="707" y="112"/>
                    <a:pt x="696" y="112"/>
                  </a:cubicBezTo>
                  <a:cubicBezTo>
                    <a:pt x="671" y="112"/>
                    <a:pt x="653" y="104"/>
                    <a:pt x="653" y="88"/>
                  </a:cubicBezTo>
                  <a:cubicBezTo>
                    <a:pt x="653" y="81"/>
                    <a:pt x="658" y="74"/>
                    <a:pt x="664" y="68"/>
                  </a:cubicBezTo>
                  <a:cubicBezTo>
                    <a:pt x="671" y="73"/>
                    <a:pt x="671" y="73"/>
                    <a:pt x="671" y="73"/>
                  </a:cubicBezTo>
                  <a:cubicBezTo>
                    <a:pt x="665" y="77"/>
                    <a:pt x="662" y="83"/>
                    <a:pt x="662" y="88"/>
                  </a:cubicBezTo>
                  <a:cubicBezTo>
                    <a:pt x="662" y="100"/>
                    <a:pt x="677" y="104"/>
                    <a:pt x="697" y="104"/>
                  </a:cubicBezTo>
                  <a:cubicBezTo>
                    <a:pt x="707" y="104"/>
                    <a:pt x="713" y="104"/>
                    <a:pt x="719" y="103"/>
                  </a:cubicBezTo>
                  <a:lnTo>
                    <a:pt x="719" y="112"/>
                  </a:lnTo>
                  <a:close/>
                  <a:moveTo>
                    <a:pt x="716" y="3"/>
                  </a:moveTo>
                  <a:cubicBezTo>
                    <a:pt x="721" y="8"/>
                    <a:pt x="727" y="14"/>
                    <a:pt x="730" y="19"/>
                  </a:cubicBezTo>
                  <a:cubicBezTo>
                    <a:pt x="725" y="23"/>
                    <a:pt x="725" y="23"/>
                    <a:pt x="725" y="23"/>
                  </a:cubicBezTo>
                  <a:cubicBezTo>
                    <a:pt x="722" y="17"/>
                    <a:pt x="716" y="11"/>
                    <a:pt x="712" y="6"/>
                  </a:cubicBezTo>
                  <a:lnTo>
                    <a:pt x="716" y="3"/>
                  </a:lnTo>
                  <a:close/>
                  <a:moveTo>
                    <a:pt x="733" y="0"/>
                  </a:moveTo>
                  <a:cubicBezTo>
                    <a:pt x="738" y="5"/>
                    <a:pt x="744" y="11"/>
                    <a:pt x="747" y="16"/>
                  </a:cubicBezTo>
                  <a:cubicBezTo>
                    <a:pt x="742" y="20"/>
                    <a:pt x="742" y="20"/>
                    <a:pt x="742" y="20"/>
                  </a:cubicBezTo>
                  <a:cubicBezTo>
                    <a:pt x="739" y="15"/>
                    <a:pt x="733" y="8"/>
                    <a:pt x="728" y="3"/>
                  </a:cubicBezTo>
                  <a:lnTo>
                    <a:pt x="733" y="0"/>
                  </a:lnTo>
                  <a:close/>
                  <a:moveTo>
                    <a:pt x="776" y="20"/>
                  </a:moveTo>
                  <a:cubicBezTo>
                    <a:pt x="776" y="21"/>
                    <a:pt x="775" y="22"/>
                    <a:pt x="773" y="22"/>
                  </a:cubicBezTo>
                  <a:cubicBezTo>
                    <a:pt x="772" y="31"/>
                    <a:pt x="771" y="42"/>
                    <a:pt x="771" y="52"/>
                  </a:cubicBezTo>
                  <a:cubicBezTo>
                    <a:pt x="771" y="57"/>
                    <a:pt x="771" y="61"/>
                    <a:pt x="771" y="65"/>
                  </a:cubicBezTo>
                  <a:cubicBezTo>
                    <a:pt x="773" y="85"/>
                    <a:pt x="781" y="98"/>
                    <a:pt x="790" y="97"/>
                  </a:cubicBezTo>
                  <a:cubicBezTo>
                    <a:pt x="795" y="97"/>
                    <a:pt x="801" y="85"/>
                    <a:pt x="806" y="72"/>
                  </a:cubicBezTo>
                  <a:cubicBezTo>
                    <a:pt x="807" y="73"/>
                    <a:pt x="811" y="76"/>
                    <a:pt x="813" y="77"/>
                  </a:cubicBezTo>
                  <a:cubicBezTo>
                    <a:pt x="807" y="93"/>
                    <a:pt x="800" y="106"/>
                    <a:pt x="790" y="107"/>
                  </a:cubicBezTo>
                  <a:cubicBezTo>
                    <a:pt x="775" y="107"/>
                    <a:pt x="764" y="88"/>
                    <a:pt x="763" y="65"/>
                  </a:cubicBezTo>
                  <a:cubicBezTo>
                    <a:pt x="762" y="61"/>
                    <a:pt x="762" y="56"/>
                    <a:pt x="762" y="50"/>
                  </a:cubicBezTo>
                  <a:cubicBezTo>
                    <a:pt x="762" y="40"/>
                    <a:pt x="763" y="28"/>
                    <a:pt x="764" y="18"/>
                  </a:cubicBezTo>
                  <a:lnTo>
                    <a:pt x="776" y="20"/>
                  </a:lnTo>
                  <a:close/>
                  <a:moveTo>
                    <a:pt x="856" y="76"/>
                  </a:moveTo>
                  <a:cubicBezTo>
                    <a:pt x="853" y="55"/>
                    <a:pt x="842" y="40"/>
                    <a:pt x="826" y="31"/>
                  </a:cubicBezTo>
                  <a:cubicBezTo>
                    <a:pt x="831" y="24"/>
                    <a:pt x="831" y="24"/>
                    <a:pt x="831" y="24"/>
                  </a:cubicBezTo>
                  <a:cubicBezTo>
                    <a:pt x="849" y="34"/>
                    <a:pt x="862" y="51"/>
                    <a:pt x="865" y="73"/>
                  </a:cubicBezTo>
                  <a:lnTo>
                    <a:pt x="856" y="76"/>
                  </a:lnTo>
                  <a:close/>
                  <a:moveTo>
                    <a:pt x="932" y="60"/>
                  </a:moveTo>
                  <a:cubicBezTo>
                    <a:pt x="944" y="59"/>
                    <a:pt x="957" y="58"/>
                    <a:pt x="967" y="56"/>
                  </a:cubicBezTo>
                  <a:cubicBezTo>
                    <a:pt x="966" y="48"/>
                    <a:pt x="966" y="48"/>
                    <a:pt x="966" y="48"/>
                  </a:cubicBezTo>
                  <a:cubicBezTo>
                    <a:pt x="957" y="50"/>
                    <a:pt x="944" y="52"/>
                    <a:pt x="932" y="52"/>
                  </a:cubicBezTo>
                  <a:cubicBezTo>
                    <a:pt x="932" y="45"/>
                    <a:pt x="932" y="38"/>
                    <a:pt x="932" y="30"/>
                  </a:cubicBezTo>
                  <a:cubicBezTo>
                    <a:pt x="947" y="30"/>
                    <a:pt x="961" y="28"/>
                    <a:pt x="973" y="26"/>
                  </a:cubicBezTo>
                  <a:cubicBezTo>
                    <a:pt x="972" y="18"/>
                    <a:pt x="972" y="18"/>
                    <a:pt x="972" y="18"/>
                  </a:cubicBezTo>
                  <a:cubicBezTo>
                    <a:pt x="960" y="21"/>
                    <a:pt x="946" y="22"/>
                    <a:pt x="932" y="23"/>
                  </a:cubicBezTo>
                  <a:cubicBezTo>
                    <a:pt x="932" y="21"/>
                    <a:pt x="932" y="11"/>
                    <a:pt x="932" y="9"/>
                  </a:cubicBezTo>
                  <a:cubicBezTo>
                    <a:pt x="934" y="9"/>
                    <a:pt x="935" y="8"/>
                    <a:pt x="935" y="7"/>
                  </a:cubicBezTo>
                  <a:cubicBezTo>
                    <a:pt x="923" y="6"/>
                    <a:pt x="923" y="6"/>
                    <a:pt x="923" y="6"/>
                  </a:cubicBezTo>
                  <a:cubicBezTo>
                    <a:pt x="923" y="10"/>
                    <a:pt x="923" y="17"/>
                    <a:pt x="923" y="23"/>
                  </a:cubicBezTo>
                  <a:cubicBezTo>
                    <a:pt x="918" y="23"/>
                    <a:pt x="912" y="23"/>
                    <a:pt x="907" y="23"/>
                  </a:cubicBezTo>
                  <a:cubicBezTo>
                    <a:pt x="898" y="23"/>
                    <a:pt x="888" y="23"/>
                    <a:pt x="881" y="23"/>
                  </a:cubicBezTo>
                  <a:cubicBezTo>
                    <a:pt x="881" y="31"/>
                    <a:pt x="881" y="31"/>
                    <a:pt x="881" y="31"/>
                  </a:cubicBezTo>
                  <a:cubicBezTo>
                    <a:pt x="888" y="31"/>
                    <a:pt x="899" y="31"/>
                    <a:pt x="907" y="31"/>
                  </a:cubicBezTo>
                  <a:cubicBezTo>
                    <a:pt x="912" y="31"/>
                    <a:pt x="918" y="31"/>
                    <a:pt x="923" y="31"/>
                  </a:cubicBezTo>
                  <a:cubicBezTo>
                    <a:pt x="924" y="53"/>
                    <a:pt x="924" y="53"/>
                    <a:pt x="924" y="53"/>
                  </a:cubicBezTo>
                  <a:cubicBezTo>
                    <a:pt x="922" y="53"/>
                    <a:pt x="919" y="53"/>
                    <a:pt x="916" y="53"/>
                  </a:cubicBezTo>
                  <a:cubicBezTo>
                    <a:pt x="901" y="53"/>
                    <a:pt x="895" y="52"/>
                    <a:pt x="895" y="49"/>
                  </a:cubicBezTo>
                  <a:cubicBezTo>
                    <a:pt x="895" y="46"/>
                    <a:pt x="898" y="44"/>
                    <a:pt x="904" y="41"/>
                  </a:cubicBezTo>
                  <a:cubicBezTo>
                    <a:pt x="898" y="37"/>
                    <a:pt x="898" y="37"/>
                    <a:pt x="898" y="37"/>
                  </a:cubicBezTo>
                  <a:cubicBezTo>
                    <a:pt x="890" y="42"/>
                    <a:pt x="887" y="46"/>
                    <a:pt x="887" y="50"/>
                  </a:cubicBezTo>
                  <a:cubicBezTo>
                    <a:pt x="887" y="57"/>
                    <a:pt x="892" y="60"/>
                    <a:pt x="913" y="60"/>
                  </a:cubicBezTo>
                  <a:cubicBezTo>
                    <a:pt x="916" y="60"/>
                    <a:pt x="921" y="60"/>
                    <a:pt x="925" y="60"/>
                  </a:cubicBezTo>
                  <a:cubicBezTo>
                    <a:pt x="925" y="67"/>
                    <a:pt x="925" y="73"/>
                    <a:pt x="925" y="78"/>
                  </a:cubicBezTo>
                  <a:cubicBezTo>
                    <a:pt x="921" y="77"/>
                    <a:pt x="916" y="77"/>
                    <a:pt x="912" y="77"/>
                  </a:cubicBezTo>
                  <a:cubicBezTo>
                    <a:pt x="899" y="77"/>
                    <a:pt x="886" y="83"/>
                    <a:pt x="886" y="94"/>
                  </a:cubicBezTo>
                  <a:cubicBezTo>
                    <a:pt x="886" y="106"/>
                    <a:pt x="897" y="112"/>
                    <a:pt x="912" y="112"/>
                  </a:cubicBezTo>
                  <a:cubicBezTo>
                    <a:pt x="927" y="112"/>
                    <a:pt x="934" y="105"/>
                    <a:pt x="934" y="94"/>
                  </a:cubicBezTo>
                  <a:cubicBezTo>
                    <a:pt x="934" y="92"/>
                    <a:pt x="934" y="90"/>
                    <a:pt x="934" y="88"/>
                  </a:cubicBezTo>
                  <a:cubicBezTo>
                    <a:pt x="942" y="92"/>
                    <a:pt x="953" y="97"/>
                    <a:pt x="963" y="106"/>
                  </a:cubicBezTo>
                  <a:cubicBezTo>
                    <a:pt x="969" y="99"/>
                    <a:pt x="969" y="99"/>
                    <a:pt x="969" y="99"/>
                  </a:cubicBezTo>
                  <a:cubicBezTo>
                    <a:pt x="956" y="90"/>
                    <a:pt x="944" y="83"/>
                    <a:pt x="933" y="80"/>
                  </a:cubicBezTo>
                  <a:lnTo>
                    <a:pt x="932" y="60"/>
                  </a:lnTo>
                  <a:close/>
                  <a:moveTo>
                    <a:pt x="913" y="105"/>
                  </a:moveTo>
                  <a:cubicBezTo>
                    <a:pt x="902" y="105"/>
                    <a:pt x="894" y="101"/>
                    <a:pt x="894" y="94"/>
                  </a:cubicBezTo>
                  <a:cubicBezTo>
                    <a:pt x="894" y="87"/>
                    <a:pt x="903" y="83"/>
                    <a:pt x="912" y="83"/>
                  </a:cubicBezTo>
                  <a:cubicBezTo>
                    <a:pt x="916" y="83"/>
                    <a:pt x="921" y="84"/>
                    <a:pt x="926" y="85"/>
                  </a:cubicBezTo>
                  <a:cubicBezTo>
                    <a:pt x="926" y="92"/>
                    <a:pt x="926" y="92"/>
                    <a:pt x="926" y="92"/>
                  </a:cubicBezTo>
                  <a:cubicBezTo>
                    <a:pt x="926" y="101"/>
                    <a:pt x="922" y="105"/>
                    <a:pt x="913" y="105"/>
                  </a:cubicBezTo>
                  <a:close/>
                  <a:moveTo>
                    <a:pt x="1055" y="24"/>
                  </a:moveTo>
                  <a:cubicBezTo>
                    <a:pt x="1055" y="11"/>
                    <a:pt x="1055" y="10"/>
                    <a:pt x="1055" y="8"/>
                  </a:cubicBezTo>
                  <a:cubicBezTo>
                    <a:pt x="1057" y="8"/>
                    <a:pt x="1058" y="7"/>
                    <a:pt x="1058" y="6"/>
                  </a:cubicBezTo>
                  <a:cubicBezTo>
                    <a:pt x="1045" y="5"/>
                    <a:pt x="1045" y="5"/>
                    <a:pt x="1045" y="5"/>
                  </a:cubicBezTo>
                  <a:cubicBezTo>
                    <a:pt x="1046" y="8"/>
                    <a:pt x="1046" y="21"/>
                    <a:pt x="1046" y="24"/>
                  </a:cubicBezTo>
                  <a:cubicBezTo>
                    <a:pt x="1018" y="25"/>
                    <a:pt x="1018" y="25"/>
                    <a:pt x="1018" y="25"/>
                  </a:cubicBezTo>
                  <a:cubicBezTo>
                    <a:pt x="991" y="26"/>
                    <a:pt x="991" y="26"/>
                    <a:pt x="991" y="26"/>
                  </a:cubicBezTo>
                  <a:cubicBezTo>
                    <a:pt x="991" y="33"/>
                    <a:pt x="991" y="33"/>
                    <a:pt x="991" y="33"/>
                  </a:cubicBezTo>
                  <a:cubicBezTo>
                    <a:pt x="996" y="33"/>
                    <a:pt x="1034" y="32"/>
                    <a:pt x="1046" y="32"/>
                  </a:cubicBezTo>
                  <a:cubicBezTo>
                    <a:pt x="1047" y="37"/>
                    <a:pt x="1047" y="45"/>
                    <a:pt x="1047" y="47"/>
                  </a:cubicBezTo>
                  <a:cubicBezTo>
                    <a:pt x="1044" y="45"/>
                    <a:pt x="1040" y="43"/>
                    <a:pt x="1036" y="43"/>
                  </a:cubicBezTo>
                  <a:cubicBezTo>
                    <a:pt x="1024" y="43"/>
                    <a:pt x="1014" y="53"/>
                    <a:pt x="1014" y="66"/>
                  </a:cubicBezTo>
                  <a:cubicBezTo>
                    <a:pt x="1014" y="78"/>
                    <a:pt x="1024" y="87"/>
                    <a:pt x="1034" y="87"/>
                  </a:cubicBezTo>
                  <a:cubicBezTo>
                    <a:pt x="1040" y="87"/>
                    <a:pt x="1044" y="84"/>
                    <a:pt x="1047" y="80"/>
                  </a:cubicBezTo>
                  <a:cubicBezTo>
                    <a:pt x="1047" y="80"/>
                    <a:pt x="1047" y="80"/>
                    <a:pt x="1047" y="80"/>
                  </a:cubicBezTo>
                  <a:cubicBezTo>
                    <a:pt x="1044" y="92"/>
                    <a:pt x="1034" y="102"/>
                    <a:pt x="1016" y="108"/>
                  </a:cubicBezTo>
                  <a:cubicBezTo>
                    <a:pt x="1017" y="110"/>
                    <a:pt x="1020" y="113"/>
                    <a:pt x="1022" y="115"/>
                  </a:cubicBezTo>
                  <a:cubicBezTo>
                    <a:pt x="1043" y="107"/>
                    <a:pt x="1053" y="94"/>
                    <a:pt x="1056" y="80"/>
                  </a:cubicBezTo>
                  <a:cubicBezTo>
                    <a:pt x="1057" y="77"/>
                    <a:pt x="1057" y="73"/>
                    <a:pt x="1057" y="69"/>
                  </a:cubicBezTo>
                  <a:cubicBezTo>
                    <a:pt x="1057" y="64"/>
                    <a:pt x="1057" y="60"/>
                    <a:pt x="1056" y="56"/>
                  </a:cubicBezTo>
                  <a:cubicBezTo>
                    <a:pt x="1056" y="49"/>
                    <a:pt x="1055" y="41"/>
                    <a:pt x="1055" y="31"/>
                  </a:cubicBezTo>
                  <a:cubicBezTo>
                    <a:pt x="1069" y="31"/>
                    <a:pt x="1084" y="31"/>
                    <a:pt x="1094" y="31"/>
                  </a:cubicBezTo>
                  <a:cubicBezTo>
                    <a:pt x="1094" y="23"/>
                    <a:pt x="1094" y="23"/>
                    <a:pt x="1094" y="23"/>
                  </a:cubicBezTo>
                  <a:cubicBezTo>
                    <a:pt x="1085" y="23"/>
                    <a:pt x="1070" y="23"/>
                    <a:pt x="1055" y="24"/>
                  </a:cubicBezTo>
                  <a:close/>
                  <a:moveTo>
                    <a:pt x="1035" y="80"/>
                  </a:moveTo>
                  <a:cubicBezTo>
                    <a:pt x="1028" y="80"/>
                    <a:pt x="1022" y="74"/>
                    <a:pt x="1022" y="66"/>
                  </a:cubicBezTo>
                  <a:cubicBezTo>
                    <a:pt x="1022" y="57"/>
                    <a:pt x="1028" y="51"/>
                    <a:pt x="1036" y="50"/>
                  </a:cubicBezTo>
                  <a:cubicBezTo>
                    <a:pt x="1048" y="50"/>
                    <a:pt x="1048" y="61"/>
                    <a:pt x="1048" y="66"/>
                  </a:cubicBezTo>
                  <a:cubicBezTo>
                    <a:pt x="1048" y="73"/>
                    <a:pt x="1044" y="80"/>
                    <a:pt x="1035" y="80"/>
                  </a:cubicBez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27" name="Freeform 238">
              <a:extLst>
                <a:ext uri="{FF2B5EF4-FFF2-40B4-BE49-F238E27FC236}">
                  <a16:creationId xmlns:a16="http://schemas.microsoft.com/office/drawing/2014/main" id="{8B872DCB-F44F-066F-1E64-222C5E2E501B}"/>
                </a:ext>
                <a:ext uri="{C183D7F6-B498-43B3-948B-1728B52AA6E4}">
                  <adec:decorative xmlns:adec="http://schemas.microsoft.com/office/drawing/2017/decorative" val="1"/>
                </a:ext>
              </a:extLst>
            </p:cNvPr>
            <p:cNvSpPr>
              <a:spLocks noEditPoints="1"/>
            </p:cNvSpPr>
            <p:nvPr/>
          </p:nvSpPr>
          <p:spPr bwMode="auto">
            <a:xfrm>
              <a:off x="4366952" y="4228494"/>
              <a:ext cx="1448800" cy="464951"/>
            </a:xfrm>
            <a:custGeom>
              <a:avLst/>
              <a:gdLst>
                <a:gd name="T0" fmla="*/ 0 w 477"/>
                <a:gd name="T1" fmla="*/ 37 h 153"/>
                <a:gd name="T2" fmla="*/ 30 w 477"/>
                <a:gd name="T3" fmla="*/ 151 h 153"/>
                <a:gd name="T4" fmla="*/ 92 w 477"/>
                <a:gd name="T5" fmla="*/ 93 h 153"/>
                <a:gd name="T6" fmla="*/ 65 w 477"/>
                <a:gd name="T7" fmla="*/ 127 h 153"/>
                <a:gd name="T8" fmla="*/ 13 w 477"/>
                <a:gd name="T9" fmla="*/ 139 h 153"/>
                <a:gd name="T10" fmla="*/ 31 w 477"/>
                <a:gd name="T11" fmla="*/ 49 h 153"/>
                <a:gd name="T12" fmla="*/ 65 w 477"/>
                <a:gd name="T13" fmla="*/ 127 h 153"/>
                <a:gd name="T14" fmla="*/ 115 w 477"/>
                <a:gd name="T15" fmla="*/ 151 h 153"/>
                <a:gd name="T16" fmla="*/ 173 w 477"/>
                <a:gd name="T17" fmla="*/ 37 h 153"/>
                <a:gd name="T18" fmla="*/ 128 w 477"/>
                <a:gd name="T19" fmla="*/ 49 h 153"/>
                <a:gd name="T20" fmla="*/ 169 w 477"/>
                <a:gd name="T21" fmla="*/ 87 h 153"/>
                <a:gd name="T22" fmla="*/ 128 w 477"/>
                <a:gd name="T23" fmla="*/ 99 h 153"/>
                <a:gd name="T24" fmla="*/ 175 w 477"/>
                <a:gd name="T25" fmla="*/ 139 h 153"/>
                <a:gd name="T26" fmla="*/ 167 w 477"/>
                <a:gd name="T27" fmla="*/ 0 h 153"/>
                <a:gd name="T28" fmla="*/ 139 w 477"/>
                <a:gd name="T29" fmla="*/ 26 h 153"/>
                <a:gd name="T30" fmla="*/ 131 w 477"/>
                <a:gd name="T31" fmla="*/ 0 h 153"/>
                <a:gd name="T32" fmla="*/ 157 w 477"/>
                <a:gd name="T33" fmla="*/ 0 h 153"/>
                <a:gd name="T34" fmla="*/ 277 w 477"/>
                <a:gd name="T35" fmla="*/ 151 h 153"/>
                <a:gd name="T36" fmla="*/ 214 w 477"/>
                <a:gd name="T37" fmla="*/ 99 h 153"/>
                <a:gd name="T38" fmla="*/ 211 w 477"/>
                <a:gd name="T39" fmla="*/ 95 h 153"/>
                <a:gd name="T40" fmla="*/ 198 w 477"/>
                <a:gd name="T41" fmla="*/ 151 h 153"/>
                <a:gd name="T42" fmla="*/ 211 w 477"/>
                <a:gd name="T43" fmla="*/ 37 h 153"/>
                <a:gd name="T44" fmla="*/ 211 w 477"/>
                <a:gd name="T45" fmla="*/ 91 h 153"/>
                <a:gd name="T46" fmla="*/ 257 w 477"/>
                <a:gd name="T47" fmla="*/ 37 h 153"/>
                <a:gd name="T48" fmla="*/ 225 w 477"/>
                <a:gd name="T49" fmla="*/ 92 h 153"/>
                <a:gd name="T50" fmla="*/ 377 w 477"/>
                <a:gd name="T51" fmla="*/ 105 h 153"/>
                <a:gd name="T52" fmla="*/ 291 w 477"/>
                <a:gd name="T53" fmla="*/ 107 h 153"/>
                <a:gd name="T54" fmla="*/ 305 w 477"/>
                <a:gd name="T55" fmla="*/ 37 h 153"/>
                <a:gd name="T56" fmla="*/ 334 w 477"/>
                <a:gd name="T57" fmla="*/ 141 h 153"/>
                <a:gd name="T58" fmla="*/ 363 w 477"/>
                <a:gd name="T59" fmla="*/ 37 h 153"/>
                <a:gd name="T60" fmla="*/ 377 w 477"/>
                <a:gd name="T61" fmla="*/ 105 h 153"/>
                <a:gd name="T62" fmla="*/ 426 w 477"/>
                <a:gd name="T63" fmla="*/ 142 h 153"/>
                <a:gd name="T64" fmla="*/ 392 w 477"/>
                <a:gd name="T65" fmla="*/ 151 h 153"/>
                <a:gd name="T66" fmla="*/ 403 w 477"/>
                <a:gd name="T67" fmla="*/ 141 h 153"/>
                <a:gd name="T68" fmla="*/ 421 w 477"/>
                <a:gd name="T69" fmla="*/ 37 h 153"/>
                <a:gd name="T70" fmla="*/ 435 w 477"/>
                <a:gd name="T71" fmla="*/ 110 h 153"/>
                <a:gd name="T72" fmla="*/ 464 w 477"/>
                <a:gd name="T73" fmla="*/ 151 h 153"/>
                <a:gd name="T74" fmla="*/ 477 w 477"/>
                <a:gd name="T75" fmla="*/ 3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7" h="153">
                  <a:moveTo>
                    <a:pt x="31" y="37"/>
                  </a:moveTo>
                  <a:cubicBezTo>
                    <a:pt x="0" y="37"/>
                    <a:pt x="0" y="37"/>
                    <a:pt x="0" y="37"/>
                  </a:cubicBezTo>
                  <a:cubicBezTo>
                    <a:pt x="0" y="151"/>
                    <a:pt x="0" y="151"/>
                    <a:pt x="0" y="151"/>
                  </a:cubicBezTo>
                  <a:cubicBezTo>
                    <a:pt x="30" y="151"/>
                    <a:pt x="30" y="151"/>
                    <a:pt x="30" y="151"/>
                  </a:cubicBezTo>
                  <a:cubicBezTo>
                    <a:pt x="49" y="151"/>
                    <a:pt x="64" y="146"/>
                    <a:pt x="75" y="135"/>
                  </a:cubicBezTo>
                  <a:cubicBezTo>
                    <a:pt x="86" y="124"/>
                    <a:pt x="92" y="110"/>
                    <a:pt x="92" y="93"/>
                  </a:cubicBezTo>
                  <a:cubicBezTo>
                    <a:pt x="92" y="55"/>
                    <a:pt x="72" y="37"/>
                    <a:pt x="31" y="37"/>
                  </a:cubicBezTo>
                  <a:close/>
                  <a:moveTo>
                    <a:pt x="65" y="127"/>
                  </a:moveTo>
                  <a:cubicBezTo>
                    <a:pt x="57" y="135"/>
                    <a:pt x="45" y="139"/>
                    <a:pt x="30" y="139"/>
                  </a:cubicBezTo>
                  <a:cubicBezTo>
                    <a:pt x="13" y="139"/>
                    <a:pt x="13" y="139"/>
                    <a:pt x="13" y="139"/>
                  </a:cubicBezTo>
                  <a:cubicBezTo>
                    <a:pt x="13" y="49"/>
                    <a:pt x="13" y="49"/>
                    <a:pt x="13" y="49"/>
                  </a:cubicBezTo>
                  <a:cubicBezTo>
                    <a:pt x="31" y="49"/>
                    <a:pt x="31" y="49"/>
                    <a:pt x="31" y="49"/>
                  </a:cubicBezTo>
                  <a:cubicBezTo>
                    <a:pt x="62" y="49"/>
                    <a:pt x="78" y="63"/>
                    <a:pt x="78" y="93"/>
                  </a:cubicBezTo>
                  <a:cubicBezTo>
                    <a:pt x="78" y="108"/>
                    <a:pt x="74" y="119"/>
                    <a:pt x="65" y="127"/>
                  </a:cubicBezTo>
                  <a:close/>
                  <a:moveTo>
                    <a:pt x="175" y="151"/>
                  </a:moveTo>
                  <a:cubicBezTo>
                    <a:pt x="115" y="151"/>
                    <a:pt x="115" y="151"/>
                    <a:pt x="115" y="151"/>
                  </a:cubicBezTo>
                  <a:cubicBezTo>
                    <a:pt x="115" y="37"/>
                    <a:pt x="115" y="37"/>
                    <a:pt x="115" y="37"/>
                  </a:cubicBezTo>
                  <a:cubicBezTo>
                    <a:pt x="173" y="37"/>
                    <a:pt x="173" y="37"/>
                    <a:pt x="173" y="37"/>
                  </a:cubicBezTo>
                  <a:cubicBezTo>
                    <a:pt x="173" y="49"/>
                    <a:pt x="173" y="49"/>
                    <a:pt x="173" y="49"/>
                  </a:cubicBezTo>
                  <a:cubicBezTo>
                    <a:pt x="128" y="49"/>
                    <a:pt x="128" y="49"/>
                    <a:pt x="128" y="49"/>
                  </a:cubicBezTo>
                  <a:cubicBezTo>
                    <a:pt x="128" y="87"/>
                    <a:pt x="128" y="87"/>
                    <a:pt x="128" y="87"/>
                  </a:cubicBezTo>
                  <a:cubicBezTo>
                    <a:pt x="169" y="87"/>
                    <a:pt x="169" y="87"/>
                    <a:pt x="169" y="87"/>
                  </a:cubicBezTo>
                  <a:cubicBezTo>
                    <a:pt x="169" y="99"/>
                    <a:pt x="169" y="99"/>
                    <a:pt x="169" y="99"/>
                  </a:cubicBezTo>
                  <a:cubicBezTo>
                    <a:pt x="128" y="99"/>
                    <a:pt x="128" y="99"/>
                    <a:pt x="128" y="99"/>
                  </a:cubicBezTo>
                  <a:cubicBezTo>
                    <a:pt x="128" y="139"/>
                    <a:pt x="128" y="139"/>
                    <a:pt x="128" y="139"/>
                  </a:cubicBezTo>
                  <a:cubicBezTo>
                    <a:pt x="175" y="139"/>
                    <a:pt x="175" y="139"/>
                    <a:pt x="175" y="139"/>
                  </a:cubicBezTo>
                  <a:lnTo>
                    <a:pt x="175" y="151"/>
                  </a:lnTo>
                  <a:close/>
                  <a:moveTo>
                    <a:pt x="167" y="0"/>
                  </a:moveTo>
                  <a:cubicBezTo>
                    <a:pt x="150" y="26"/>
                    <a:pt x="150" y="26"/>
                    <a:pt x="150" y="26"/>
                  </a:cubicBezTo>
                  <a:cubicBezTo>
                    <a:pt x="139" y="26"/>
                    <a:pt x="139" y="26"/>
                    <a:pt x="139" y="26"/>
                  </a:cubicBezTo>
                  <a:cubicBezTo>
                    <a:pt x="122" y="0"/>
                    <a:pt x="122" y="0"/>
                    <a:pt x="122" y="0"/>
                  </a:cubicBezTo>
                  <a:cubicBezTo>
                    <a:pt x="131" y="0"/>
                    <a:pt x="131" y="0"/>
                    <a:pt x="131" y="0"/>
                  </a:cubicBezTo>
                  <a:cubicBezTo>
                    <a:pt x="144" y="18"/>
                    <a:pt x="144" y="18"/>
                    <a:pt x="144" y="18"/>
                  </a:cubicBezTo>
                  <a:cubicBezTo>
                    <a:pt x="157" y="0"/>
                    <a:pt x="157" y="0"/>
                    <a:pt x="157" y="0"/>
                  </a:cubicBezTo>
                  <a:lnTo>
                    <a:pt x="167" y="0"/>
                  </a:lnTo>
                  <a:close/>
                  <a:moveTo>
                    <a:pt x="277" y="151"/>
                  </a:moveTo>
                  <a:cubicBezTo>
                    <a:pt x="259" y="151"/>
                    <a:pt x="259" y="151"/>
                    <a:pt x="259" y="151"/>
                  </a:cubicBezTo>
                  <a:cubicBezTo>
                    <a:pt x="214" y="99"/>
                    <a:pt x="214" y="99"/>
                    <a:pt x="214" y="99"/>
                  </a:cubicBezTo>
                  <a:cubicBezTo>
                    <a:pt x="213" y="97"/>
                    <a:pt x="212" y="96"/>
                    <a:pt x="211" y="95"/>
                  </a:cubicBezTo>
                  <a:cubicBezTo>
                    <a:pt x="211" y="95"/>
                    <a:pt x="211" y="95"/>
                    <a:pt x="211" y="95"/>
                  </a:cubicBezTo>
                  <a:cubicBezTo>
                    <a:pt x="211" y="151"/>
                    <a:pt x="211" y="151"/>
                    <a:pt x="211" y="151"/>
                  </a:cubicBezTo>
                  <a:cubicBezTo>
                    <a:pt x="198" y="151"/>
                    <a:pt x="198" y="151"/>
                    <a:pt x="198" y="151"/>
                  </a:cubicBezTo>
                  <a:cubicBezTo>
                    <a:pt x="198" y="37"/>
                    <a:pt x="198" y="37"/>
                    <a:pt x="198" y="37"/>
                  </a:cubicBezTo>
                  <a:cubicBezTo>
                    <a:pt x="211" y="37"/>
                    <a:pt x="211" y="37"/>
                    <a:pt x="211" y="37"/>
                  </a:cubicBezTo>
                  <a:cubicBezTo>
                    <a:pt x="211" y="91"/>
                    <a:pt x="211" y="91"/>
                    <a:pt x="211" y="91"/>
                  </a:cubicBezTo>
                  <a:cubicBezTo>
                    <a:pt x="211" y="91"/>
                    <a:pt x="211" y="91"/>
                    <a:pt x="211" y="91"/>
                  </a:cubicBezTo>
                  <a:cubicBezTo>
                    <a:pt x="212" y="89"/>
                    <a:pt x="213" y="88"/>
                    <a:pt x="214" y="87"/>
                  </a:cubicBezTo>
                  <a:cubicBezTo>
                    <a:pt x="257" y="37"/>
                    <a:pt x="257" y="37"/>
                    <a:pt x="257" y="37"/>
                  </a:cubicBezTo>
                  <a:cubicBezTo>
                    <a:pt x="274" y="37"/>
                    <a:pt x="274" y="37"/>
                    <a:pt x="274" y="37"/>
                  </a:cubicBezTo>
                  <a:cubicBezTo>
                    <a:pt x="225" y="92"/>
                    <a:pt x="225" y="92"/>
                    <a:pt x="225" y="92"/>
                  </a:cubicBezTo>
                  <a:lnTo>
                    <a:pt x="277" y="151"/>
                  </a:lnTo>
                  <a:close/>
                  <a:moveTo>
                    <a:pt x="377" y="105"/>
                  </a:moveTo>
                  <a:cubicBezTo>
                    <a:pt x="377" y="137"/>
                    <a:pt x="362" y="153"/>
                    <a:pt x="333" y="153"/>
                  </a:cubicBezTo>
                  <a:cubicBezTo>
                    <a:pt x="305" y="153"/>
                    <a:pt x="291" y="138"/>
                    <a:pt x="291" y="107"/>
                  </a:cubicBezTo>
                  <a:cubicBezTo>
                    <a:pt x="291" y="37"/>
                    <a:pt x="291" y="37"/>
                    <a:pt x="291" y="37"/>
                  </a:cubicBezTo>
                  <a:cubicBezTo>
                    <a:pt x="305" y="37"/>
                    <a:pt x="305" y="37"/>
                    <a:pt x="305" y="37"/>
                  </a:cubicBezTo>
                  <a:cubicBezTo>
                    <a:pt x="305" y="106"/>
                    <a:pt x="305" y="106"/>
                    <a:pt x="305" y="106"/>
                  </a:cubicBezTo>
                  <a:cubicBezTo>
                    <a:pt x="305" y="129"/>
                    <a:pt x="315" y="141"/>
                    <a:pt x="334" y="141"/>
                  </a:cubicBezTo>
                  <a:cubicBezTo>
                    <a:pt x="354" y="141"/>
                    <a:pt x="363" y="130"/>
                    <a:pt x="363" y="107"/>
                  </a:cubicBezTo>
                  <a:cubicBezTo>
                    <a:pt x="363" y="37"/>
                    <a:pt x="363" y="37"/>
                    <a:pt x="363" y="37"/>
                  </a:cubicBezTo>
                  <a:cubicBezTo>
                    <a:pt x="377" y="37"/>
                    <a:pt x="377" y="37"/>
                    <a:pt x="377" y="37"/>
                  </a:cubicBezTo>
                  <a:lnTo>
                    <a:pt x="377" y="105"/>
                  </a:lnTo>
                  <a:close/>
                  <a:moveTo>
                    <a:pt x="435" y="110"/>
                  </a:moveTo>
                  <a:cubicBezTo>
                    <a:pt x="435" y="124"/>
                    <a:pt x="432" y="134"/>
                    <a:pt x="426" y="142"/>
                  </a:cubicBezTo>
                  <a:cubicBezTo>
                    <a:pt x="420" y="150"/>
                    <a:pt x="413" y="153"/>
                    <a:pt x="403" y="153"/>
                  </a:cubicBezTo>
                  <a:cubicBezTo>
                    <a:pt x="398" y="153"/>
                    <a:pt x="395" y="153"/>
                    <a:pt x="392" y="151"/>
                  </a:cubicBezTo>
                  <a:cubicBezTo>
                    <a:pt x="392" y="138"/>
                    <a:pt x="392" y="138"/>
                    <a:pt x="392" y="138"/>
                  </a:cubicBezTo>
                  <a:cubicBezTo>
                    <a:pt x="395" y="140"/>
                    <a:pt x="398" y="141"/>
                    <a:pt x="403" y="141"/>
                  </a:cubicBezTo>
                  <a:cubicBezTo>
                    <a:pt x="415" y="141"/>
                    <a:pt x="421" y="131"/>
                    <a:pt x="421" y="110"/>
                  </a:cubicBezTo>
                  <a:cubicBezTo>
                    <a:pt x="421" y="37"/>
                    <a:pt x="421" y="37"/>
                    <a:pt x="421" y="37"/>
                  </a:cubicBezTo>
                  <a:cubicBezTo>
                    <a:pt x="435" y="37"/>
                    <a:pt x="435" y="37"/>
                    <a:pt x="435" y="37"/>
                  </a:cubicBezTo>
                  <a:lnTo>
                    <a:pt x="435" y="110"/>
                  </a:lnTo>
                  <a:close/>
                  <a:moveTo>
                    <a:pt x="477" y="151"/>
                  </a:moveTo>
                  <a:cubicBezTo>
                    <a:pt x="464" y="151"/>
                    <a:pt x="464" y="151"/>
                    <a:pt x="464" y="151"/>
                  </a:cubicBezTo>
                  <a:cubicBezTo>
                    <a:pt x="464" y="37"/>
                    <a:pt x="464" y="37"/>
                    <a:pt x="464" y="37"/>
                  </a:cubicBezTo>
                  <a:cubicBezTo>
                    <a:pt x="477" y="37"/>
                    <a:pt x="477" y="37"/>
                    <a:pt x="477" y="37"/>
                  </a:cubicBezTo>
                  <a:lnTo>
                    <a:pt x="477" y="151"/>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8" name="Freeform 239">
              <a:extLst>
                <a:ext uri="{FF2B5EF4-FFF2-40B4-BE49-F238E27FC236}">
                  <a16:creationId xmlns:a16="http://schemas.microsoft.com/office/drawing/2014/main" id="{283BCC6C-B822-1C7E-3E10-CBBFD05AF86E}"/>
                </a:ext>
                <a:ext uri="{C183D7F6-B498-43B3-948B-1728B52AA6E4}">
                  <adec:decorative xmlns:adec="http://schemas.microsoft.com/office/drawing/2017/decorative" val="1"/>
                </a:ext>
              </a:extLst>
            </p:cNvPr>
            <p:cNvSpPr>
              <a:spLocks noEditPoints="1"/>
            </p:cNvSpPr>
            <p:nvPr/>
          </p:nvSpPr>
          <p:spPr bwMode="auto">
            <a:xfrm>
              <a:off x="3655439" y="1694482"/>
              <a:ext cx="852840" cy="273577"/>
            </a:xfrm>
            <a:custGeom>
              <a:avLst/>
              <a:gdLst>
                <a:gd name="T0" fmla="*/ 60 w 281"/>
                <a:gd name="T1" fmla="*/ 11 h 90"/>
                <a:gd name="T2" fmla="*/ 35 w 281"/>
                <a:gd name="T3" fmla="*/ 11 h 90"/>
                <a:gd name="T4" fmla="*/ 35 w 281"/>
                <a:gd name="T5" fmla="*/ 89 h 90"/>
                <a:gd name="T6" fmla="*/ 25 w 281"/>
                <a:gd name="T7" fmla="*/ 89 h 90"/>
                <a:gd name="T8" fmla="*/ 25 w 281"/>
                <a:gd name="T9" fmla="*/ 11 h 90"/>
                <a:gd name="T10" fmla="*/ 0 w 281"/>
                <a:gd name="T11" fmla="*/ 11 h 90"/>
                <a:gd name="T12" fmla="*/ 0 w 281"/>
                <a:gd name="T13" fmla="*/ 2 h 90"/>
                <a:gd name="T14" fmla="*/ 60 w 281"/>
                <a:gd name="T15" fmla="*/ 2 h 90"/>
                <a:gd name="T16" fmla="*/ 60 w 281"/>
                <a:gd name="T17" fmla="*/ 11 h 90"/>
                <a:gd name="T18" fmla="*/ 99 w 281"/>
                <a:gd name="T19" fmla="*/ 2 h 90"/>
                <a:gd name="T20" fmla="*/ 88 w 281"/>
                <a:gd name="T21" fmla="*/ 2 h 90"/>
                <a:gd name="T22" fmla="*/ 55 w 281"/>
                <a:gd name="T23" fmla="*/ 89 h 90"/>
                <a:gd name="T24" fmla="*/ 66 w 281"/>
                <a:gd name="T25" fmla="*/ 89 h 90"/>
                <a:gd name="T26" fmla="*/ 75 w 281"/>
                <a:gd name="T27" fmla="*/ 64 h 90"/>
                <a:gd name="T28" fmla="*/ 112 w 281"/>
                <a:gd name="T29" fmla="*/ 64 h 90"/>
                <a:gd name="T30" fmla="*/ 121 w 281"/>
                <a:gd name="T31" fmla="*/ 89 h 90"/>
                <a:gd name="T32" fmla="*/ 132 w 281"/>
                <a:gd name="T33" fmla="*/ 89 h 90"/>
                <a:gd name="T34" fmla="*/ 99 w 281"/>
                <a:gd name="T35" fmla="*/ 2 h 90"/>
                <a:gd name="T36" fmla="*/ 78 w 281"/>
                <a:gd name="T37" fmla="*/ 55 h 90"/>
                <a:gd name="T38" fmla="*/ 92 w 281"/>
                <a:gd name="T39" fmla="*/ 18 h 90"/>
                <a:gd name="T40" fmla="*/ 93 w 281"/>
                <a:gd name="T41" fmla="*/ 12 h 90"/>
                <a:gd name="T42" fmla="*/ 93 w 281"/>
                <a:gd name="T43" fmla="*/ 12 h 90"/>
                <a:gd name="T44" fmla="*/ 95 w 281"/>
                <a:gd name="T45" fmla="*/ 18 h 90"/>
                <a:gd name="T46" fmla="*/ 108 w 281"/>
                <a:gd name="T47" fmla="*/ 55 h 90"/>
                <a:gd name="T48" fmla="*/ 78 w 281"/>
                <a:gd name="T49" fmla="*/ 55 h 90"/>
                <a:gd name="T50" fmla="*/ 203 w 281"/>
                <a:gd name="T51" fmla="*/ 85 h 90"/>
                <a:gd name="T52" fmla="*/ 179 w 281"/>
                <a:gd name="T53" fmla="*/ 90 h 90"/>
                <a:gd name="T54" fmla="*/ 149 w 281"/>
                <a:gd name="T55" fmla="*/ 78 h 90"/>
                <a:gd name="T56" fmla="*/ 138 w 281"/>
                <a:gd name="T57" fmla="*/ 47 h 90"/>
                <a:gd name="T58" fmla="*/ 150 w 281"/>
                <a:gd name="T59" fmla="*/ 13 h 90"/>
                <a:gd name="T60" fmla="*/ 182 w 281"/>
                <a:gd name="T61" fmla="*/ 0 h 90"/>
                <a:gd name="T62" fmla="*/ 203 w 281"/>
                <a:gd name="T63" fmla="*/ 4 h 90"/>
                <a:gd name="T64" fmla="*/ 203 w 281"/>
                <a:gd name="T65" fmla="*/ 15 h 90"/>
                <a:gd name="T66" fmla="*/ 182 w 281"/>
                <a:gd name="T67" fmla="*/ 9 h 90"/>
                <a:gd name="T68" fmla="*/ 158 w 281"/>
                <a:gd name="T69" fmla="*/ 19 h 90"/>
                <a:gd name="T70" fmla="*/ 148 w 281"/>
                <a:gd name="T71" fmla="*/ 46 h 90"/>
                <a:gd name="T72" fmla="*/ 157 w 281"/>
                <a:gd name="T73" fmla="*/ 72 h 90"/>
                <a:gd name="T74" fmla="*/ 180 w 281"/>
                <a:gd name="T75" fmla="*/ 81 h 90"/>
                <a:gd name="T76" fmla="*/ 203 w 281"/>
                <a:gd name="T77" fmla="*/ 75 h 90"/>
                <a:gd name="T78" fmla="*/ 203 w 281"/>
                <a:gd name="T79" fmla="*/ 85 h 90"/>
                <a:gd name="T80" fmla="*/ 281 w 281"/>
                <a:gd name="T81" fmla="*/ 89 h 90"/>
                <a:gd name="T82" fmla="*/ 267 w 281"/>
                <a:gd name="T83" fmla="*/ 89 h 90"/>
                <a:gd name="T84" fmla="*/ 233 w 281"/>
                <a:gd name="T85" fmla="*/ 49 h 90"/>
                <a:gd name="T86" fmla="*/ 231 w 281"/>
                <a:gd name="T87" fmla="*/ 46 h 90"/>
                <a:gd name="T88" fmla="*/ 231 w 281"/>
                <a:gd name="T89" fmla="*/ 46 h 90"/>
                <a:gd name="T90" fmla="*/ 231 w 281"/>
                <a:gd name="T91" fmla="*/ 89 h 90"/>
                <a:gd name="T92" fmla="*/ 220 w 281"/>
                <a:gd name="T93" fmla="*/ 89 h 90"/>
                <a:gd name="T94" fmla="*/ 220 w 281"/>
                <a:gd name="T95" fmla="*/ 2 h 90"/>
                <a:gd name="T96" fmla="*/ 231 w 281"/>
                <a:gd name="T97" fmla="*/ 2 h 90"/>
                <a:gd name="T98" fmla="*/ 231 w 281"/>
                <a:gd name="T99" fmla="*/ 43 h 90"/>
                <a:gd name="T100" fmla="*/ 231 w 281"/>
                <a:gd name="T101" fmla="*/ 43 h 90"/>
                <a:gd name="T102" fmla="*/ 233 w 281"/>
                <a:gd name="T103" fmla="*/ 40 h 90"/>
                <a:gd name="T104" fmla="*/ 266 w 281"/>
                <a:gd name="T105" fmla="*/ 2 h 90"/>
                <a:gd name="T106" fmla="*/ 278 w 281"/>
                <a:gd name="T107" fmla="*/ 2 h 90"/>
                <a:gd name="T108" fmla="*/ 241 w 281"/>
                <a:gd name="T109" fmla="*/ 43 h 90"/>
                <a:gd name="T110" fmla="*/ 281 w 281"/>
                <a:gd name="T11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 h="90">
                  <a:moveTo>
                    <a:pt x="60" y="11"/>
                  </a:moveTo>
                  <a:cubicBezTo>
                    <a:pt x="35" y="11"/>
                    <a:pt x="35" y="11"/>
                    <a:pt x="35" y="11"/>
                  </a:cubicBezTo>
                  <a:cubicBezTo>
                    <a:pt x="35" y="89"/>
                    <a:pt x="35" y="89"/>
                    <a:pt x="35" y="89"/>
                  </a:cubicBezTo>
                  <a:cubicBezTo>
                    <a:pt x="25" y="89"/>
                    <a:pt x="25" y="89"/>
                    <a:pt x="25" y="89"/>
                  </a:cubicBezTo>
                  <a:cubicBezTo>
                    <a:pt x="25" y="11"/>
                    <a:pt x="25" y="11"/>
                    <a:pt x="25" y="11"/>
                  </a:cubicBezTo>
                  <a:cubicBezTo>
                    <a:pt x="0" y="11"/>
                    <a:pt x="0" y="11"/>
                    <a:pt x="0" y="11"/>
                  </a:cubicBezTo>
                  <a:cubicBezTo>
                    <a:pt x="0" y="2"/>
                    <a:pt x="0" y="2"/>
                    <a:pt x="0" y="2"/>
                  </a:cubicBezTo>
                  <a:cubicBezTo>
                    <a:pt x="60" y="2"/>
                    <a:pt x="60" y="2"/>
                    <a:pt x="60" y="2"/>
                  </a:cubicBezTo>
                  <a:lnTo>
                    <a:pt x="60" y="11"/>
                  </a:lnTo>
                  <a:close/>
                  <a:moveTo>
                    <a:pt x="99" y="2"/>
                  </a:moveTo>
                  <a:cubicBezTo>
                    <a:pt x="88" y="2"/>
                    <a:pt x="88" y="2"/>
                    <a:pt x="88" y="2"/>
                  </a:cubicBezTo>
                  <a:cubicBezTo>
                    <a:pt x="55" y="89"/>
                    <a:pt x="55" y="89"/>
                    <a:pt x="55" y="89"/>
                  </a:cubicBezTo>
                  <a:cubicBezTo>
                    <a:pt x="66" y="89"/>
                    <a:pt x="66" y="89"/>
                    <a:pt x="66" y="89"/>
                  </a:cubicBezTo>
                  <a:cubicBezTo>
                    <a:pt x="75" y="64"/>
                    <a:pt x="75" y="64"/>
                    <a:pt x="75" y="64"/>
                  </a:cubicBezTo>
                  <a:cubicBezTo>
                    <a:pt x="112" y="64"/>
                    <a:pt x="112" y="64"/>
                    <a:pt x="112" y="64"/>
                  </a:cubicBezTo>
                  <a:cubicBezTo>
                    <a:pt x="121" y="89"/>
                    <a:pt x="121" y="89"/>
                    <a:pt x="121" y="89"/>
                  </a:cubicBezTo>
                  <a:cubicBezTo>
                    <a:pt x="132" y="89"/>
                    <a:pt x="132" y="89"/>
                    <a:pt x="132" y="89"/>
                  </a:cubicBezTo>
                  <a:lnTo>
                    <a:pt x="99" y="2"/>
                  </a:lnTo>
                  <a:close/>
                  <a:moveTo>
                    <a:pt x="78" y="55"/>
                  </a:moveTo>
                  <a:cubicBezTo>
                    <a:pt x="92" y="18"/>
                    <a:pt x="92" y="18"/>
                    <a:pt x="92" y="18"/>
                  </a:cubicBezTo>
                  <a:cubicBezTo>
                    <a:pt x="92" y="17"/>
                    <a:pt x="93" y="15"/>
                    <a:pt x="93" y="12"/>
                  </a:cubicBezTo>
                  <a:cubicBezTo>
                    <a:pt x="93" y="12"/>
                    <a:pt x="93" y="12"/>
                    <a:pt x="93" y="12"/>
                  </a:cubicBezTo>
                  <a:cubicBezTo>
                    <a:pt x="94" y="15"/>
                    <a:pt x="94" y="17"/>
                    <a:pt x="95" y="18"/>
                  </a:cubicBezTo>
                  <a:cubicBezTo>
                    <a:pt x="108" y="55"/>
                    <a:pt x="108" y="55"/>
                    <a:pt x="108" y="55"/>
                  </a:cubicBezTo>
                  <a:lnTo>
                    <a:pt x="78" y="55"/>
                  </a:lnTo>
                  <a:close/>
                  <a:moveTo>
                    <a:pt x="203" y="85"/>
                  </a:moveTo>
                  <a:cubicBezTo>
                    <a:pt x="196" y="89"/>
                    <a:pt x="188" y="90"/>
                    <a:pt x="179" y="90"/>
                  </a:cubicBezTo>
                  <a:cubicBezTo>
                    <a:pt x="166" y="90"/>
                    <a:pt x="156" y="86"/>
                    <a:pt x="149" y="78"/>
                  </a:cubicBezTo>
                  <a:cubicBezTo>
                    <a:pt x="141" y="70"/>
                    <a:pt x="138" y="60"/>
                    <a:pt x="138" y="47"/>
                  </a:cubicBezTo>
                  <a:cubicBezTo>
                    <a:pt x="138" y="33"/>
                    <a:pt x="142" y="22"/>
                    <a:pt x="150" y="13"/>
                  </a:cubicBezTo>
                  <a:cubicBezTo>
                    <a:pt x="159" y="5"/>
                    <a:pt x="169" y="0"/>
                    <a:pt x="182" y="0"/>
                  </a:cubicBezTo>
                  <a:cubicBezTo>
                    <a:pt x="190" y="0"/>
                    <a:pt x="197" y="1"/>
                    <a:pt x="203" y="4"/>
                  </a:cubicBezTo>
                  <a:cubicBezTo>
                    <a:pt x="203" y="15"/>
                    <a:pt x="203" y="15"/>
                    <a:pt x="203" y="15"/>
                  </a:cubicBezTo>
                  <a:cubicBezTo>
                    <a:pt x="196" y="11"/>
                    <a:pt x="190" y="9"/>
                    <a:pt x="182" y="9"/>
                  </a:cubicBezTo>
                  <a:cubicBezTo>
                    <a:pt x="172" y="9"/>
                    <a:pt x="164" y="13"/>
                    <a:pt x="158" y="19"/>
                  </a:cubicBezTo>
                  <a:cubicBezTo>
                    <a:pt x="151" y="26"/>
                    <a:pt x="148" y="35"/>
                    <a:pt x="148" y="46"/>
                  </a:cubicBezTo>
                  <a:cubicBezTo>
                    <a:pt x="148" y="57"/>
                    <a:pt x="151" y="65"/>
                    <a:pt x="157" y="72"/>
                  </a:cubicBezTo>
                  <a:cubicBezTo>
                    <a:pt x="163" y="78"/>
                    <a:pt x="171" y="81"/>
                    <a:pt x="180" y="81"/>
                  </a:cubicBezTo>
                  <a:cubicBezTo>
                    <a:pt x="189" y="81"/>
                    <a:pt x="196" y="79"/>
                    <a:pt x="203" y="75"/>
                  </a:cubicBezTo>
                  <a:lnTo>
                    <a:pt x="203" y="85"/>
                  </a:lnTo>
                  <a:close/>
                  <a:moveTo>
                    <a:pt x="281" y="89"/>
                  </a:moveTo>
                  <a:cubicBezTo>
                    <a:pt x="267" y="89"/>
                    <a:pt x="267" y="89"/>
                    <a:pt x="267" y="89"/>
                  </a:cubicBezTo>
                  <a:cubicBezTo>
                    <a:pt x="233" y="49"/>
                    <a:pt x="233" y="49"/>
                    <a:pt x="233" y="49"/>
                  </a:cubicBezTo>
                  <a:cubicBezTo>
                    <a:pt x="232" y="47"/>
                    <a:pt x="231" y="46"/>
                    <a:pt x="231" y="46"/>
                  </a:cubicBezTo>
                  <a:cubicBezTo>
                    <a:pt x="231" y="46"/>
                    <a:pt x="231" y="46"/>
                    <a:pt x="231" y="46"/>
                  </a:cubicBezTo>
                  <a:cubicBezTo>
                    <a:pt x="231" y="89"/>
                    <a:pt x="231" y="89"/>
                    <a:pt x="231" y="89"/>
                  </a:cubicBezTo>
                  <a:cubicBezTo>
                    <a:pt x="220" y="89"/>
                    <a:pt x="220" y="89"/>
                    <a:pt x="220" y="89"/>
                  </a:cubicBezTo>
                  <a:cubicBezTo>
                    <a:pt x="220" y="2"/>
                    <a:pt x="220" y="2"/>
                    <a:pt x="220" y="2"/>
                  </a:cubicBezTo>
                  <a:cubicBezTo>
                    <a:pt x="231" y="2"/>
                    <a:pt x="231" y="2"/>
                    <a:pt x="231" y="2"/>
                  </a:cubicBezTo>
                  <a:cubicBezTo>
                    <a:pt x="231" y="43"/>
                    <a:pt x="231" y="43"/>
                    <a:pt x="231" y="43"/>
                  </a:cubicBezTo>
                  <a:cubicBezTo>
                    <a:pt x="231" y="43"/>
                    <a:pt x="231" y="43"/>
                    <a:pt x="231" y="43"/>
                  </a:cubicBezTo>
                  <a:cubicBezTo>
                    <a:pt x="231" y="42"/>
                    <a:pt x="232" y="41"/>
                    <a:pt x="233" y="40"/>
                  </a:cubicBezTo>
                  <a:cubicBezTo>
                    <a:pt x="266" y="2"/>
                    <a:pt x="266" y="2"/>
                    <a:pt x="266" y="2"/>
                  </a:cubicBezTo>
                  <a:cubicBezTo>
                    <a:pt x="278" y="2"/>
                    <a:pt x="278" y="2"/>
                    <a:pt x="278" y="2"/>
                  </a:cubicBezTo>
                  <a:cubicBezTo>
                    <a:pt x="241" y="43"/>
                    <a:pt x="241" y="43"/>
                    <a:pt x="241" y="43"/>
                  </a:cubicBezTo>
                  <a:lnTo>
                    <a:pt x="281" y="89"/>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9" name="Freeform 240">
              <a:extLst>
                <a:ext uri="{FF2B5EF4-FFF2-40B4-BE49-F238E27FC236}">
                  <a16:creationId xmlns:a16="http://schemas.microsoft.com/office/drawing/2014/main" id="{0ED39992-E4CB-1383-C660-2E96D0E8424A}"/>
                </a:ext>
                <a:ext uri="{C183D7F6-B498-43B3-948B-1728B52AA6E4}">
                  <adec:decorative xmlns:adec="http://schemas.microsoft.com/office/drawing/2017/decorative" val="1"/>
                </a:ext>
              </a:extLst>
            </p:cNvPr>
            <p:cNvSpPr>
              <a:spLocks noEditPoints="1"/>
            </p:cNvSpPr>
            <p:nvPr/>
          </p:nvSpPr>
          <p:spPr bwMode="auto">
            <a:xfrm>
              <a:off x="1782614" y="4730525"/>
              <a:ext cx="1114855" cy="464951"/>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0" name="Freeform 241">
              <a:extLst>
                <a:ext uri="{FF2B5EF4-FFF2-40B4-BE49-F238E27FC236}">
                  <a16:creationId xmlns:a16="http://schemas.microsoft.com/office/drawing/2014/main" id="{FD53A550-8932-249B-C006-AF263620A600}"/>
                </a:ext>
                <a:ext uri="{C183D7F6-B498-43B3-948B-1728B52AA6E4}">
                  <adec:decorative xmlns:adec="http://schemas.microsoft.com/office/drawing/2017/decorative" val="1"/>
                </a:ext>
              </a:extLst>
            </p:cNvPr>
            <p:cNvSpPr>
              <a:spLocks noEditPoints="1"/>
            </p:cNvSpPr>
            <p:nvPr/>
          </p:nvSpPr>
          <p:spPr bwMode="auto">
            <a:xfrm>
              <a:off x="1517942" y="3247986"/>
              <a:ext cx="1548982" cy="236329"/>
            </a:xfrm>
            <a:custGeom>
              <a:avLst/>
              <a:gdLst>
                <a:gd name="T0" fmla="*/ 13 w 510"/>
                <a:gd name="T1" fmla="*/ 25 h 78"/>
                <a:gd name="T2" fmla="*/ 39 w 510"/>
                <a:gd name="T3" fmla="*/ 1 h 78"/>
                <a:gd name="T4" fmla="*/ 24 w 510"/>
                <a:gd name="T5" fmla="*/ 61 h 78"/>
                <a:gd name="T6" fmla="*/ 40 w 510"/>
                <a:gd name="T7" fmla="*/ 29 h 78"/>
                <a:gd name="T8" fmla="*/ 13 w 510"/>
                <a:gd name="T9" fmla="*/ 35 h 78"/>
                <a:gd name="T10" fmla="*/ 21 w 510"/>
                <a:gd name="T11" fmla="*/ 51 h 78"/>
                <a:gd name="T12" fmla="*/ 91 w 510"/>
                <a:gd name="T13" fmla="*/ 12 h 78"/>
                <a:gd name="T14" fmla="*/ 57 w 510"/>
                <a:gd name="T15" fmla="*/ 62 h 78"/>
                <a:gd name="T16" fmla="*/ 53 w 510"/>
                <a:gd name="T17" fmla="*/ 51 h 78"/>
                <a:gd name="T18" fmla="*/ 63 w 510"/>
                <a:gd name="T19" fmla="*/ 28 h 78"/>
                <a:gd name="T20" fmla="*/ 104 w 510"/>
                <a:gd name="T21" fmla="*/ 61 h 78"/>
                <a:gd name="T22" fmla="*/ 112 w 510"/>
                <a:gd name="T23" fmla="*/ 61 h 78"/>
                <a:gd name="T24" fmla="*/ 152 w 510"/>
                <a:gd name="T25" fmla="*/ 48 h 78"/>
                <a:gd name="T26" fmla="*/ 150 w 510"/>
                <a:gd name="T27" fmla="*/ 1 h 78"/>
                <a:gd name="T28" fmla="*/ 141 w 510"/>
                <a:gd name="T29" fmla="*/ 11 h 78"/>
                <a:gd name="T30" fmla="*/ 149 w 510"/>
                <a:gd name="T31" fmla="*/ 37 h 78"/>
                <a:gd name="T32" fmla="*/ 193 w 510"/>
                <a:gd name="T33" fmla="*/ 12 h 78"/>
                <a:gd name="T34" fmla="*/ 179 w 510"/>
                <a:gd name="T35" fmla="*/ 1 h 78"/>
                <a:gd name="T36" fmla="*/ 269 w 510"/>
                <a:gd name="T37" fmla="*/ 8 h 78"/>
                <a:gd name="T38" fmla="*/ 218 w 510"/>
                <a:gd name="T39" fmla="*/ 32 h 78"/>
                <a:gd name="T40" fmla="*/ 269 w 510"/>
                <a:gd name="T41" fmla="*/ 53 h 78"/>
                <a:gd name="T42" fmla="*/ 259 w 510"/>
                <a:gd name="T43" fmla="*/ 45 h 78"/>
                <a:gd name="T44" fmla="*/ 232 w 510"/>
                <a:gd name="T45" fmla="*/ 31 h 78"/>
                <a:gd name="T46" fmla="*/ 259 w 510"/>
                <a:gd name="T47" fmla="*/ 17 h 78"/>
                <a:gd name="T48" fmla="*/ 335 w 510"/>
                <a:gd name="T49" fmla="*/ 50 h 78"/>
                <a:gd name="T50" fmla="*/ 287 w 510"/>
                <a:gd name="T51" fmla="*/ 50 h 78"/>
                <a:gd name="T52" fmla="*/ 294 w 510"/>
                <a:gd name="T53" fmla="*/ 78 h 78"/>
                <a:gd name="T54" fmla="*/ 332 w 510"/>
                <a:gd name="T55" fmla="*/ 78 h 78"/>
                <a:gd name="T56" fmla="*/ 335 w 510"/>
                <a:gd name="T57" fmla="*/ 50 h 78"/>
                <a:gd name="T58" fmla="*/ 308 w 510"/>
                <a:gd name="T59" fmla="*/ 31 h 78"/>
                <a:gd name="T60" fmla="*/ 322 w 510"/>
                <a:gd name="T61" fmla="*/ 50 h 78"/>
                <a:gd name="T62" fmla="*/ 348 w 510"/>
                <a:gd name="T63" fmla="*/ 61 h 78"/>
                <a:gd name="T64" fmla="*/ 388 w 510"/>
                <a:gd name="T65" fmla="*/ 48 h 78"/>
                <a:gd name="T66" fmla="*/ 386 w 510"/>
                <a:gd name="T67" fmla="*/ 1 h 78"/>
                <a:gd name="T68" fmla="*/ 377 w 510"/>
                <a:gd name="T69" fmla="*/ 11 h 78"/>
                <a:gd name="T70" fmla="*/ 385 w 510"/>
                <a:gd name="T71" fmla="*/ 37 h 78"/>
                <a:gd name="T72" fmla="*/ 415 w 510"/>
                <a:gd name="T73" fmla="*/ 1 h 78"/>
                <a:gd name="T74" fmla="*/ 429 w 510"/>
                <a:gd name="T75" fmla="*/ 40 h 78"/>
                <a:gd name="T76" fmla="*/ 459 w 510"/>
                <a:gd name="T77" fmla="*/ 20 h 78"/>
                <a:gd name="T78" fmla="*/ 429 w 510"/>
                <a:gd name="T79" fmla="*/ 30 h 78"/>
                <a:gd name="T80" fmla="*/ 445 w 510"/>
                <a:gd name="T81" fmla="*/ 20 h 78"/>
                <a:gd name="T82" fmla="*/ 472 w 510"/>
                <a:gd name="T83" fmla="*/ 5 h 78"/>
                <a:gd name="T84" fmla="*/ 480 w 510"/>
                <a:gd name="T85" fmla="*/ 34 h 78"/>
                <a:gd name="T86" fmla="*/ 477 w 510"/>
                <a:gd name="T87" fmla="*/ 61 h 78"/>
                <a:gd name="T88" fmla="*/ 496 w 510"/>
                <a:gd name="T89" fmla="*/ 38 h 78"/>
                <a:gd name="T90" fmla="*/ 510 w 510"/>
                <a:gd name="T91" fmla="*/ 1 h 78"/>
                <a:gd name="T92" fmla="*/ 490 w 510"/>
                <a:gd name="T93" fmla="*/ 27 h 78"/>
                <a:gd name="T94" fmla="*/ 490 w 510"/>
                <a:gd name="T95"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78">
                  <a:moveTo>
                    <a:pt x="40" y="29"/>
                  </a:moveTo>
                  <a:cubicBezTo>
                    <a:pt x="36" y="26"/>
                    <a:pt x="31" y="25"/>
                    <a:pt x="25" y="25"/>
                  </a:cubicBezTo>
                  <a:cubicBezTo>
                    <a:pt x="13" y="25"/>
                    <a:pt x="13" y="25"/>
                    <a:pt x="13" y="25"/>
                  </a:cubicBezTo>
                  <a:cubicBezTo>
                    <a:pt x="13" y="12"/>
                    <a:pt x="13" y="12"/>
                    <a:pt x="13" y="12"/>
                  </a:cubicBezTo>
                  <a:cubicBezTo>
                    <a:pt x="39" y="12"/>
                    <a:pt x="39" y="12"/>
                    <a:pt x="39" y="12"/>
                  </a:cubicBezTo>
                  <a:cubicBezTo>
                    <a:pt x="39" y="1"/>
                    <a:pt x="39" y="1"/>
                    <a:pt x="39" y="1"/>
                  </a:cubicBezTo>
                  <a:cubicBezTo>
                    <a:pt x="0" y="1"/>
                    <a:pt x="0" y="1"/>
                    <a:pt x="0" y="1"/>
                  </a:cubicBezTo>
                  <a:cubicBezTo>
                    <a:pt x="0" y="61"/>
                    <a:pt x="0" y="61"/>
                    <a:pt x="0" y="61"/>
                  </a:cubicBezTo>
                  <a:cubicBezTo>
                    <a:pt x="24" y="61"/>
                    <a:pt x="24" y="61"/>
                    <a:pt x="24" y="61"/>
                  </a:cubicBezTo>
                  <a:cubicBezTo>
                    <a:pt x="31" y="61"/>
                    <a:pt x="36" y="59"/>
                    <a:pt x="40" y="56"/>
                  </a:cubicBezTo>
                  <a:cubicBezTo>
                    <a:pt x="43" y="53"/>
                    <a:pt x="45" y="48"/>
                    <a:pt x="45" y="42"/>
                  </a:cubicBezTo>
                  <a:cubicBezTo>
                    <a:pt x="45" y="37"/>
                    <a:pt x="43" y="32"/>
                    <a:pt x="40" y="29"/>
                  </a:cubicBezTo>
                  <a:close/>
                  <a:moveTo>
                    <a:pt x="21" y="51"/>
                  </a:moveTo>
                  <a:cubicBezTo>
                    <a:pt x="13" y="51"/>
                    <a:pt x="13" y="51"/>
                    <a:pt x="13" y="51"/>
                  </a:cubicBezTo>
                  <a:cubicBezTo>
                    <a:pt x="13" y="35"/>
                    <a:pt x="13" y="35"/>
                    <a:pt x="13" y="35"/>
                  </a:cubicBezTo>
                  <a:cubicBezTo>
                    <a:pt x="22" y="35"/>
                    <a:pt x="22" y="35"/>
                    <a:pt x="22" y="35"/>
                  </a:cubicBezTo>
                  <a:cubicBezTo>
                    <a:pt x="28" y="35"/>
                    <a:pt x="31" y="38"/>
                    <a:pt x="31" y="43"/>
                  </a:cubicBezTo>
                  <a:cubicBezTo>
                    <a:pt x="31" y="48"/>
                    <a:pt x="28" y="51"/>
                    <a:pt x="21" y="51"/>
                  </a:cubicBezTo>
                  <a:close/>
                  <a:moveTo>
                    <a:pt x="104" y="61"/>
                  </a:moveTo>
                  <a:cubicBezTo>
                    <a:pt x="91" y="61"/>
                    <a:pt x="91" y="61"/>
                    <a:pt x="91" y="61"/>
                  </a:cubicBezTo>
                  <a:cubicBezTo>
                    <a:pt x="91" y="12"/>
                    <a:pt x="91" y="12"/>
                    <a:pt x="91" y="12"/>
                  </a:cubicBezTo>
                  <a:cubicBezTo>
                    <a:pt x="79" y="12"/>
                    <a:pt x="79" y="12"/>
                    <a:pt x="79" y="12"/>
                  </a:cubicBezTo>
                  <a:cubicBezTo>
                    <a:pt x="75" y="35"/>
                    <a:pt x="72" y="49"/>
                    <a:pt x="70" y="54"/>
                  </a:cubicBezTo>
                  <a:cubicBezTo>
                    <a:pt x="67" y="59"/>
                    <a:pt x="62" y="62"/>
                    <a:pt x="57" y="62"/>
                  </a:cubicBezTo>
                  <a:cubicBezTo>
                    <a:pt x="54" y="62"/>
                    <a:pt x="52" y="62"/>
                    <a:pt x="49" y="61"/>
                  </a:cubicBezTo>
                  <a:cubicBezTo>
                    <a:pt x="49" y="50"/>
                    <a:pt x="49" y="50"/>
                    <a:pt x="49" y="50"/>
                  </a:cubicBezTo>
                  <a:cubicBezTo>
                    <a:pt x="51" y="50"/>
                    <a:pt x="52" y="51"/>
                    <a:pt x="53" y="51"/>
                  </a:cubicBezTo>
                  <a:cubicBezTo>
                    <a:pt x="55" y="51"/>
                    <a:pt x="56" y="50"/>
                    <a:pt x="56" y="50"/>
                  </a:cubicBezTo>
                  <a:cubicBezTo>
                    <a:pt x="57" y="49"/>
                    <a:pt x="58" y="47"/>
                    <a:pt x="59" y="44"/>
                  </a:cubicBezTo>
                  <a:cubicBezTo>
                    <a:pt x="60" y="41"/>
                    <a:pt x="62" y="35"/>
                    <a:pt x="63" y="28"/>
                  </a:cubicBezTo>
                  <a:cubicBezTo>
                    <a:pt x="65" y="20"/>
                    <a:pt x="66" y="11"/>
                    <a:pt x="68" y="1"/>
                  </a:cubicBezTo>
                  <a:cubicBezTo>
                    <a:pt x="104" y="1"/>
                    <a:pt x="104" y="1"/>
                    <a:pt x="104" y="1"/>
                  </a:cubicBezTo>
                  <a:lnTo>
                    <a:pt x="104" y="61"/>
                  </a:lnTo>
                  <a:close/>
                  <a:moveTo>
                    <a:pt x="150" y="1"/>
                  </a:moveTo>
                  <a:cubicBezTo>
                    <a:pt x="134" y="1"/>
                    <a:pt x="134" y="1"/>
                    <a:pt x="134" y="1"/>
                  </a:cubicBezTo>
                  <a:cubicBezTo>
                    <a:pt x="112" y="61"/>
                    <a:pt x="112" y="61"/>
                    <a:pt x="112" y="61"/>
                  </a:cubicBezTo>
                  <a:cubicBezTo>
                    <a:pt x="127" y="61"/>
                    <a:pt x="127" y="61"/>
                    <a:pt x="127" y="61"/>
                  </a:cubicBezTo>
                  <a:cubicBezTo>
                    <a:pt x="131" y="48"/>
                    <a:pt x="131" y="48"/>
                    <a:pt x="131" y="48"/>
                  </a:cubicBezTo>
                  <a:cubicBezTo>
                    <a:pt x="152" y="48"/>
                    <a:pt x="152" y="48"/>
                    <a:pt x="152" y="48"/>
                  </a:cubicBezTo>
                  <a:cubicBezTo>
                    <a:pt x="157" y="61"/>
                    <a:pt x="157" y="61"/>
                    <a:pt x="157" y="61"/>
                  </a:cubicBezTo>
                  <a:cubicBezTo>
                    <a:pt x="172" y="61"/>
                    <a:pt x="172" y="61"/>
                    <a:pt x="172" y="61"/>
                  </a:cubicBezTo>
                  <a:lnTo>
                    <a:pt x="150" y="1"/>
                  </a:lnTo>
                  <a:close/>
                  <a:moveTo>
                    <a:pt x="134" y="37"/>
                  </a:moveTo>
                  <a:cubicBezTo>
                    <a:pt x="140" y="17"/>
                    <a:pt x="140" y="17"/>
                    <a:pt x="140" y="17"/>
                  </a:cubicBezTo>
                  <a:cubicBezTo>
                    <a:pt x="141" y="15"/>
                    <a:pt x="141" y="13"/>
                    <a:pt x="141" y="11"/>
                  </a:cubicBezTo>
                  <a:cubicBezTo>
                    <a:pt x="142" y="11"/>
                    <a:pt x="142" y="11"/>
                    <a:pt x="142" y="11"/>
                  </a:cubicBezTo>
                  <a:cubicBezTo>
                    <a:pt x="142" y="13"/>
                    <a:pt x="142" y="15"/>
                    <a:pt x="143" y="17"/>
                  </a:cubicBezTo>
                  <a:cubicBezTo>
                    <a:pt x="149" y="37"/>
                    <a:pt x="149" y="37"/>
                    <a:pt x="149" y="37"/>
                  </a:cubicBezTo>
                  <a:lnTo>
                    <a:pt x="134" y="37"/>
                  </a:lnTo>
                  <a:close/>
                  <a:moveTo>
                    <a:pt x="215" y="12"/>
                  </a:moveTo>
                  <a:cubicBezTo>
                    <a:pt x="193" y="12"/>
                    <a:pt x="193" y="12"/>
                    <a:pt x="193" y="12"/>
                  </a:cubicBezTo>
                  <a:cubicBezTo>
                    <a:pt x="193" y="61"/>
                    <a:pt x="193" y="61"/>
                    <a:pt x="193" y="61"/>
                  </a:cubicBezTo>
                  <a:cubicBezTo>
                    <a:pt x="179" y="61"/>
                    <a:pt x="179" y="61"/>
                    <a:pt x="179" y="61"/>
                  </a:cubicBezTo>
                  <a:cubicBezTo>
                    <a:pt x="179" y="1"/>
                    <a:pt x="179" y="1"/>
                    <a:pt x="179" y="1"/>
                  </a:cubicBezTo>
                  <a:cubicBezTo>
                    <a:pt x="215" y="1"/>
                    <a:pt x="215" y="1"/>
                    <a:pt x="215" y="1"/>
                  </a:cubicBezTo>
                  <a:lnTo>
                    <a:pt x="215" y="12"/>
                  </a:lnTo>
                  <a:close/>
                  <a:moveTo>
                    <a:pt x="269" y="8"/>
                  </a:moveTo>
                  <a:cubicBezTo>
                    <a:pt x="264" y="2"/>
                    <a:pt x="257" y="0"/>
                    <a:pt x="248" y="0"/>
                  </a:cubicBezTo>
                  <a:cubicBezTo>
                    <a:pt x="239" y="0"/>
                    <a:pt x="232" y="3"/>
                    <a:pt x="226" y="8"/>
                  </a:cubicBezTo>
                  <a:cubicBezTo>
                    <a:pt x="221" y="14"/>
                    <a:pt x="218" y="22"/>
                    <a:pt x="218" y="32"/>
                  </a:cubicBezTo>
                  <a:cubicBezTo>
                    <a:pt x="218" y="41"/>
                    <a:pt x="221" y="48"/>
                    <a:pt x="226" y="54"/>
                  </a:cubicBezTo>
                  <a:cubicBezTo>
                    <a:pt x="232" y="59"/>
                    <a:pt x="239" y="62"/>
                    <a:pt x="247" y="62"/>
                  </a:cubicBezTo>
                  <a:cubicBezTo>
                    <a:pt x="256" y="62"/>
                    <a:pt x="264" y="59"/>
                    <a:pt x="269" y="53"/>
                  </a:cubicBezTo>
                  <a:cubicBezTo>
                    <a:pt x="275" y="48"/>
                    <a:pt x="277" y="40"/>
                    <a:pt x="277" y="30"/>
                  </a:cubicBezTo>
                  <a:cubicBezTo>
                    <a:pt x="277" y="21"/>
                    <a:pt x="275" y="14"/>
                    <a:pt x="269" y="8"/>
                  </a:cubicBezTo>
                  <a:close/>
                  <a:moveTo>
                    <a:pt x="259" y="45"/>
                  </a:moveTo>
                  <a:cubicBezTo>
                    <a:pt x="256" y="49"/>
                    <a:pt x="252" y="50"/>
                    <a:pt x="248" y="50"/>
                  </a:cubicBezTo>
                  <a:cubicBezTo>
                    <a:pt x="243" y="50"/>
                    <a:pt x="239" y="49"/>
                    <a:pt x="237" y="45"/>
                  </a:cubicBezTo>
                  <a:cubicBezTo>
                    <a:pt x="234" y="42"/>
                    <a:pt x="232" y="37"/>
                    <a:pt x="232" y="31"/>
                  </a:cubicBezTo>
                  <a:cubicBezTo>
                    <a:pt x="232" y="25"/>
                    <a:pt x="234" y="20"/>
                    <a:pt x="237" y="17"/>
                  </a:cubicBezTo>
                  <a:cubicBezTo>
                    <a:pt x="239" y="13"/>
                    <a:pt x="243" y="11"/>
                    <a:pt x="248" y="11"/>
                  </a:cubicBezTo>
                  <a:cubicBezTo>
                    <a:pt x="253" y="11"/>
                    <a:pt x="256" y="13"/>
                    <a:pt x="259" y="17"/>
                  </a:cubicBezTo>
                  <a:cubicBezTo>
                    <a:pt x="262" y="20"/>
                    <a:pt x="263" y="25"/>
                    <a:pt x="263" y="31"/>
                  </a:cubicBezTo>
                  <a:cubicBezTo>
                    <a:pt x="263" y="37"/>
                    <a:pt x="262" y="42"/>
                    <a:pt x="259" y="45"/>
                  </a:cubicBezTo>
                  <a:close/>
                  <a:moveTo>
                    <a:pt x="335" y="50"/>
                  </a:moveTo>
                  <a:cubicBezTo>
                    <a:pt x="335" y="1"/>
                    <a:pt x="335" y="1"/>
                    <a:pt x="335" y="1"/>
                  </a:cubicBezTo>
                  <a:cubicBezTo>
                    <a:pt x="300" y="1"/>
                    <a:pt x="300" y="1"/>
                    <a:pt x="300" y="1"/>
                  </a:cubicBezTo>
                  <a:cubicBezTo>
                    <a:pt x="300" y="19"/>
                    <a:pt x="295" y="36"/>
                    <a:pt x="287" y="50"/>
                  </a:cubicBezTo>
                  <a:cubicBezTo>
                    <a:pt x="282" y="50"/>
                    <a:pt x="282" y="50"/>
                    <a:pt x="282" y="50"/>
                  </a:cubicBezTo>
                  <a:cubicBezTo>
                    <a:pt x="282" y="78"/>
                    <a:pt x="282" y="78"/>
                    <a:pt x="282" y="78"/>
                  </a:cubicBezTo>
                  <a:cubicBezTo>
                    <a:pt x="294" y="78"/>
                    <a:pt x="294" y="78"/>
                    <a:pt x="294" y="78"/>
                  </a:cubicBezTo>
                  <a:cubicBezTo>
                    <a:pt x="294" y="61"/>
                    <a:pt x="294" y="61"/>
                    <a:pt x="294" y="61"/>
                  </a:cubicBezTo>
                  <a:cubicBezTo>
                    <a:pt x="332" y="61"/>
                    <a:pt x="332" y="61"/>
                    <a:pt x="332" y="61"/>
                  </a:cubicBezTo>
                  <a:cubicBezTo>
                    <a:pt x="332" y="78"/>
                    <a:pt x="332" y="78"/>
                    <a:pt x="332" y="78"/>
                  </a:cubicBezTo>
                  <a:cubicBezTo>
                    <a:pt x="344" y="78"/>
                    <a:pt x="344" y="78"/>
                    <a:pt x="344" y="78"/>
                  </a:cubicBezTo>
                  <a:cubicBezTo>
                    <a:pt x="344" y="50"/>
                    <a:pt x="344" y="50"/>
                    <a:pt x="344" y="50"/>
                  </a:cubicBezTo>
                  <a:lnTo>
                    <a:pt x="335" y="50"/>
                  </a:lnTo>
                  <a:close/>
                  <a:moveTo>
                    <a:pt x="322" y="50"/>
                  </a:moveTo>
                  <a:cubicBezTo>
                    <a:pt x="301" y="50"/>
                    <a:pt x="301" y="50"/>
                    <a:pt x="301" y="50"/>
                  </a:cubicBezTo>
                  <a:cubicBezTo>
                    <a:pt x="304" y="44"/>
                    <a:pt x="306" y="38"/>
                    <a:pt x="308" y="31"/>
                  </a:cubicBezTo>
                  <a:cubicBezTo>
                    <a:pt x="310" y="24"/>
                    <a:pt x="311" y="18"/>
                    <a:pt x="311" y="12"/>
                  </a:cubicBezTo>
                  <a:cubicBezTo>
                    <a:pt x="322" y="12"/>
                    <a:pt x="322" y="12"/>
                    <a:pt x="322" y="12"/>
                  </a:cubicBezTo>
                  <a:lnTo>
                    <a:pt x="322" y="50"/>
                  </a:lnTo>
                  <a:close/>
                  <a:moveTo>
                    <a:pt x="386" y="1"/>
                  </a:moveTo>
                  <a:cubicBezTo>
                    <a:pt x="370" y="1"/>
                    <a:pt x="370" y="1"/>
                    <a:pt x="370" y="1"/>
                  </a:cubicBezTo>
                  <a:cubicBezTo>
                    <a:pt x="348" y="61"/>
                    <a:pt x="348" y="61"/>
                    <a:pt x="348" y="61"/>
                  </a:cubicBezTo>
                  <a:cubicBezTo>
                    <a:pt x="362" y="61"/>
                    <a:pt x="362" y="61"/>
                    <a:pt x="362" y="61"/>
                  </a:cubicBezTo>
                  <a:cubicBezTo>
                    <a:pt x="367" y="48"/>
                    <a:pt x="367" y="48"/>
                    <a:pt x="367" y="48"/>
                  </a:cubicBezTo>
                  <a:cubicBezTo>
                    <a:pt x="388" y="48"/>
                    <a:pt x="388" y="48"/>
                    <a:pt x="388" y="48"/>
                  </a:cubicBezTo>
                  <a:cubicBezTo>
                    <a:pt x="393" y="61"/>
                    <a:pt x="393" y="61"/>
                    <a:pt x="393" y="61"/>
                  </a:cubicBezTo>
                  <a:cubicBezTo>
                    <a:pt x="407" y="61"/>
                    <a:pt x="407" y="61"/>
                    <a:pt x="407" y="61"/>
                  </a:cubicBezTo>
                  <a:lnTo>
                    <a:pt x="386" y="1"/>
                  </a:lnTo>
                  <a:close/>
                  <a:moveTo>
                    <a:pt x="370" y="37"/>
                  </a:moveTo>
                  <a:cubicBezTo>
                    <a:pt x="376" y="17"/>
                    <a:pt x="376" y="17"/>
                    <a:pt x="376" y="17"/>
                  </a:cubicBezTo>
                  <a:cubicBezTo>
                    <a:pt x="377" y="15"/>
                    <a:pt x="377" y="13"/>
                    <a:pt x="377" y="11"/>
                  </a:cubicBezTo>
                  <a:cubicBezTo>
                    <a:pt x="378" y="11"/>
                    <a:pt x="378" y="11"/>
                    <a:pt x="378" y="11"/>
                  </a:cubicBezTo>
                  <a:cubicBezTo>
                    <a:pt x="378" y="13"/>
                    <a:pt x="378" y="15"/>
                    <a:pt x="379" y="17"/>
                  </a:cubicBezTo>
                  <a:cubicBezTo>
                    <a:pt x="385" y="37"/>
                    <a:pt x="385" y="37"/>
                    <a:pt x="385" y="37"/>
                  </a:cubicBezTo>
                  <a:lnTo>
                    <a:pt x="370" y="37"/>
                  </a:lnTo>
                  <a:close/>
                  <a:moveTo>
                    <a:pt x="436" y="1"/>
                  </a:moveTo>
                  <a:cubicBezTo>
                    <a:pt x="415" y="1"/>
                    <a:pt x="415" y="1"/>
                    <a:pt x="415" y="1"/>
                  </a:cubicBezTo>
                  <a:cubicBezTo>
                    <a:pt x="415" y="61"/>
                    <a:pt x="415" y="61"/>
                    <a:pt x="415" y="61"/>
                  </a:cubicBezTo>
                  <a:cubicBezTo>
                    <a:pt x="429" y="61"/>
                    <a:pt x="429" y="61"/>
                    <a:pt x="429" y="61"/>
                  </a:cubicBezTo>
                  <a:cubicBezTo>
                    <a:pt x="429" y="40"/>
                    <a:pt x="429" y="40"/>
                    <a:pt x="429" y="40"/>
                  </a:cubicBezTo>
                  <a:cubicBezTo>
                    <a:pt x="435" y="40"/>
                    <a:pt x="435" y="40"/>
                    <a:pt x="435" y="40"/>
                  </a:cubicBezTo>
                  <a:cubicBezTo>
                    <a:pt x="442" y="40"/>
                    <a:pt x="448" y="38"/>
                    <a:pt x="453" y="35"/>
                  </a:cubicBezTo>
                  <a:cubicBezTo>
                    <a:pt x="457" y="31"/>
                    <a:pt x="459" y="26"/>
                    <a:pt x="459" y="20"/>
                  </a:cubicBezTo>
                  <a:cubicBezTo>
                    <a:pt x="459" y="7"/>
                    <a:pt x="452" y="1"/>
                    <a:pt x="436" y="1"/>
                  </a:cubicBezTo>
                  <a:close/>
                  <a:moveTo>
                    <a:pt x="434" y="30"/>
                  </a:moveTo>
                  <a:cubicBezTo>
                    <a:pt x="429" y="30"/>
                    <a:pt x="429" y="30"/>
                    <a:pt x="429" y="30"/>
                  </a:cubicBezTo>
                  <a:cubicBezTo>
                    <a:pt x="429" y="11"/>
                    <a:pt x="429" y="11"/>
                    <a:pt x="429" y="11"/>
                  </a:cubicBezTo>
                  <a:cubicBezTo>
                    <a:pt x="434" y="11"/>
                    <a:pt x="434" y="11"/>
                    <a:pt x="434" y="11"/>
                  </a:cubicBezTo>
                  <a:cubicBezTo>
                    <a:pt x="441" y="11"/>
                    <a:pt x="445" y="14"/>
                    <a:pt x="445" y="20"/>
                  </a:cubicBezTo>
                  <a:cubicBezTo>
                    <a:pt x="445" y="27"/>
                    <a:pt x="441" y="30"/>
                    <a:pt x="434" y="30"/>
                  </a:cubicBezTo>
                  <a:close/>
                  <a:moveTo>
                    <a:pt x="489" y="1"/>
                  </a:moveTo>
                  <a:cubicBezTo>
                    <a:pt x="482" y="1"/>
                    <a:pt x="476" y="2"/>
                    <a:pt x="472" y="5"/>
                  </a:cubicBezTo>
                  <a:cubicBezTo>
                    <a:pt x="468" y="8"/>
                    <a:pt x="466" y="12"/>
                    <a:pt x="466" y="18"/>
                  </a:cubicBezTo>
                  <a:cubicBezTo>
                    <a:pt x="466" y="26"/>
                    <a:pt x="471" y="31"/>
                    <a:pt x="480" y="33"/>
                  </a:cubicBezTo>
                  <a:cubicBezTo>
                    <a:pt x="480" y="34"/>
                    <a:pt x="480" y="34"/>
                    <a:pt x="480" y="34"/>
                  </a:cubicBezTo>
                  <a:cubicBezTo>
                    <a:pt x="476" y="35"/>
                    <a:pt x="473" y="38"/>
                    <a:pt x="470" y="43"/>
                  </a:cubicBezTo>
                  <a:cubicBezTo>
                    <a:pt x="462" y="61"/>
                    <a:pt x="462" y="61"/>
                    <a:pt x="462" y="61"/>
                  </a:cubicBezTo>
                  <a:cubicBezTo>
                    <a:pt x="477" y="61"/>
                    <a:pt x="477" y="61"/>
                    <a:pt x="477" y="61"/>
                  </a:cubicBezTo>
                  <a:cubicBezTo>
                    <a:pt x="484" y="45"/>
                    <a:pt x="484" y="45"/>
                    <a:pt x="484" y="45"/>
                  </a:cubicBezTo>
                  <a:cubicBezTo>
                    <a:pt x="486" y="40"/>
                    <a:pt x="489" y="38"/>
                    <a:pt x="492" y="38"/>
                  </a:cubicBezTo>
                  <a:cubicBezTo>
                    <a:pt x="496" y="38"/>
                    <a:pt x="496" y="38"/>
                    <a:pt x="496" y="38"/>
                  </a:cubicBezTo>
                  <a:cubicBezTo>
                    <a:pt x="496" y="61"/>
                    <a:pt x="496" y="61"/>
                    <a:pt x="496" y="61"/>
                  </a:cubicBezTo>
                  <a:cubicBezTo>
                    <a:pt x="510" y="61"/>
                    <a:pt x="510" y="61"/>
                    <a:pt x="510" y="61"/>
                  </a:cubicBezTo>
                  <a:cubicBezTo>
                    <a:pt x="510" y="1"/>
                    <a:pt x="510" y="1"/>
                    <a:pt x="510" y="1"/>
                  </a:cubicBezTo>
                  <a:lnTo>
                    <a:pt x="489" y="1"/>
                  </a:lnTo>
                  <a:close/>
                  <a:moveTo>
                    <a:pt x="496" y="27"/>
                  </a:moveTo>
                  <a:cubicBezTo>
                    <a:pt x="490" y="27"/>
                    <a:pt x="490" y="27"/>
                    <a:pt x="490" y="27"/>
                  </a:cubicBezTo>
                  <a:cubicBezTo>
                    <a:pt x="487" y="27"/>
                    <a:pt x="485" y="27"/>
                    <a:pt x="483" y="25"/>
                  </a:cubicBezTo>
                  <a:cubicBezTo>
                    <a:pt x="482" y="24"/>
                    <a:pt x="481" y="21"/>
                    <a:pt x="481" y="19"/>
                  </a:cubicBezTo>
                  <a:cubicBezTo>
                    <a:pt x="481" y="14"/>
                    <a:pt x="484" y="11"/>
                    <a:pt x="490" y="11"/>
                  </a:cubicBezTo>
                  <a:cubicBezTo>
                    <a:pt x="496" y="11"/>
                    <a:pt x="496" y="11"/>
                    <a:pt x="496" y="11"/>
                  </a:cubicBezTo>
                  <a:lnTo>
                    <a:pt x="496" y="27"/>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31" name="Freeform 242">
              <a:extLst>
                <a:ext uri="{FF2B5EF4-FFF2-40B4-BE49-F238E27FC236}">
                  <a16:creationId xmlns:a16="http://schemas.microsoft.com/office/drawing/2014/main" id="{0D514532-FFBF-1015-C5DE-A5517F566E2E}"/>
                </a:ext>
                <a:ext uri="{C183D7F6-B498-43B3-948B-1728B52AA6E4}">
                  <adec:decorative xmlns:adec="http://schemas.microsoft.com/office/drawing/2017/decorative" val="1"/>
                </a:ext>
              </a:extLst>
            </p:cNvPr>
            <p:cNvSpPr>
              <a:spLocks noEditPoints="1"/>
            </p:cNvSpPr>
            <p:nvPr/>
          </p:nvSpPr>
          <p:spPr bwMode="auto">
            <a:xfrm rot="16200000">
              <a:off x="10129465" y="3804099"/>
              <a:ext cx="319703" cy="1203703"/>
            </a:xfrm>
            <a:custGeom>
              <a:avLst/>
              <a:gdLst>
                <a:gd name="T0" fmla="*/ 21 w 70"/>
                <a:gd name="T1" fmla="*/ 4 h 264"/>
                <a:gd name="T2" fmla="*/ 0 w 70"/>
                <a:gd name="T3" fmla="*/ 0 h 264"/>
                <a:gd name="T4" fmla="*/ 15 w 70"/>
                <a:gd name="T5" fmla="*/ 6 h 264"/>
                <a:gd name="T6" fmla="*/ 0 w 70"/>
                <a:gd name="T7" fmla="*/ 45 h 264"/>
                <a:gd name="T8" fmla="*/ 21 w 70"/>
                <a:gd name="T9" fmla="*/ 51 h 264"/>
                <a:gd name="T10" fmla="*/ 70 w 70"/>
                <a:gd name="T11" fmla="*/ 43 h 264"/>
                <a:gd name="T12" fmla="*/ 44 w 70"/>
                <a:gd name="T13" fmla="*/ 13 h 264"/>
                <a:gd name="T14" fmla="*/ 21 w 70"/>
                <a:gd name="T15" fmla="*/ 37 h 264"/>
                <a:gd name="T16" fmla="*/ 42 w 70"/>
                <a:gd name="T17" fmla="*/ 19 h 264"/>
                <a:gd name="T18" fmla="*/ 64 w 70"/>
                <a:gd name="T19" fmla="*/ 37 h 264"/>
                <a:gd name="T20" fmla="*/ 54 w 70"/>
                <a:gd name="T21" fmla="*/ 59 h 264"/>
                <a:gd name="T22" fmla="*/ 40 w 70"/>
                <a:gd name="T23" fmla="*/ 70 h 264"/>
                <a:gd name="T24" fmla="*/ 37 w 70"/>
                <a:gd name="T25" fmla="*/ 66 h 264"/>
                <a:gd name="T26" fmla="*/ 15 w 70"/>
                <a:gd name="T27" fmla="*/ 55 h 264"/>
                <a:gd name="T28" fmla="*/ 31 w 70"/>
                <a:gd name="T29" fmla="*/ 70 h 264"/>
                <a:gd name="T30" fmla="*/ 38 w 70"/>
                <a:gd name="T31" fmla="*/ 78 h 264"/>
                <a:gd name="T32" fmla="*/ 15 w 70"/>
                <a:gd name="T33" fmla="*/ 86 h 264"/>
                <a:gd name="T34" fmla="*/ 70 w 70"/>
                <a:gd name="T35" fmla="*/ 92 h 264"/>
                <a:gd name="T36" fmla="*/ 65 w 70"/>
                <a:gd name="T37" fmla="*/ 63 h 264"/>
                <a:gd name="T38" fmla="*/ 44 w 70"/>
                <a:gd name="T39" fmla="*/ 86 h 264"/>
                <a:gd name="T40" fmla="*/ 47 w 70"/>
                <a:gd name="T41" fmla="*/ 68 h 264"/>
                <a:gd name="T42" fmla="*/ 61 w 70"/>
                <a:gd name="T43" fmla="*/ 68 h 264"/>
                <a:gd name="T44" fmla="*/ 64 w 70"/>
                <a:gd name="T45" fmla="*/ 86 h 264"/>
                <a:gd name="T46" fmla="*/ 15 w 70"/>
                <a:gd name="T47" fmla="*/ 135 h 264"/>
                <a:gd name="T48" fmla="*/ 42 w 70"/>
                <a:gd name="T49" fmla="*/ 113 h 264"/>
                <a:gd name="T50" fmla="*/ 15 w 70"/>
                <a:gd name="T51" fmla="*/ 113 h 264"/>
                <a:gd name="T52" fmla="*/ 70 w 70"/>
                <a:gd name="T53" fmla="*/ 106 h 264"/>
                <a:gd name="T54" fmla="*/ 44 w 70"/>
                <a:gd name="T55" fmla="*/ 113 h 264"/>
                <a:gd name="T56" fmla="*/ 46 w 70"/>
                <a:gd name="T57" fmla="*/ 114 h 264"/>
                <a:gd name="T58" fmla="*/ 70 w 70"/>
                <a:gd name="T59" fmla="*/ 143 h 264"/>
                <a:gd name="T60" fmla="*/ 15 w 70"/>
                <a:gd name="T61" fmla="*/ 144 h 264"/>
                <a:gd name="T62" fmla="*/ 31 w 70"/>
                <a:gd name="T63" fmla="*/ 172 h 264"/>
                <a:gd name="T64" fmla="*/ 14 w 70"/>
                <a:gd name="T65" fmla="*/ 154 h 264"/>
                <a:gd name="T66" fmla="*/ 22 w 70"/>
                <a:gd name="T67" fmla="*/ 147 h 264"/>
                <a:gd name="T68" fmla="*/ 22 w 70"/>
                <a:gd name="T69" fmla="*/ 159 h 264"/>
                <a:gd name="T70" fmla="*/ 70 w 70"/>
                <a:gd name="T71" fmla="*/ 147 h 264"/>
                <a:gd name="T72" fmla="*/ 40 w 70"/>
                <a:gd name="T73" fmla="*/ 167 h 264"/>
                <a:gd name="T74" fmla="*/ 37 w 70"/>
                <a:gd name="T75" fmla="*/ 168 h 264"/>
                <a:gd name="T76" fmla="*/ 70 w 70"/>
                <a:gd name="T77" fmla="*/ 182 h 264"/>
                <a:gd name="T78" fmla="*/ 64 w 70"/>
                <a:gd name="T79" fmla="*/ 223 h 264"/>
                <a:gd name="T80" fmla="*/ 46 w 70"/>
                <a:gd name="T81" fmla="*/ 202 h 264"/>
                <a:gd name="T82" fmla="*/ 70 w 70"/>
                <a:gd name="T83" fmla="*/ 196 h 264"/>
                <a:gd name="T84" fmla="*/ 15 w 70"/>
                <a:gd name="T85" fmla="*/ 202 h 264"/>
                <a:gd name="T86" fmla="*/ 40 w 70"/>
                <a:gd name="T87" fmla="*/ 215 h 264"/>
                <a:gd name="T88" fmla="*/ 14 w 70"/>
                <a:gd name="T89" fmla="*/ 239 h 264"/>
                <a:gd name="T90" fmla="*/ 43 w 70"/>
                <a:gd name="T91" fmla="*/ 264 h 264"/>
                <a:gd name="T92" fmla="*/ 70 w 70"/>
                <a:gd name="T93" fmla="*/ 240 h 264"/>
                <a:gd name="T94" fmla="*/ 59 w 70"/>
                <a:gd name="T95" fmla="*/ 253 h 264"/>
                <a:gd name="T96" fmla="*/ 26 w 70"/>
                <a:gd name="T97" fmla="*/ 253 h 264"/>
                <a:gd name="T98" fmla="*/ 26 w 70"/>
                <a:gd name="T99" fmla="*/ 226 h 264"/>
                <a:gd name="T100" fmla="*/ 59 w 70"/>
                <a:gd name="T101" fmla="*/ 226 h 264"/>
                <a:gd name="T102" fmla="*/ 59 w 70"/>
                <a:gd name="T103" fmla="*/ 25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264">
                  <a:moveTo>
                    <a:pt x="44" y="13"/>
                  </a:moveTo>
                  <a:cubicBezTo>
                    <a:pt x="35" y="11"/>
                    <a:pt x="27" y="8"/>
                    <a:pt x="21" y="4"/>
                  </a:cubicBezTo>
                  <a:cubicBezTo>
                    <a:pt x="21" y="0"/>
                    <a:pt x="21" y="0"/>
                    <a:pt x="21" y="0"/>
                  </a:cubicBezTo>
                  <a:cubicBezTo>
                    <a:pt x="0" y="0"/>
                    <a:pt x="0" y="0"/>
                    <a:pt x="0" y="0"/>
                  </a:cubicBezTo>
                  <a:cubicBezTo>
                    <a:pt x="0" y="6"/>
                    <a:pt x="0" y="6"/>
                    <a:pt x="0" y="6"/>
                  </a:cubicBezTo>
                  <a:cubicBezTo>
                    <a:pt x="15" y="6"/>
                    <a:pt x="15" y="6"/>
                    <a:pt x="15" y="6"/>
                  </a:cubicBezTo>
                  <a:cubicBezTo>
                    <a:pt x="15" y="45"/>
                    <a:pt x="15" y="45"/>
                    <a:pt x="15" y="45"/>
                  </a:cubicBezTo>
                  <a:cubicBezTo>
                    <a:pt x="0" y="45"/>
                    <a:pt x="0" y="45"/>
                    <a:pt x="0" y="45"/>
                  </a:cubicBezTo>
                  <a:cubicBezTo>
                    <a:pt x="0" y="51"/>
                    <a:pt x="0" y="51"/>
                    <a:pt x="0" y="51"/>
                  </a:cubicBezTo>
                  <a:cubicBezTo>
                    <a:pt x="21" y="51"/>
                    <a:pt x="21" y="51"/>
                    <a:pt x="21" y="51"/>
                  </a:cubicBezTo>
                  <a:cubicBezTo>
                    <a:pt x="21" y="43"/>
                    <a:pt x="21" y="43"/>
                    <a:pt x="21" y="43"/>
                  </a:cubicBezTo>
                  <a:cubicBezTo>
                    <a:pt x="70" y="43"/>
                    <a:pt x="70" y="43"/>
                    <a:pt x="70" y="43"/>
                  </a:cubicBezTo>
                  <a:cubicBezTo>
                    <a:pt x="70" y="18"/>
                    <a:pt x="70" y="18"/>
                    <a:pt x="70" y="18"/>
                  </a:cubicBezTo>
                  <a:cubicBezTo>
                    <a:pt x="62" y="17"/>
                    <a:pt x="53" y="16"/>
                    <a:pt x="44" y="13"/>
                  </a:cubicBezTo>
                  <a:close/>
                  <a:moveTo>
                    <a:pt x="64" y="37"/>
                  </a:moveTo>
                  <a:cubicBezTo>
                    <a:pt x="21" y="37"/>
                    <a:pt x="21" y="37"/>
                    <a:pt x="21" y="37"/>
                  </a:cubicBezTo>
                  <a:cubicBezTo>
                    <a:pt x="21" y="11"/>
                    <a:pt x="21" y="11"/>
                    <a:pt x="21" y="11"/>
                  </a:cubicBezTo>
                  <a:cubicBezTo>
                    <a:pt x="26" y="14"/>
                    <a:pt x="33" y="16"/>
                    <a:pt x="42" y="19"/>
                  </a:cubicBezTo>
                  <a:cubicBezTo>
                    <a:pt x="50" y="21"/>
                    <a:pt x="57" y="23"/>
                    <a:pt x="64" y="23"/>
                  </a:cubicBezTo>
                  <a:lnTo>
                    <a:pt x="64" y="37"/>
                  </a:lnTo>
                  <a:close/>
                  <a:moveTo>
                    <a:pt x="65" y="63"/>
                  </a:moveTo>
                  <a:cubicBezTo>
                    <a:pt x="63" y="60"/>
                    <a:pt x="59" y="59"/>
                    <a:pt x="54" y="59"/>
                  </a:cubicBezTo>
                  <a:cubicBezTo>
                    <a:pt x="51" y="59"/>
                    <a:pt x="47" y="60"/>
                    <a:pt x="45" y="62"/>
                  </a:cubicBezTo>
                  <a:cubicBezTo>
                    <a:pt x="42" y="64"/>
                    <a:pt x="41" y="66"/>
                    <a:pt x="40" y="70"/>
                  </a:cubicBezTo>
                  <a:cubicBezTo>
                    <a:pt x="40" y="70"/>
                    <a:pt x="40" y="70"/>
                    <a:pt x="40" y="70"/>
                  </a:cubicBezTo>
                  <a:cubicBezTo>
                    <a:pt x="39" y="69"/>
                    <a:pt x="38" y="67"/>
                    <a:pt x="37" y="66"/>
                  </a:cubicBezTo>
                  <a:cubicBezTo>
                    <a:pt x="36" y="65"/>
                    <a:pt x="34" y="64"/>
                    <a:pt x="33" y="64"/>
                  </a:cubicBezTo>
                  <a:cubicBezTo>
                    <a:pt x="15" y="55"/>
                    <a:pt x="15" y="55"/>
                    <a:pt x="15" y="55"/>
                  </a:cubicBezTo>
                  <a:cubicBezTo>
                    <a:pt x="15" y="63"/>
                    <a:pt x="15" y="63"/>
                    <a:pt x="15" y="63"/>
                  </a:cubicBezTo>
                  <a:cubicBezTo>
                    <a:pt x="31" y="70"/>
                    <a:pt x="31" y="70"/>
                    <a:pt x="31" y="70"/>
                  </a:cubicBezTo>
                  <a:cubicBezTo>
                    <a:pt x="34" y="71"/>
                    <a:pt x="36" y="72"/>
                    <a:pt x="37" y="74"/>
                  </a:cubicBezTo>
                  <a:cubicBezTo>
                    <a:pt x="38" y="75"/>
                    <a:pt x="38" y="76"/>
                    <a:pt x="38" y="78"/>
                  </a:cubicBezTo>
                  <a:cubicBezTo>
                    <a:pt x="38" y="86"/>
                    <a:pt x="38" y="86"/>
                    <a:pt x="38" y="86"/>
                  </a:cubicBezTo>
                  <a:cubicBezTo>
                    <a:pt x="15" y="86"/>
                    <a:pt x="15" y="86"/>
                    <a:pt x="15" y="86"/>
                  </a:cubicBezTo>
                  <a:cubicBezTo>
                    <a:pt x="15" y="92"/>
                    <a:pt x="15" y="92"/>
                    <a:pt x="15" y="92"/>
                  </a:cubicBezTo>
                  <a:cubicBezTo>
                    <a:pt x="70" y="92"/>
                    <a:pt x="70" y="92"/>
                    <a:pt x="70" y="92"/>
                  </a:cubicBezTo>
                  <a:cubicBezTo>
                    <a:pt x="70" y="76"/>
                    <a:pt x="70" y="76"/>
                    <a:pt x="70" y="76"/>
                  </a:cubicBezTo>
                  <a:cubicBezTo>
                    <a:pt x="70" y="71"/>
                    <a:pt x="68" y="67"/>
                    <a:pt x="65" y="63"/>
                  </a:cubicBezTo>
                  <a:close/>
                  <a:moveTo>
                    <a:pt x="64" y="86"/>
                  </a:moveTo>
                  <a:cubicBezTo>
                    <a:pt x="44" y="86"/>
                    <a:pt x="44" y="86"/>
                    <a:pt x="44" y="86"/>
                  </a:cubicBezTo>
                  <a:cubicBezTo>
                    <a:pt x="44" y="77"/>
                    <a:pt x="44" y="77"/>
                    <a:pt x="44" y="77"/>
                  </a:cubicBezTo>
                  <a:cubicBezTo>
                    <a:pt x="44" y="73"/>
                    <a:pt x="45" y="70"/>
                    <a:pt x="47" y="68"/>
                  </a:cubicBezTo>
                  <a:cubicBezTo>
                    <a:pt x="48" y="66"/>
                    <a:pt x="51" y="65"/>
                    <a:pt x="54" y="65"/>
                  </a:cubicBezTo>
                  <a:cubicBezTo>
                    <a:pt x="57" y="65"/>
                    <a:pt x="59" y="66"/>
                    <a:pt x="61" y="68"/>
                  </a:cubicBezTo>
                  <a:cubicBezTo>
                    <a:pt x="63" y="70"/>
                    <a:pt x="64" y="73"/>
                    <a:pt x="64" y="77"/>
                  </a:cubicBezTo>
                  <a:lnTo>
                    <a:pt x="64" y="86"/>
                  </a:lnTo>
                  <a:close/>
                  <a:moveTo>
                    <a:pt x="15" y="144"/>
                  </a:moveTo>
                  <a:cubicBezTo>
                    <a:pt x="15" y="135"/>
                    <a:pt x="15" y="135"/>
                    <a:pt x="15" y="135"/>
                  </a:cubicBezTo>
                  <a:cubicBezTo>
                    <a:pt x="40" y="114"/>
                    <a:pt x="40" y="114"/>
                    <a:pt x="40" y="114"/>
                  </a:cubicBezTo>
                  <a:cubicBezTo>
                    <a:pt x="41" y="114"/>
                    <a:pt x="42" y="113"/>
                    <a:pt x="42" y="113"/>
                  </a:cubicBezTo>
                  <a:cubicBezTo>
                    <a:pt x="42" y="113"/>
                    <a:pt x="42" y="113"/>
                    <a:pt x="42" y="113"/>
                  </a:cubicBezTo>
                  <a:cubicBezTo>
                    <a:pt x="15" y="113"/>
                    <a:pt x="15" y="113"/>
                    <a:pt x="15" y="113"/>
                  </a:cubicBezTo>
                  <a:cubicBezTo>
                    <a:pt x="15" y="106"/>
                    <a:pt x="15" y="106"/>
                    <a:pt x="15" y="106"/>
                  </a:cubicBezTo>
                  <a:cubicBezTo>
                    <a:pt x="70" y="106"/>
                    <a:pt x="70" y="106"/>
                    <a:pt x="70" y="106"/>
                  </a:cubicBezTo>
                  <a:cubicBezTo>
                    <a:pt x="70" y="113"/>
                    <a:pt x="70" y="113"/>
                    <a:pt x="70" y="113"/>
                  </a:cubicBezTo>
                  <a:cubicBezTo>
                    <a:pt x="44" y="113"/>
                    <a:pt x="44" y="113"/>
                    <a:pt x="44" y="113"/>
                  </a:cubicBezTo>
                  <a:cubicBezTo>
                    <a:pt x="44" y="113"/>
                    <a:pt x="44" y="113"/>
                    <a:pt x="44" y="113"/>
                  </a:cubicBezTo>
                  <a:cubicBezTo>
                    <a:pt x="44" y="113"/>
                    <a:pt x="45" y="114"/>
                    <a:pt x="46" y="114"/>
                  </a:cubicBezTo>
                  <a:cubicBezTo>
                    <a:pt x="70" y="135"/>
                    <a:pt x="70" y="135"/>
                    <a:pt x="70" y="135"/>
                  </a:cubicBezTo>
                  <a:cubicBezTo>
                    <a:pt x="70" y="143"/>
                    <a:pt x="70" y="143"/>
                    <a:pt x="70" y="143"/>
                  </a:cubicBezTo>
                  <a:cubicBezTo>
                    <a:pt x="43" y="119"/>
                    <a:pt x="43" y="119"/>
                    <a:pt x="43" y="119"/>
                  </a:cubicBezTo>
                  <a:lnTo>
                    <a:pt x="15" y="144"/>
                  </a:lnTo>
                  <a:close/>
                  <a:moveTo>
                    <a:pt x="70" y="189"/>
                  </a:moveTo>
                  <a:cubicBezTo>
                    <a:pt x="31" y="172"/>
                    <a:pt x="31" y="172"/>
                    <a:pt x="31" y="172"/>
                  </a:cubicBezTo>
                  <a:cubicBezTo>
                    <a:pt x="25" y="169"/>
                    <a:pt x="20" y="166"/>
                    <a:pt x="18" y="163"/>
                  </a:cubicBezTo>
                  <a:cubicBezTo>
                    <a:pt x="15" y="161"/>
                    <a:pt x="14" y="158"/>
                    <a:pt x="14" y="154"/>
                  </a:cubicBezTo>
                  <a:cubicBezTo>
                    <a:pt x="14" y="152"/>
                    <a:pt x="14" y="149"/>
                    <a:pt x="15" y="147"/>
                  </a:cubicBezTo>
                  <a:cubicBezTo>
                    <a:pt x="22" y="147"/>
                    <a:pt x="22" y="147"/>
                    <a:pt x="22" y="147"/>
                  </a:cubicBezTo>
                  <a:cubicBezTo>
                    <a:pt x="20" y="150"/>
                    <a:pt x="20" y="152"/>
                    <a:pt x="20" y="154"/>
                  </a:cubicBezTo>
                  <a:cubicBezTo>
                    <a:pt x="20" y="156"/>
                    <a:pt x="21" y="158"/>
                    <a:pt x="22" y="159"/>
                  </a:cubicBezTo>
                  <a:cubicBezTo>
                    <a:pt x="24" y="161"/>
                    <a:pt x="27" y="163"/>
                    <a:pt x="31" y="165"/>
                  </a:cubicBezTo>
                  <a:cubicBezTo>
                    <a:pt x="70" y="147"/>
                    <a:pt x="70" y="147"/>
                    <a:pt x="70" y="147"/>
                  </a:cubicBezTo>
                  <a:cubicBezTo>
                    <a:pt x="70" y="154"/>
                    <a:pt x="70" y="154"/>
                    <a:pt x="70" y="154"/>
                  </a:cubicBezTo>
                  <a:cubicBezTo>
                    <a:pt x="40" y="167"/>
                    <a:pt x="40" y="167"/>
                    <a:pt x="40" y="167"/>
                  </a:cubicBezTo>
                  <a:cubicBezTo>
                    <a:pt x="40" y="167"/>
                    <a:pt x="39" y="168"/>
                    <a:pt x="37" y="168"/>
                  </a:cubicBezTo>
                  <a:cubicBezTo>
                    <a:pt x="37" y="168"/>
                    <a:pt x="37" y="168"/>
                    <a:pt x="37" y="168"/>
                  </a:cubicBezTo>
                  <a:cubicBezTo>
                    <a:pt x="37" y="168"/>
                    <a:pt x="38" y="169"/>
                    <a:pt x="41" y="170"/>
                  </a:cubicBezTo>
                  <a:cubicBezTo>
                    <a:pt x="70" y="182"/>
                    <a:pt x="70" y="182"/>
                    <a:pt x="70" y="182"/>
                  </a:cubicBezTo>
                  <a:lnTo>
                    <a:pt x="70" y="189"/>
                  </a:lnTo>
                  <a:close/>
                  <a:moveTo>
                    <a:pt x="64" y="223"/>
                  </a:moveTo>
                  <a:cubicBezTo>
                    <a:pt x="60" y="218"/>
                    <a:pt x="54" y="216"/>
                    <a:pt x="46" y="215"/>
                  </a:cubicBezTo>
                  <a:cubicBezTo>
                    <a:pt x="46" y="202"/>
                    <a:pt x="46" y="202"/>
                    <a:pt x="46" y="202"/>
                  </a:cubicBezTo>
                  <a:cubicBezTo>
                    <a:pt x="70" y="202"/>
                    <a:pt x="70" y="202"/>
                    <a:pt x="70" y="202"/>
                  </a:cubicBezTo>
                  <a:cubicBezTo>
                    <a:pt x="70" y="196"/>
                    <a:pt x="70" y="196"/>
                    <a:pt x="70" y="196"/>
                  </a:cubicBezTo>
                  <a:cubicBezTo>
                    <a:pt x="15" y="196"/>
                    <a:pt x="15" y="196"/>
                    <a:pt x="15" y="196"/>
                  </a:cubicBezTo>
                  <a:cubicBezTo>
                    <a:pt x="15" y="202"/>
                    <a:pt x="15" y="202"/>
                    <a:pt x="15" y="202"/>
                  </a:cubicBezTo>
                  <a:cubicBezTo>
                    <a:pt x="40" y="202"/>
                    <a:pt x="40" y="202"/>
                    <a:pt x="40" y="202"/>
                  </a:cubicBezTo>
                  <a:cubicBezTo>
                    <a:pt x="40" y="215"/>
                    <a:pt x="40" y="215"/>
                    <a:pt x="40" y="215"/>
                  </a:cubicBezTo>
                  <a:cubicBezTo>
                    <a:pt x="33" y="215"/>
                    <a:pt x="26" y="217"/>
                    <a:pt x="21" y="222"/>
                  </a:cubicBezTo>
                  <a:cubicBezTo>
                    <a:pt x="17" y="226"/>
                    <a:pt x="14" y="232"/>
                    <a:pt x="14" y="239"/>
                  </a:cubicBezTo>
                  <a:cubicBezTo>
                    <a:pt x="14" y="247"/>
                    <a:pt x="17" y="253"/>
                    <a:pt x="22" y="257"/>
                  </a:cubicBezTo>
                  <a:cubicBezTo>
                    <a:pt x="27" y="262"/>
                    <a:pt x="34" y="264"/>
                    <a:pt x="43" y="264"/>
                  </a:cubicBezTo>
                  <a:cubicBezTo>
                    <a:pt x="51" y="264"/>
                    <a:pt x="58" y="262"/>
                    <a:pt x="63" y="258"/>
                  </a:cubicBezTo>
                  <a:cubicBezTo>
                    <a:pt x="68" y="253"/>
                    <a:pt x="70" y="247"/>
                    <a:pt x="70" y="240"/>
                  </a:cubicBezTo>
                  <a:cubicBezTo>
                    <a:pt x="70" y="233"/>
                    <a:pt x="68" y="227"/>
                    <a:pt x="64" y="223"/>
                  </a:cubicBezTo>
                  <a:close/>
                  <a:moveTo>
                    <a:pt x="59" y="253"/>
                  </a:moveTo>
                  <a:cubicBezTo>
                    <a:pt x="55" y="256"/>
                    <a:pt x="49" y="257"/>
                    <a:pt x="42" y="257"/>
                  </a:cubicBezTo>
                  <a:cubicBezTo>
                    <a:pt x="35" y="257"/>
                    <a:pt x="30" y="256"/>
                    <a:pt x="26" y="253"/>
                  </a:cubicBezTo>
                  <a:cubicBezTo>
                    <a:pt x="22" y="249"/>
                    <a:pt x="20" y="245"/>
                    <a:pt x="20" y="239"/>
                  </a:cubicBezTo>
                  <a:cubicBezTo>
                    <a:pt x="20" y="233"/>
                    <a:pt x="22" y="229"/>
                    <a:pt x="26" y="226"/>
                  </a:cubicBezTo>
                  <a:cubicBezTo>
                    <a:pt x="30" y="223"/>
                    <a:pt x="35" y="221"/>
                    <a:pt x="42" y="221"/>
                  </a:cubicBezTo>
                  <a:cubicBezTo>
                    <a:pt x="49" y="221"/>
                    <a:pt x="55" y="223"/>
                    <a:pt x="59" y="226"/>
                  </a:cubicBezTo>
                  <a:cubicBezTo>
                    <a:pt x="63" y="229"/>
                    <a:pt x="65" y="234"/>
                    <a:pt x="65" y="240"/>
                  </a:cubicBezTo>
                  <a:cubicBezTo>
                    <a:pt x="65" y="245"/>
                    <a:pt x="63" y="250"/>
                    <a:pt x="59" y="253"/>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2" name="Freeform 243">
              <a:extLst>
                <a:ext uri="{FF2B5EF4-FFF2-40B4-BE49-F238E27FC236}">
                  <a16:creationId xmlns:a16="http://schemas.microsoft.com/office/drawing/2014/main" id="{45E14718-0ECC-E921-8107-6DDAED7FFBEE}"/>
                </a:ext>
                <a:ext uri="{C183D7F6-B498-43B3-948B-1728B52AA6E4}">
                  <adec:decorative xmlns:adec="http://schemas.microsoft.com/office/drawing/2017/decorative" val="1"/>
                </a:ext>
              </a:extLst>
            </p:cNvPr>
            <p:cNvSpPr>
              <a:spLocks noEditPoints="1"/>
            </p:cNvSpPr>
            <p:nvPr/>
          </p:nvSpPr>
          <p:spPr bwMode="auto">
            <a:xfrm>
              <a:off x="1989316" y="3715352"/>
              <a:ext cx="1077609" cy="222200"/>
            </a:xfrm>
            <a:custGeom>
              <a:avLst/>
              <a:gdLst>
                <a:gd name="T0" fmla="*/ 0 w 355"/>
                <a:gd name="T1" fmla="*/ 56 h 73"/>
                <a:gd name="T2" fmla="*/ 50 w 355"/>
                <a:gd name="T3" fmla="*/ 27 h 73"/>
                <a:gd name="T4" fmla="*/ 19 w 355"/>
                <a:gd name="T5" fmla="*/ 46 h 73"/>
                <a:gd name="T6" fmla="*/ 19 w 355"/>
                <a:gd name="T7" fmla="*/ 10 h 73"/>
                <a:gd name="T8" fmla="*/ 32 w 355"/>
                <a:gd name="T9" fmla="*/ 41 h 73"/>
                <a:gd name="T10" fmla="*/ 53 w 355"/>
                <a:gd name="T11" fmla="*/ 49 h 73"/>
                <a:gd name="T12" fmla="*/ 55 w 355"/>
                <a:gd name="T13" fmla="*/ 0 h 73"/>
                <a:gd name="T14" fmla="*/ 70 w 355"/>
                <a:gd name="T15" fmla="*/ 46 h 73"/>
                <a:gd name="T16" fmla="*/ 120 w 355"/>
                <a:gd name="T17" fmla="*/ 56 h 73"/>
                <a:gd name="T18" fmla="*/ 120 w 355"/>
                <a:gd name="T19" fmla="*/ 0 h 73"/>
                <a:gd name="T20" fmla="*/ 133 w 355"/>
                <a:gd name="T21" fmla="*/ 56 h 73"/>
                <a:gd name="T22" fmla="*/ 165 w 355"/>
                <a:gd name="T23" fmla="*/ 10 h 73"/>
                <a:gd name="T24" fmla="*/ 164 w 355"/>
                <a:gd name="T25" fmla="*/ 23 h 73"/>
                <a:gd name="T26" fmla="*/ 145 w 355"/>
                <a:gd name="T27" fmla="*/ 46 h 73"/>
                <a:gd name="T28" fmla="*/ 162 w 355"/>
                <a:gd name="T29" fmla="*/ 72 h 73"/>
                <a:gd name="T30" fmla="*/ 152 w 355"/>
                <a:gd name="T31" fmla="*/ 71 h 73"/>
                <a:gd name="T32" fmla="*/ 152 w 355"/>
                <a:gd name="T33" fmla="*/ 61 h 73"/>
                <a:gd name="T34" fmla="*/ 163 w 355"/>
                <a:gd name="T35" fmla="*/ 56 h 73"/>
                <a:gd name="T36" fmla="*/ 157 w 355"/>
                <a:gd name="T37" fmla="*/ 67 h 73"/>
                <a:gd name="T38" fmla="*/ 162 w 355"/>
                <a:gd name="T39" fmla="*/ 67 h 73"/>
                <a:gd name="T40" fmla="*/ 206 w 355"/>
                <a:gd name="T41" fmla="*/ 56 h 73"/>
                <a:gd name="T42" fmla="*/ 188 w 355"/>
                <a:gd name="T43" fmla="*/ 29 h 73"/>
                <a:gd name="T44" fmla="*/ 176 w 355"/>
                <a:gd name="T45" fmla="*/ 0 h 73"/>
                <a:gd name="T46" fmla="*/ 189 w 355"/>
                <a:gd name="T47" fmla="*/ 27 h 73"/>
                <a:gd name="T48" fmla="*/ 221 w 355"/>
                <a:gd name="T49" fmla="*/ 0 h 73"/>
                <a:gd name="T50" fmla="*/ 274 w 355"/>
                <a:gd name="T51" fmla="*/ 32 h 73"/>
                <a:gd name="T52" fmla="*/ 227 w 355"/>
                <a:gd name="T53" fmla="*/ 0 h 73"/>
                <a:gd name="T54" fmla="*/ 251 w 355"/>
                <a:gd name="T55" fmla="*/ 46 h 73"/>
                <a:gd name="T56" fmla="*/ 274 w 355"/>
                <a:gd name="T57" fmla="*/ 0 h 73"/>
                <a:gd name="T58" fmla="*/ 303 w 355"/>
                <a:gd name="T59" fmla="*/ 51 h 73"/>
                <a:gd name="T60" fmla="*/ 280 w 355"/>
                <a:gd name="T61" fmla="*/ 44 h 73"/>
                <a:gd name="T62" fmla="*/ 296 w 355"/>
                <a:gd name="T63" fmla="*/ 0 h 73"/>
                <a:gd name="T64" fmla="*/ 355 w 355"/>
                <a:gd name="T65" fmla="*/ 56 h 73"/>
                <a:gd name="T66" fmla="*/ 354 w 355"/>
                <a:gd name="T67" fmla="*/ 0 h 73"/>
                <a:gd name="T68" fmla="*/ 334 w 355"/>
                <a:gd name="T69" fmla="*/ 23 h 73"/>
                <a:gd name="T70" fmla="*/ 334 w 355"/>
                <a:gd name="T71" fmla="*/ 33 h 73"/>
                <a:gd name="T72" fmla="*/ 355 w 355"/>
                <a:gd name="T73" fmla="*/ 56 h 73"/>
                <a:gd name="T74" fmla="*/ 346 w 355"/>
                <a:gd name="T75" fmla="*/ 73 h 73"/>
                <a:gd name="T76" fmla="*/ 339 w 355"/>
                <a:gd name="T77" fmla="*/ 64 h 73"/>
                <a:gd name="T78" fmla="*/ 345 w 355"/>
                <a:gd name="T79" fmla="*/ 56 h 73"/>
                <a:gd name="T80" fmla="*/ 345 w 355"/>
                <a:gd name="T81" fmla="*/ 65 h 73"/>
                <a:gd name="T82" fmla="*/ 349 w 355"/>
                <a:gd name="T83"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 h="73">
                  <a:moveTo>
                    <a:pt x="20" y="0"/>
                  </a:moveTo>
                  <a:cubicBezTo>
                    <a:pt x="0" y="0"/>
                    <a:pt x="0" y="0"/>
                    <a:pt x="0" y="0"/>
                  </a:cubicBezTo>
                  <a:cubicBezTo>
                    <a:pt x="0" y="56"/>
                    <a:pt x="0" y="56"/>
                    <a:pt x="0" y="56"/>
                  </a:cubicBezTo>
                  <a:cubicBezTo>
                    <a:pt x="20" y="56"/>
                    <a:pt x="20" y="56"/>
                    <a:pt x="20" y="56"/>
                  </a:cubicBezTo>
                  <a:cubicBezTo>
                    <a:pt x="29" y="56"/>
                    <a:pt x="36" y="54"/>
                    <a:pt x="42" y="48"/>
                  </a:cubicBezTo>
                  <a:cubicBezTo>
                    <a:pt x="47" y="43"/>
                    <a:pt x="50" y="36"/>
                    <a:pt x="50" y="27"/>
                  </a:cubicBezTo>
                  <a:cubicBezTo>
                    <a:pt x="50" y="9"/>
                    <a:pt x="40" y="0"/>
                    <a:pt x="20" y="0"/>
                  </a:cubicBezTo>
                  <a:close/>
                  <a:moveTo>
                    <a:pt x="32" y="41"/>
                  </a:moveTo>
                  <a:cubicBezTo>
                    <a:pt x="29" y="44"/>
                    <a:pt x="25" y="46"/>
                    <a:pt x="19" y="46"/>
                  </a:cubicBezTo>
                  <a:cubicBezTo>
                    <a:pt x="13" y="46"/>
                    <a:pt x="13" y="46"/>
                    <a:pt x="13" y="46"/>
                  </a:cubicBezTo>
                  <a:cubicBezTo>
                    <a:pt x="13" y="10"/>
                    <a:pt x="13" y="10"/>
                    <a:pt x="13" y="10"/>
                  </a:cubicBezTo>
                  <a:cubicBezTo>
                    <a:pt x="19" y="10"/>
                    <a:pt x="19" y="10"/>
                    <a:pt x="19" y="10"/>
                  </a:cubicBezTo>
                  <a:cubicBezTo>
                    <a:pt x="25" y="10"/>
                    <a:pt x="29" y="12"/>
                    <a:pt x="32" y="15"/>
                  </a:cubicBezTo>
                  <a:cubicBezTo>
                    <a:pt x="35" y="18"/>
                    <a:pt x="37" y="22"/>
                    <a:pt x="37" y="28"/>
                  </a:cubicBezTo>
                  <a:cubicBezTo>
                    <a:pt x="37" y="33"/>
                    <a:pt x="35" y="38"/>
                    <a:pt x="32" y="41"/>
                  </a:cubicBezTo>
                  <a:close/>
                  <a:moveTo>
                    <a:pt x="99" y="56"/>
                  </a:moveTo>
                  <a:cubicBezTo>
                    <a:pt x="53" y="56"/>
                    <a:pt x="53" y="56"/>
                    <a:pt x="53" y="56"/>
                  </a:cubicBezTo>
                  <a:cubicBezTo>
                    <a:pt x="53" y="49"/>
                    <a:pt x="53" y="49"/>
                    <a:pt x="53" y="49"/>
                  </a:cubicBezTo>
                  <a:cubicBezTo>
                    <a:pt x="82" y="10"/>
                    <a:pt x="82" y="10"/>
                    <a:pt x="82" y="10"/>
                  </a:cubicBezTo>
                  <a:cubicBezTo>
                    <a:pt x="55" y="10"/>
                    <a:pt x="55" y="10"/>
                    <a:pt x="55" y="10"/>
                  </a:cubicBezTo>
                  <a:cubicBezTo>
                    <a:pt x="55" y="0"/>
                    <a:pt x="55" y="0"/>
                    <a:pt x="55" y="0"/>
                  </a:cubicBezTo>
                  <a:cubicBezTo>
                    <a:pt x="99" y="0"/>
                    <a:pt x="99" y="0"/>
                    <a:pt x="99" y="0"/>
                  </a:cubicBezTo>
                  <a:cubicBezTo>
                    <a:pt x="99" y="7"/>
                    <a:pt x="99" y="7"/>
                    <a:pt x="99" y="7"/>
                  </a:cubicBezTo>
                  <a:cubicBezTo>
                    <a:pt x="70" y="46"/>
                    <a:pt x="70" y="46"/>
                    <a:pt x="70" y="46"/>
                  </a:cubicBezTo>
                  <a:cubicBezTo>
                    <a:pt x="99" y="46"/>
                    <a:pt x="99" y="46"/>
                    <a:pt x="99" y="46"/>
                  </a:cubicBezTo>
                  <a:lnTo>
                    <a:pt x="99" y="56"/>
                  </a:lnTo>
                  <a:close/>
                  <a:moveTo>
                    <a:pt x="120" y="56"/>
                  </a:moveTo>
                  <a:cubicBezTo>
                    <a:pt x="107" y="56"/>
                    <a:pt x="107" y="56"/>
                    <a:pt x="107" y="56"/>
                  </a:cubicBezTo>
                  <a:cubicBezTo>
                    <a:pt x="107" y="0"/>
                    <a:pt x="107" y="0"/>
                    <a:pt x="107" y="0"/>
                  </a:cubicBezTo>
                  <a:cubicBezTo>
                    <a:pt x="120" y="0"/>
                    <a:pt x="120" y="0"/>
                    <a:pt x="120" y="0"/>
                  </a:cubicBezTo>
                  <a:lnTo>
                    <a:pt x="120" y="56"/>
                  </a:lnTo>
                  <a:close/>
                  <a:moveTo>
                    <a:pt x="166" y="56"/>
                  </a:moveTo>
                  <a:cubicBezTo>
                    <a:pt x="133" y="56"/>
                    <a:pt x="133" y="56"/>
                    <a:pt x="133" y="56"/>
                  </a:cubicBezTo>
                  <a:cubicBezTo>
                    <a:pt x="133" y="0"/>
                    <a:pt x="133" y="0"/>
                    <a:pt x="133" y="0"/>
                  </a:cubicBezTo>
                  <a:cubicBezTo>
                    <a:pt x="165" y="0"/>
                    <a:pt x="165" y="0"/>
                    <a:pt x="165" y="0"/>
                  </a:cubicBezTo>
                  <a:cubicBezTo>
                    <a:pt x="165" y="10"/>
                    <a:pt x="165" y="10"/>
                    <a:pt x="165" y="10"/>
                  </a:cubicBezTo>
                  <a:cubicBezTo>
                    <a:pt x="145" y="10"/>
                    <a:pt x="145" y="10"/>
                    <a:pt x="145" y="10"/>
                  </a:cubicBezTo>
                  <a:cubicBezTo>
                    <a:pt x="145" y="23"/>
                    <a:pt x="145" y="23"/>
                    <a:pt x="145" y="23"/>
                  </a:cubicBezTo>
                  <a:cubicBezTo>
                    <a:pt x="164" y="23"/>
                    <a:pt x="164" y="23"/>
                    <a:pt x="164" y="23"/>
                  </a:cubicBezTo>
                  <a:cubicBezTo>
                    <a:pt x="164" y="33"/>
                    <a:pt x="164" y="33"/>
                    <a:pt x="164" y="33"/>
                  </a:cubicBezTo>
                  <a:cubicBezTo>
                    <a:pt x="145" y="33"/>
                    <a:pt x="145" y="33"/>
                    <a:pt x="145" y="33"/>
                  </a:cubicBezTo>
                  <a:cubicBezTo>
                    <a:pt x="145" y="46"/>
                    <a:pt x="145" y="46"/>
                    <a:pt x="145" y="46"/>
                  </a:cubicBezTo>
                  <a:cubicBezTo>
                    <a:pt x="166" y="46"/>
                    <a:pt x="166" y="46"/>
                    <a:pt x="166" y="46"/>
                  </a:cubicBezTo>
                  <a:lnTo>
                    <a:pt x="166" y="56"/>
                  </a:lnTo>
                  <a:close/>
                  <a:moveTo>
                    <a:pt x="162" y="72"/>
                  </a:moveTo>
                  <a:cubicBezTo>
                    <a:pt x="162" y="72"/>
                    <a:pt x="161" y="73"/>
                    <a:pt x="160" y="73"/>
                  </a:cubicBezTo>
                  <a:cubicBezTo>
                    <a:pt x="159" y="73"/>
                    <a:pt x="158" y="73"/>
                    <a:pt x="157" y="73"/>
                  </a:cubicBezTo>
                  <a:cubicBezTo>
                    <a:pt x="155" y="73"/>
                    <a:pt x="153" y="72"/>
                    <a:pt x="152" y="71"/>
                  </a:cubicBezTo>
                  <a:cubicBezTo>
                    <a:pt x="151" y="70"/>
                    <a:pt x="150" y="68"/>
                    <a:pt x="150" y="66"/>
                  </a:cubicBezTo>
                  <a:cubicBezTo>
                    <a:pt x="150" y="65"/>
                    <a:pt x="150" y="64"/>
                    <a:pt x="150" y="64"/>
                  </a:cubicBezTo>
                  <a:cubicBezTo>
                    <a:pt x="151" y="63"/>
                    <a:pt x="151" y="62"/>
                    <a:pt x="152" y="61"/>
                  </a:cubicBezTo>
                  <a:cubicBezTo>
                    <a:pt x="152" y="60"/>
                    <a:pt x="153" y="59"/>
                    <a:pt x="154" y="58"/>
                  </a:cubicBezTo>
                  <a:cubicBezTo>
                    <a:pt x="155" y="58"/>
                    <a:pt x="156" y="57"/>
                    <a:pt x="157" y="56"/>
                  </a:cubicBezTo>
                  <a:cubicBezTo>
                    <a:pt x="163" y="56"/>
                    <a:pt x="163" y="56"/>
                    <a:pt x="163" y="56"/>
                  </a:cubicBezTo>
                  <a:cubicBezTo>
                    <a:pt x="161" y="58"/>
                    <a:pt x="159" y="59"/>
                    <a:pt x="158" y="61"/>
                  </a:cubicBezTo>
                  <a:cubicBezTo>
                    <a:pt x="157" y="62"/>
                    <a:pt x="157" y="63"/>
                    <a:pt x="157" y="65"/>
                  </a:cubicBezTo>
                  <a:cubicBezTo>
                    <a:pt x="157" y="65"/>
                    <a:pt x="157" y="66"/>
                    <a:pt x="157" y="67"/>
                  </a:cubicBezTo>
                  <a:cubicBezTo>
                    <a:pt x="158" y="67"/>
                    <a:pt x="158" y="67"/>
                    <a:pt x="159" y="67"/>
                  </a:cubicBezTo>
                  <a:cubicBezTo>
                    <a:pt x="160" y="67"/>
                    <a:pt x="160" y="67"/>
                    <a:pt x="161" y="67"/>
                  </a:cubicBezTo>
                  <a:cubicBezTo>
                    <a:pt x="161" y="67"/>
                    <a:pt x="162" y="67"/>
                    <a:pt x="162" y="67"/>
                  </a:cubicBezTo>
                  <a:lnTo>
                    <a:pt x="162" y="72"/>
                  </a:lnTo>
                  <a:close/>
                  <a:moveTo>
                    <a:pt x="223" y="56"/>
                  </a:moveTo>
                  <a:cubicBezTo>
                    <a:pt x="206" y="56"/>
                    <a:pt x="206" y="56"/>
                    <a:pt x="206" y="56"/>
                  </a:cubicBezTo>
                  <a:cubicBezTo>
                    <a:pt x="190" y="32"/>
                    <a:pt x="190" y="32"/>
                    <a:pt x="190" y="32"/>
                  </a:cubicBezTo>
                  <a:cubicBezTo>
                    <a:pt x="190" y="31"/>
                    <a:pt x="189" y="30"/>
                    <a:pt x="189" y="29"/>
                  </a:cubicBezTo>
                  <a:cubicBezTo>
                    <a:pt x="188" y="29"/>
                    <a:pt x="188" y="29"/>
                    <a:pt x="188" y="29"/>
                  </a:cubicBezTo>
                  <a:cubicBezTo>
                    <a:pt x="188" y="56"/>
                    <a:pt x="188" y="56"/>
                    <a:pt x="188" y="56"/>
                  </a:cubicBezTo>
                  <a:cubicBezTo>
                    <a:pt x="176" y="56"/>
                    <a:pt x="176" y="56"/>
                    <a:pt x="176" y="56"/>
                  </a:cubicBezTo>
                  <a:cubicBezTo>
                    <a:pt x="176" y="0"/>
                    <a:pt x="176" y="0"/>
                    <a:pt x="176" y="0"/>
                  </a:cubicBezTo>
                  <a:cubicBezTo>
                    <a:pt x="188" y="0"/>
                    <a:pt x="188" y="0"/>
                    <a:pt x="188" y="0"/>
                  </a:cubicBezTo>
                  <a:cubicBezTo>
                    <a:pt x="188" y="27"/>
                    <a:pt x="188" y="27"/>
                    <a:pt x="188" y="27"/>
                  </a:cubicBezTo>
                  <a:cubicBezTo>
                    <a:pt x="189" y="27"/>
                    <a:pt x="189" y="27"/>
                    <a:pt x="189" y="27"/>
                  </a:cubicBezTo>
                  <a:cubicBezTo>
                    <a:pt x="189" y="26"/>
                    <a:pt x="189" y="25"/>
                    <a:pt x="190" y="23"/>
                  </a:cubicBezTo>
                  <a:cubicBezTo>
                    <a:pt x="206" y="0"/>
                    <a:pt x="206" y="0"/>
                    <a:pt x="206" y="0"/>
                  </a:cubicBezTo>
                  <a:cubicBezTo>
                    <a:pt x="221" y="0"/>
                    <a:pt x="221" y="0"/>
                    <a:pt x="221" y="0"/>
                  </a:cubicBezTo>
                  <a:cubicBezTo>
                    <a:pt x="201" y="27"/>
                    <a:pt x="201" y="27"/>
                    <a:pt x="201" y="27"/>
                  </a:cubicBezTo>
                  <a:lnTo>
                    <a:pt x="223" y="56"/>
                  </a:lnTo>
                  <a:close/>
                  <a:moveTo>
                    <a:pt x="274" y="32"/>
                  </a:moveTo>
                  <a:cubicBezTo>
                    <a:pt x="274" y="49"/>
                    <a:pt x="266" y="57"/>
                    <a:pt x="250" y="57"/>
                  </a:cubicBezTo>
                  <a:cubicBezTo>
                    <a:pt x="235" y="57"/>
                    <a:pt x="227" y="49"/>
                    <a:pt x="227" y="32"/>
                  </a:cubicBezTo>
                  <a:cubicBezTo>
                    <a:pt x="227" y="0"/>
                    <a:pt x="227" y="0"/>
                    <a:pt x="227" y="0"/>
                  </a:cubicBezTo>
                  <a:cubicBezTo>
                    <a:pt x="240" y="0"/>
                    <a:pt x="240" y="0"/>
                    <a:pt x="240" y="0"/>
                  </a:cubicBezTo>
                  <a:cubicBezTo>
                    <a:pt x="240" y="33"/>
                    <a:pt x="240" y="33"/>
                    <a:pt x="240" y="33"/>
                  </a:cubicBezTo>
                  <a:cubicBezTo>
                    <a:pt x="240" y="42"/>
                    <a:pt x="244" y="46"/>
                    <a:pt x="251" y="46"/>
                  </a:cubicBezTo>
                  <a:cubicBezTo>
                    <a:pt x="258" y="46"/>
                    <a:pt x="261" y="42"/>
                    <a:pt x="261" y="33"/>
                  </a:cubicBezTo>
                  <a:cubicBezTo>
                    <a:pt x="261" y="0"/>
                    <a:pt x="261" y="0"/>
                    <a:pt x="261" y="0"/>
                  </a:cubicBezTo>
                  <a:cubicBezTo>
                    <a:pt x="274" y="0"/>
                    <a:pt x="274" y="0"/>
                    <a:pt x="274" y="0"/>
                  </a:cubicBezTo>
                  <a:lnTo>
                    <a:pt x="274" y="32"/>
                  </a:lnTo>
                  <a:close/>
                  <a:moveTo>
                    <a:pt x="309" y="34"/>
                  </a:moveTo>
                  <a:cubicBezTo>
                    <a:pt x="309" y="42"/>
                    <a:pt x="307" y="47"/>
                    <a:pt x="303" y="51"/>
                  </a:cubicBezTo>
                  <a:cubicBezTo>
                    <a:pt x="300" y="55"/>
                    <a:pt x="295" y="57"/>
                    <a:pt x="288" y="57"/>
                  </a:cubicBezTo>
                  <a:cubicBezTo>
                    <a:pt x="285" y="57"/>
                    <a:pt x="282" y="57"/>
                    <a:pt x="280" y="56"/>
                  </a:cubicBezTo>
                  <a:cubicBezTo>
                    <a:pt x="280" y="44"/>
                    <a:pt x="280" y="44"/>
                    <a:pt x="280" y="44"/>
                  </a:cubicBezTo>
                  <a:cubicBezTo>
                    <a:pt x="282" y="46"/>
                    <a:pt x="284" y="46"/>
                    <a:pt x="287" y="46"/>
                  </a:cubicBezTo>
                  <a:cubicBezTo>
                    <a:pt x="293" y="46"/>
                    <a:pt x="296" y="42"/>
                    <a:pt x="296" y="33"/>
                  </a:cubicBezTo>
                  <a:cubicBezTo>
                    <a:pt x="296" y="0"/>
                    <a:pt x="296" y="0"/>
                    <a:pt x="296" y="0"/>
                  </a:cubicBezTo>
                  <a:cubicBezTo>
                    <a:pt x="309" y="0"/>
                    <a:pt x="309" y="0"/>
                    <a:pt x="309" y="0"/>
                  </a:cubicBezTo>
                  <a:lnTo>
                    <a:pt x="309" y="34"/>
                  </a:lnTo>
                  <a:close/>
                  <a:moveTo>
                    <a:pt x="355" y="56"/>
                  </a:moveTo>
                  <a:cubicBezTo>
                    <a:pt x="321" y="56"/>
                    <a:pt x="321" y="56"/>
                    <a:pt x="321" y="56"/>
                  </a:cubicBezTo>
                  <a:cubicBezTo>
                    <a:pt x="321" y="0"/>
                    <a:pt x="321" y="0"/>
                    <a:pt x="321" y="0"/>
                  </a:cubicBezTo>
                  <a:cubicBezTo>
                    <a:pt x="354" y="0"/>
                    <a:pt x="354" y="0"/>
                    <a:pt x="354" y="0"/>
                  </a:cubicBezTo>
                  <a:cubicBezTo>
                    <a:pt x="354" y="10"/>
                    <a:pt x="354" y="10"/>
                    <a:pt x="354" y="10"/>
                  </a:cubicBezTo>
                  <a:cubicBezTo>
                    <a:pt x="334" y="10"/>
                    <a:pt x="334" y="10"/>
                    <a:pt x="334" y="10"/>
                  </a:cubicBezTo>
                  <a:cubicBezTo>
                    <a:pt x="334" y="23"/>
                    <a:pt x="334" y="23"/>
                    <a:pt x="334" y="23"/>
                  </a:cubicBezTo>
                  <a:cubicBezTo>
                    <a:pt x="352" y="23"/>
                    <a:pt x="352" y="23"/>
                    <a:pt x="352" y="23"/>
                  </a:cubicBezTo>
                  <a:cubicBezTo>
                    <a:pt x="352" y="33"/>
                    <a:pt x="352" y="33"/>
                    <a:pt x="352" y="33"/>
                  </a:cubicBezTo>
                  <a:cubicBezTo>
                    <a:pt x="334" y="33"/>
                    <a:pt x="334" y="33"/>
                    <a:pt x="334" y="33"/>
                  </a:cubicBezTo>
                  <a:cubicBezTo>
                    <a:pt x="334" y="46"/>
                    <a:pt x="334" y="46"/>
                    <a:pt x="334" y="46"/>
                  </a:cubicBezTo>
                  <a:cubicBezTo>
                    <a:pt x="355" y="46"/>
                    <a:pt x="355" y="46"/>
                    <a:pt x="355" y="46"/>
                  </a:cubicBezTo>
                  <a:lnTo>
                    <a:pt x="355" y="56"/>
                  </a:lnTo>
                  <a:close/>
                  <a:moveTo>
                    <a:pt x="351" y="72"/>
                  </a:moveTo>
                  <a:cubicBezTo>
                    <a:pt x="350" y="72"/>
                    <a:pt x="349" y="73"/>
                    <a:pt x="348" y="73"/>
                  </a:cubicBezTo>
                  <a:cubicBezTo>
                    <a:pt x="348" y="73"/>
                    <a:pt x="347" y="73"/>
                    <a:pt x="346" y="73"/>
                  </a:cubicBezTo>
                  <a:cubicBezTo>
                    <a:pt x="344" y="73"/>
                    <a:pt x="342" y="72"/>
                    <a:pt x="340" y="71"/>
                  </a:cubicBezTo>
                  <a:cubicBezTo>
                    <a:pt x="339" y="70"/>
                    <a:pt x="338" y="68"/>
                    <a:pt x="338" y="66"/>
                  </a:cubicBezTo>
                  <a:cubicBezTo>
                    <a:pt x="338" y="65"/>
                    <a:pt x="339" y="64"/>
                    <a:pt x="339" y="64"/>
                  </a:cubicBezTo>
                  <a:cubicBezTo>
                    <a:pt x="339" y="63"/>
                    <a:pt x="340" y="62"/>
                    <a:pt x="340" y="61"/>
                  </a:cubicBezTo>
                  <a:cubicBezTo>
                    <a:pt x="341" y="60"/>
                    <a:pt x="341" y="59"/>
                    <a:pt x="342" y="58"/>
                  </a:cubicBezTo>
                  <a:cubicBezTo>
                    <a:pt x="343" y="58"/>
                    <a:pt x="344" y="57"/>
                    <a:pt x="345" y="56"/>
                  </a:cubicBezTo>
                  <a:cubicBezTo>
                    <a:pt x="351" y="56"/>
                    <a:pt x="351" y="56"/>
                    <a:pt x="351" y="56"/>
                  </a:cubicBezTo>
                  <a:cubicBezTo>
                    <a:pt x="349" y="58"/>
                    <a:pt x="348" y="59"/>
                    <a:pt x="347" y="61"/>
                  </a:cubicBezTo>
                  <a:cubicBezTo>
                    <a:pt x="346" y="62"/>
                    <a:pt x="345" y="63"/>
                    <a:pt x="345" y="65"/>
                  </a:cubicBezTo>
                  <a:cubicBezTo>
                    <a:pt x="345" y="65"/>
                    <a:pt x="345" y="66"/>
                    <a:pt x="346" y="67"/>
                  </a:cubicBezTo>
                  <a:cubicBezTo>
                    <a:pt x="346" y="67"/>
                    <a:pt x="347" y="67"/>
                    <a:pt x="348" y="67"/>
                  </a:cubicBezTo>
                  <a:cubicBezTo>
                    <a:pt x="348" y="67"/>
                    <a:pt x="349" y="67"/>
                    <a:pt x="349" y="67"/>
                  </a:cubicBezTo>
                  <a:cubicBezTo>
                    <a:pt x="350" y="67"/>
                    <a:pt x="350" y="67"/>
                    <a:pt x="351" y="67"/>
                  </a:cubicBezTo>
                  <a:lnTo>
                    <a:pt x="351" y="72"/>
                  </a:ln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33" name="Freeform 245">
              <a:extLst>
                <a:ext uri="{FF2B5EF4-FFF2-40B4-BE49-F238E27FC236}">
                  <a16:creationId xmlns:a16="http://schemas.microsoft.com/office/drawing/2014/main" id="{F5E9C422-70CB-6749-7955-1C5BFCA78A77}"/>
                </a:ext>
                <a:ext uri="{C183D7F6-B498-43B3-948B-1728B52AA6E4}">
                  <adec:decorative xmlns:adec="http://schemas.microsoft.com/office/drawing/2017/decorative" val="1"/>
                </a:ext>
              </a:extLst>
            </p:cNvPr>
            <p:cNvSpPr>
              <a:spLocks noEditPoints="1"/>
            </p:cNvSpPr>
            <p:nvPr/>
          </p:nvSpPr>
          <p:spPr bwMode="auto">
            <a:xfrm rot="16200000">
              <a:off x="2206899" y="4938364"/>
              <a:ext cx="217637" cy="1139516"/>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solidFill>
              <a:srgbClr val="FBE49C"/>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34" name="Freeform 247">
              <a:extLst>
                <a:ext uri="{FF2B5EF4-FFF2-40B4-BE49-F238E27FC236}">
                  <a16:creationId xmlns:a16="http://schemas.microsoft.com/office/drawing/2014/main" id="{E43CCB38-8036-6C15-5F17-D213528A0EBD}"/>
                </a:ext>
                <a:ext uri="{C183D7F6-B498-43B3-948B-1728B52AA6E4}">
                  <adec:decorative xmlns:adec="http://schemas.microsoft.com/office/drawing/2017/decorative" val="1"/>
                </a:ext>
              </a:extLst>
            </p:cNvPr>
            <p:cNvSpPr>
              <a:spLocks noEditPoints="1"/>
            </p:cNvSpPr>
            <p:nvPr/>
          </p:nvSpPr>
          <p:spPr bwMode="auto">
            <a:xfrm rot="16200000">
              <a:off x="8406004" y="5108920"/>
              <a:ext cx="382750" cy="1049352"/>
            </a:xfrm>
            <a:custGeom>
              <a:avLst/>
              <a:gdLst>
                <a:gd name="T0" fmla="*/ 114 w 126"/>
                <a:gd name="T1" fmla="*/ 228 h 345"/>
                <a:gd name="T2" fmla="*/ 119 w 126"/>
                <a:gd name="T3" fmla="*/ 243 h 345"/>
                <a:gd name="T4" fmla="*/ 117 w 126"/>
                <a:gd name="T5" fmla="*/ 282 h 345"/>
                <a:gd name="T6" fmla="*/ 103 w 126"/>
                <a:gd name="T7" fmla="*/ 288 h 345"/>
                <a:gd name="T8" fmla="*/ 117 w 126"/>
                <a:gd name="T9" fmla="*/ 282 h 345"/>
                <a:gd name="T10" fmla="*/ 104 w 126"/>
                <a:gd name="T11" fmla="*/ 240 h 345"/>
                <a:gd name="T12" fmla="*/ 107 w 126"/>
                <a:gd name="T13" fmla="*/ 255 h 345"/>
                <a:gd name="T14" fmla="*/ 111 w 126"/>
                <a:gd name="T15" fmla="*/ 267 h 345"/>
                <a:gd name="T16" fmla="*/ 97 w 126"/>
                <a:gd name="T17" fmla="*/ 273 h 345"/>
                <a:gd name="T18" fmla="*/ 111 w 126"/>
                <a:gd name="T19" fmla="*/ 267 h 345"/>
                <a:gd name="T20" fmla="*/ 97 w 126"/>
                <a:gd name="T21" fmla="*/ 225 h 345"/>
                <a:gd name="T22" fmla="*/ 101 w 126"/>
                <a:gd name="T23" fmla="*/ 241 h 345"/>
                <a:gd name="T24" fmla="*/ 47 w 126"/>
                <a:gd name="T25" fmla="*/ 59 h 345"/>
                <a:gd name="T26" fmla="*/ 62 w 126"/>
                <a:gd name="T27" fmla="*/ 27 h 345"/>
                <a:gd name="T28" fmla="*/ 63 w 126"/>
                <a:gd name="T29" fmla="*/ 44 h 345"/>
                <a:gd name="T30" fmla="*/ 58 w 126"/>
                <a:gd name="T31" fmla="*/ 48 h 345"/>
                <a:gd name="T32" fmla="*/ 0 w 126"/>
                <a:gd name="T33" fmla="*/ 27 h 345"/>
                <a:gd name="T34" fmla="*/ 47 w 126"/>
                <a:gd name="T35" fmla="*/ 59 h 345"/>
                <a:gd name="T36" fmla="*/ 80 w 126"/>
                <a:gd name="T37" fmla="*/ 140 h 345"/>
                <a:gd name="T38" fmla="*/ 65 w 126"/>
                <a:gd name="T39" fmla="*/ 149 h 345"/>
                <a:gd name="T40" fmla="*/ 84 w 126"/>
                <a:gd name="T41" fmla="*/ 116 h 345"/>
                <a:gd name="T42" fmla="*/ 75 w 126"/>
                <a:gd name="T43" fmla="*/ 109 h 345"/>
                <a:gd name="T44" fmla="*/ 24 w 126"/>
                <a:gd name="T45" fmla="*/ 86 h 345"/>
                <a:gd name="T46" fmla="*/ 24 w 126"/>
                <a:gd name="T47" fmla="*/ 64 h 345"/>
                <a:gd name="T48" fmla="*/ 16 w 126"/>
                <a:gd name="T49" fmla="*/ 95 h 345"/>
                <a:gd name="T50" fmla="*/ 72 w 126"/>
                <a:gd name="T51" fmla="*/ 155 h 345"/>
                <a:gd name="T52" fmla="*/ 51 w 126"/>
                <a:gd name="T53" fmla="*/ 213 h 345"/>
                <a:gd name="T54" fmla="*/ 52 w 126"/>
                <a:gd name="T55" fmla="*/ 244 h 345"/>
                <a:gd name="T56" fmla="*/ 55 w 126"/>
                <a:gd name="T57" fmla="*/ 317 h 345"/>
                <a:gd name="T58" fmla="*/ 83 w 126"/>
                <a:gd name="T59" fmla="*/ 335 h 345"/>
                <a:gd name="T60" fmla="*/ 88 w 126"/>
                <a:gd name="T61" fmla="*/ 286 h 345"/>
                <a:gd name="T62" fmla="*/ 59 w 126"/>
                <a:gd name="T63" fmla="*/ 288 h 345"/>
                <a:gd name="T64" fmla="*/ 82 w 126"/>
                <a:gd name="T65" fmla="*/ 257 h 345"/>
                <a:gd name="T66" fmla="*/ 74 w 126"/>
                <a:gd name="T67" fmla="*/ 252 h 345"/>
                <a:gd name="T68" fmla="*/ 77 w 126"/>
                <a:gd name="T69" fmla="*/ 243 h 345"/>
                <a:gd name="T70" fmla="*/ 60 w 126"/>
                <a:gd name="T71" fmla="*/ 239 h 345"/>
                <a:gd name="T72" fmla="*/ 77 w 126"/>
                <a:gd name="T73" fmla="*/ 212 h 345"/>
                <a:gd name="T74" fmla="*/ 60 w 126"/>
                <a:gd name="T75" fmla="*/ 207 h 345"/>
                <a:gd name="T76" fmla="*/ 91 w 126"/>
                <a:gd name="T77" fmla="*/ 148 h 345"/>
                <a:gd name="T78" fmla="*/ 115 w 126"/>
                <a:gd name="T79" fmla="*/ 169 h 345"/>
                <a:gd name="T80" fmla="*/ 90 w 126"/>
                <a:gd name="T81" fmla="*/ 128 h 345"/>
                <a:gd name="T82" fmla="*/ 74 w 126"/>
                <a:gd name="T83" fmla="*/ 331 h 345"/>
                <a:gd name="T84" fmla="*/ 66 w 126"/>
                <a:gd name="T85" fmla="*/ 32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345">
                  <a:moveTo>
                    <a:pt x="124" y="232"/>
                  </a:moveTo>
                  <a:cubicBezTo>
                    <a:pt x="121" y="231"/>
                    <a:pt x="117" y="229"/>
                    <a:pt x="114" y="228"/>
                  </a:cubicBezTo>
                  <a:cubicBezTo>
                    <a:pt x="113" y="231"/>
                    <a:pt x="111" y="235"/>
                    <a:pt x="109" y="238"/>
                  </a:cubicBezTo>
                  <a:cubicBezTo>
                    <a:pt x="112" y="240"/>
                    <a:pt x="116" y="241"/>
                    <a:pt x="119" y="243"/>
                  </a:cubicBezTo>
                  <a:cubicBezTo>
                    <a:pt x="121" y="240"/>
                    <a:pt x="122" y="236"/>
                    <a:pt x="124" y="232"/>
                  </a:cubicBezTo>
                  <a:close/>
                  <a:moveTo>
                    <a:pt x="117" y="282"/>
                  </a:moveTo>
                  <a:cubicBezTo>
                    <a:pt x="114" y="281"/>
                    <a:pt x="111" y="279"/>
                    <a:pt x="109" y="278"/>
                  </a:cubicBezTo>
                  <a:cubicBezTo>
                    <a:pt x="106" y="281"/>
                    <a:pt x="104" y="284"/>
                    <a:pt x="103" y="288"/>
                  </a:cubicBezTo>
                  <a:cubicBezTo>
                    <a:pt x="106" y="290"/>
                    <a:pt x="109" y="291"/>
                    <a:pt x="112" y="293"/>
                  </a:cubicBezTo>
                  <a:cubicBezTo>
                    <a:pt x="114" y="289"/>
                    <a:pt x="116" y="286"/>
                    <a:pt x="117" y="282"/>
                  </a:cubicBezTo>
                  <a:close/>
                  <a:moveTo>
                    <a:pt x="112" y="245"/>
                  </a:moveTo>
                  <a:cubicBezTo>
                    <a:pt x="109" y="243"/>
                    <a:pt x="106" y="242"/>
                    <a:pt x="104" y="240"/>
                  </a:cubicBezTo>
                  <a:cubicBezTo>
                    <a:pt x="102" y="244"/>
                    <a:pt x="100" y="247"/>
                    <a:pt x="98" y="250"/>
                  </a:cubicBezTo>
                  <a:cubicBezTo>
                    <a:pt x="101" y="252"/>
                    <a:pt x="104" y="254"/>
                    <a:pt x="107" y="255"/>
                  </a:cubicBezTo>
                  <a:cubicBezTo>
                    <a:pt x="109" y="252"/>
                    <a:pt x="111" y="248"/>
                    <a:pt x="112" y="245"/>
                  </a:cubicBezTo>
                  <a:close/>
                  <a:moveTo>
                    <a:pt x="111" y="267"/>
                  </a:moveTo>
                  <a:cubicBezTo>
                    <a:pt x="108" y="266"/>
                    <a:pt x="105" y="264"/>
                    <a:pt x="102" y="263"/>
                  </a:cubicBezTo>
                  <a:cubicBezTo>
                    <a:pt x="100" y="266"/>
                    <a:pt x="98" y="269"/>
                    <a:pt x="97" y="273"/>
                  </a:cubicBezTo>
                  <a:cubicBezTo>
                    <a:pt x="100" y="275"/>
                    <a:pt x="103" y="276"/>
                    <a:pt x="106" y="278"/>
                  </a:cubicBezTo>
                  <a:cubicBezTo>
                    <a:pt x="108" y="274"/>
                    <a:pt x="110" y="271"/>
                    <a:pt x="111" y="267"/>
                  </a:cubicBezTo>
                  <a:close/>
                  <a:moveTo>
                    <a:pt x="106" y="230"/>
                  </a:moveTo>
                  <a:cubicBezTo>
                    <a:pt x="103" y="228"/>
                    <a:pt x="100" y="227"/>
                    <a:pt x="97" y="225"/>
                  </a:cubicBezTo>
                  <a:cubicBezTo>
                    <a:pt x="95" y="229"/>
                    <a:pt x="93" y="232"/>
                    <a:pt x="92" y="236"/>
                  </a:cubicBezTo>
                  <a:cubicBezTo>
                    <a:pt x="95" y="237"/>
                    <a:pt x="98" y="239"/>
                    <a:pt x="101" y="241"/>
                  </a:cubicBezTo>
                  <a:cubicBezTo>
                    <a:pt x="103" y="237"/>
                    <a:pt x="105" y="233"/>
                    <a:pt x="106" y="230"/>
                  </a:cubicBezTo>
                  <a:close/>
                  <a:moveTo>
                    <a:pt x="47" y="59"/>
                  </a:moveTo>
                  <a:cubicBezTo>
                    <a:pt x="73" y="60"/>
                    <a:pt x="87" y="36"/>
                    <a:pt x="63" y="26"/>
                  </a:cubicBezTo>
                  <a:cubicBezTo>
                    <a:pt x="63" y="26"/>
                    <a:pt x="62" y="27"/>
                    <a:pt x="62" y="27"/>
                  </a:cubicBezTo>
                  <a:cubicBezTo>
                    <a:pt x="61" y="29"/>
                    <a:pt x="65" y="32"/>
                    <a:pt x="66" y="34"/>
                  </a:cubicBezTo>
                  <a:cubicBezTo>
                    <a:pt x="66" y="40"/>
                    <a:pt x="64" y="41"/>
                    <a:pt x="63" y="44"/>
                  </a:cubicBezTo>
                  <a:cubicBezTo>
                    <a:pt x="62" y="45"/>
                    <a:pt x="60" y="47"/>
                    <a:pt x="59" y="48"/>
                  </a:cubicBezTo>
                  <a:cubicBezTo>
                    <a:pt x="59" y="48"/>
                    <a:pt x="59" y="48"/>
                    <a:pt x="58" y="48"/>
                  </a:cubicBezTo>
                  <a:cubicBezTo>
                    <a:pt x="58" y="0"/>
                    <a:pt x="27" y="22"/>
                    <a:pt x="0" y="26"/>
                  </a:cubicBezTo>
                  <a:cubicBezTo>
                    <a:pt x="0" y="26"/>
                    <a:pt x="0" y="27"/>
                    <a:pt x="0" y="27"/>
                  </a:cubicBezTo>
                  <a:cubicBezTo>
                    <a:pt x="12" y="33"/>
                    <a:pt x="26" y="23"/>
                    <a:pt x="39" y="23"/>
                  </a:cubicBezTo>
                  <a:cubicBezTo>
                    <a:pt x="47" y="30"/>
                    <a:pt x="48" y="45"/>
                    <a:pt x="47" y="59"/>
                  </a:cubicBezTo>
                  <a:close/>
                  <a:moveTo>
                    <a:pt x="90" y="128"/>
                  </a:moveTo>
                  <a:cubicBezTo>
                    <a:pt x="86" y="131"/>
                    <a:pt x="82" y="135"/>
                    <a:pt x="80" y="140"/>
                  </a:cubicBezTo>
                  <a:cubicBezTo>
                    <a:pt x="80" y="140"/>
                    <a:pt x="81" y="141"/>
                    <a:pt x="82" y="141"/>
                  </a:cubicBezTo>
                  <a:cubicBezTo>
                    <a:pt x="80" y="147"/>
                    <a:pt x="72" y="155"/>
                    <a:pt x="65" y="149"/>
                  </a:cubicBezTo>
                  <a:cubicBezTo>
                    <a:pt x="60" y="145"/>
                    <a:pt x="58" y="134"/>
                    <a:pt x="59" y="124"/>
                  </a:cubicBezTo>
                  <a:cubicBezTo>
                    <a:pt x="72" y="124"/>
                    <a:pt x="76" y="119"/>
                    <a:pt x="84" y="116"/>
                  </a:cubicBezTo>
                  <a:cubicBezTo>
                    <a:pt x="84" y="115"/>
                    <a:pt x="85" y="114"/>
                    <a:pt x="85" y="113"/>
                  </a:cubicBezTo>
                  <a:cubicBezTo>
                    <a:pt x="82" y="112"/>
                    <a:pt x="79" y="111"/>
                    <a:pt x="75" y="109"/>
                  </a:cubicBezTo>
                  <a:cubicBezTo>
                    <a:pt x="71" y="113"/>
                    <a:pt x="66" y="118"/>
                    <a:pt x="60" y="119"/>
                  </a:cubicBezTo>
                  <a:cubicBezTo>
                    <a:pt x="42" y="122"/>
                    <a:pt x="27" y="100"/>
                    <a:pt x="24" y="86"/>
                  </a:cubicBezTo>
                  <a:cubicBezTo>
                    <a:pt x="22" y="79"/>
                    <a:pt x="25" y="70"/>
                    <a:pt x="27" y="64"/>
                  </a:cubicBezTo>
                  <a:cubicBezTo>
                    <a:pt x="26" y="64"/>
                    <a:pt x="25" y="64"/>
                    <a:pt x="24" y="64"/>
                  </a:cubicBezTo>
                  <a:cubicBezTo>
                    <a:pt x="23" y="67"/>
                    <a:pt x="21" y="71"/>
                    <a:pt x="20" y="74"/>
                  </a:cubicBezTo>
                  <a:cubicBezTo>
                    <a:pt x="18" y="79"/>
                    <a:pt x="14" y="87"/>
                    <a:pt x="16" y="95"/>
                  </a:cubicBezTo>
                  <a:cubicBezTo>
                    <a:pt x="18" y="106"/>
                    <a:pt x="34" y="124"/>
                    <a:pt x="47" y="124"/>
                  </a:cubicBezTo>
                  <a:cubicBezTo>
                    <a:pt x="47" y="142"/>
                    <a:pt x="54" y="155"/>
                    <a:pt x="72" y="155"/>
                  </a:cubicBezTo>
                  <a:cubicBezTo>
                    <a:pt x="61" y="170"/>
                    <a:pt x="47" y="166"/>
                    <a:pt x="47" y="194"/>
                  </a:cubicBezTo>
                  <a:cubicBezTo>
                    <a:pt x="47" y="203"/>
                    <a:pt x="48" y="208"/>
                    <a:pt x="51" y="213"/>
                  </a:cubicBezTo>
                  <a:cubicBezTo>
                    <a:pt x="49" y="218"/>
                    <a:pt x="45" y="226"/>
                    <a:pt x="47" y="235"/>
                  </a:cubicBezTo>
                  <a:cubicBezTo>
                    <a:pt x="48" y="239"/>
                    <a:pt x="50" y="242"/>
                    <a:pt x="52" y="244"/>
                  </a:cubicBezTo>
                  <a:cubicBezTo>
                    <a:pt x="47" y="247"/>
                    <a:pt x="47" y="257"/>
                    <a:pt x="47" y="266"/>
                  </a:cubicBezTo>
                  <a:cubicBezTo>
                    <a:pt x="47" y="285"/>
                    <a:pt x="44" y="309"/>
                    <a:pt x="55" y="317"/>
                  </a:cubicBezTo>
                  <a:cubicBezTo>
                    <a:pt x="52" y="327"/>
                    <a:pt x="47" y="329"/>
                    <a:pt x="47" y="345"/>
                  </a:cubicBezTo>
                  <a:cubicBezTo>
                    <a:pt x="69" y="345"/>
                    <a:pt x="69" y="340"/>
                    <a:pt x="83" y="335"/>
                  </a:cubicBezTo>
                  <a:cubicBezTo>
                    <a:pt x="80" y="315"/>
                    <a:pt x="59" y="318"/>
                    <a:pt x="59" y="293"/>
                  </a:cubicBezTo>
                  <a:cubicBezTo>
                    <a:pt x="72" y="293"/>
                    <a:pt x="82" y="293"/>
                    <a:pt x="88" y="286"/>
                  </a:cubicBezTo>
                  <a:cubicBezTo>
                    <a:pt x="89" y="286"/>
                    <a:pt x="89" y="286"/>
                    <a:pt x="89" y="286"/>
                  </a:cubicBezTo>
                  <a:cubicBezTo>
                    <a:pt x="78" y="275"/>
                    <a:pt x="74" y="288"/>
                    <a:pt x="59" y="288"/>
                  </a:cubicBezTo>
                  <a:cubicBezTo>
                    <a:pt x="59" y="262"/>
                    <a:pt x="59" y="262"/>
                    <a:pt x="59" y="262"/>
                  </a:cubicBezTo>
                  <a:cubicBezTo>
                    <a:pt x="70" y="262"/>
                    <a:pt x="75" y="260"/>
                    <a:pt x="82" y="257"/>
                  </a:cubicBezTo>
                  <a:cubicBezTo>
                    <a:pt x="82" y="257"/>
                    <a:pt x="82" y="257"/>
                    <a:pt x="82" y="257"/>
                  </a:cubicBezTo>
                  <a:cubicBezTo>
                    <a:pt x="79" y="255"/>
                    <a:pt x="77" y="254"/>
                    <a:pt x="74" y="252"/>
                  </a:cubicBezTo>
                  <a:cubicBezTo>
                    <a:pt x="72" y="255"/>
                    <a:pt x="62" y="262"/>
                    <a:pt x="59" y="256"/>
                  </a:cubicBezTo>
                  <a:cubicBezTo>
                    <a:pt x="55" y="246"/>
                    <a:pt x="71" y="245"/>
                    <a:pt x="77" y="243"/>
                  </a:cubicBezTo>
                  <a:cubicBezTo>
                    <a:pt x="77" y="243"/>
                    <a:pt x="77" y="242"/>
                    <a:pt x="77" y="242"/>
                  </a:cubicBezTo>
                  <a:cubicBezTo>
                    <a:pt x="73" y="241"/>
                    <a:pt x="62" y="242"/>
                    <a:pt x="60" y="239"/>
                  </a:cubicBezTo>
                  <a:cubicBezTo>
                    <a:pt x="59" y="237"/>
                    <a:pt x="59" y="234"/>
                    <a:pt x="59" y="230"/>
                  </a:cubicBezTo>
                  <a:cubicBezTo>
                    <a:pt x="59" y="218"/>
                    <a:pt x="67" y="214"/>
                    <a:pt x="77" y="212"/>
                  </a:cubicBezTo>
                  <a:cubicBezTo>
                    <a:pt x="77" y="212"/>
                    <a:pt x="77" y="212"/>
                    <a:pt x="77" y="211"/>
                  </a:cubicBezTo>
                  <a:cubicBezTo>
                    <a:pt x="73" y="210"/>
                    <a:pt x="62" y="211"/>
                    <a:pt x="60" y="207"/>
                  </a:cubicBezTo>
                  <a:cubicBezTo>
                    <a:pt x="58" y="205"/>
                    <a:pt x="58" y="185"/>
                    <a:pt x="59" y="181"/>
                  </a:cubicBezTo>
                  <a:cubicBezTo>
                    <a:pt x="61" y="174"/>
                    <a:pt x="84" y="157"/>
                    <a:pt x="91" y="148"/>
                  </a:cubicBezTo>
                  <a:cubicBezTo>
                    <a:pt x="94" y="145"/>
                    <a:pt x="97" y="137"/>
                    <a:pt x="102" y="136"/>
                  </a:cubicBezTo>
                  <a:cubicBezTo>
                    <a:pt x="107" y="141"/>
                    <a:pt x="113" y="161"/>
                    <a:pt x="115" y="169"/>
                  </a:cubicBezTo>
                  <a:cubicBezTo>
                    <a:pt x="126" y="169"/>
                    <a:pt x="126" y="169"/>
                    <a:pt x="126" y="169"/>
                  </a:cubicBezTo>
                  <a:cubicBezTo>
                    <a:pt x="121" y="150"/>
                    <a:pt x="114" y="128"/>
                    <a:pt x="90" y="128"/>
                  </a:cubicBezTo>
                  <a:close/>
                  <a:moveTo>
                    <a:pt x="66" y="323"/>
                  </a:moveTo>
                  <a:cubicBezTo>
                    <a:pt x="67" y="321"/>
                    <a:pt x="73" y="328"/>
                    <a:pt x="74" y="331"/>
                  </a:cubicBezTo>
                  <a:cubicBezTo>
                    <a:pt x="71" y="334"/>
                    <a:pt x="65" y="338"/>
                    <a:pt x="60" y="338"/>
                  </a:cubicBezTo>
                  <a:cubicBezTo>
                    <a:pt x="60" y="332"/>
                    <a:pt x="62" y="326"/>
                    <a:pt x="66" y="323"/>
                  </a:cubicBezTo>
                  <a:close/>
                </a:path>
              </a:pathLst>
            </a:custGeom>
            <a:solidFill>
              <a:schemeClr val="tx1">
                <a:lumMod val="50000"/>
                <a:lumOff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5" name="Freeform 248">
              <a:extLst>
                <a:ext uri="{FF2B5EF4-FFF2-40B4-BE49-F238E27FC236}">
                  <a16:creationId xmlns:a16="http://schemas.microsoft.com/office/drawing/2014/main" id="{740F5865-2E2F-B851-A26F-24E9DE8F3622}"/>
                </a:ext>
                <a:ext uri="{C183D7F6-B498-43B3-948B-1728B52AA6E4}">
                  <adec:decorative xmlns:adec="http://schemas.microsoft.com/office/drawing/2017/decorative" val="1"/>
                </a:ext>
              </a:extLst>
            </p:cNvPr>
            <p:cNvSpPr>
              <a:spLocks noEditPoints="1"/>
            </p:cNvSpPr>
            <p:nvPr/>
          </p:nvSpPr>
          <p:spPr bwMode="auto">
            <a:xfrm>
              <a:off x="5044752" y="1098787"/>
              <a:ext cx="1128984" cy="453392"/>
            </a:xfrm>
            <a:custGeom>
              <a:avLst/>
              <a:gdLst>
                <a:gd name="T0" fmla="*/ 323 w 372"/>
                <a:gd name="T1" fmla="*/ 16 h 149"/>
                <a:gd name="T2" fmla="*/ 347 w 372"/>
                <a:gd name="T3" fmla="*/ 7 h 149"/>
                <a:gd name="T4" fmla="*/ 297 w 372"/>
                <a:gd name="T5" fmla="*/ 61 h 149"/>
                <a:gd name="T6" fmla="*/ 255 w 372"/>
                <a:gd name="T7" fmla="*/ 85 h 149"/>
                <a:gd name="T8" fmla="*/ 208 w 372"/>
                <a:gd name="T9" fmla="*/ 43 h 149"/>
                <a:gd name="T10" fmla="*/ 242 w 372"/>
                <a:gd name="T11" fmla="*/ 10 h 149"/>
                <a:gd name="T12" fmla="*/ 206 w 372"/>
                <a:gd name="T13" fmla="*/ 65 h 149"/>
                <a:gd name="T14" fmla="*/ 214 w 372"/>
                <a:gd name="T15" fmla="*/ 80 h 149"/>
                <a:gd name="T16" fmla="*/ 169 w 372"/>
                <a:gd name="T17" fmla="*/ 55 h 149"/>
                <a:gd name="T18" fmla="*/ 163 w 372"/>
                <a:gd name="T19" fmla="*/ 76 h 149"/>
                <a:gd name="T20" fmla="*/ 136 w 372"/>
                <a:gd name="T21" fmla="*/ 129 h 149"/>
                <a:gd name="T22" fmla="*/ 108 w 372"/>
                <a:gd name="T23" fmla="*/ 125 h 149"/>
                <a:gd name="T24" fmla="*/ 138 w 372"/>
                <a:gd name="T25" fmla="*/ 144 h 149"/>
                <a:gd name="T26" fmla="*/ 223 w 372"/>
                <a:gd name="T27" fmla="*/ 80 h 149"/>
                <a:gd name="T28" fmla="*/ 285 w 372"/>
                <a:gd name="T29" fmla="*/ 106 h 149"/>
                <a:gd name="T30" fmla="*/ 303 w 372"/>
                <a:gd name="T31" fmla="*/ 105 h 149"/>
                <a:gd name="T32" fmla="*/ 372 w 372"/>
                <a:gd name="T33" fmla="*/ 107 h 149"/>
                <a:gd name="T34" fmla="*/ 367 w 372"/>
                <a:gd name="T35" fmla="*/ 57 h 149"/>
                <a:gd name="T36" fmla="*/ 363 w 372"/>
                <a:gd name="T37" fmla="*/ 82 h 149"/>
                <a:gd name="T38" fmla="*/ 349 w 372"/>
                <a:gd name="T39" fmla="*/ 81 h 149"/>
                <a:gd name="T40" fmla="*/ 337 w 372"/>
                <a:gd name="T41" fmla="*/ 82 h 149"/>
                <a:gd name="T42" fmla="*/ 302 w 372"/>
                <a:gd name="T43" fmla="*/ 62 h 149"/>
                <a:gd name="T44" fmla="*/ 347 w 372"/>
                <a:gd name="T45" fmla="*/ 20 h 149"/>
                <a:gd name="T46" fmla="*/ 329 w 372"/>
                <a:gd name="T47" fmla="*/ 27 h 149"/>
                <a:gd name="T48" fmla="*/ 334 w 372"/>
                <a:gd name="T49" fmla="*/ 51 h 149"/>
                <a:gd name="T50" fmla="*/ 353 w 372"/>
                <a:gd name="T51" fmla="*/ 45 h 149"/>
                <a:gd name="T52" fmla="*/ 347 w 372"/>
                <a:gd name="T53" fmla="*/ 20 h 149"/>
                <a:gd name="T54" fmla="*/ 104 w 372"/>
                <a:gd name="T55" fmla="*/ 60 h 149"/>
                <a:gd name="T56" fmla="*/ 96 w 372"/>
                <a:gd name="T57" fmla="*/ 49 h 149"/>
                <a:gd name="T58" fmla="*/ 99 w 372"/>
                <a:gd name="T59" fmla="*/ 85 h 149"/>
                <a:gd name="T60" fmla="*/ 35 w 372"/>
                <a:gd name="T61" fmla="*/ 68 h 149"/>
                <a:gd name="T62" fmla="*/ 4 w 372"/>
                <a:gd name="T63" fmla="*/ 120 h 149"/>
                <a:gd name="T64" fmla="*/ 51 w 372"/>
                <a:gd name="T65" fmla="*/ 107 h 149"/>
                <a:gd name="T66" fmla="*/ 90 w 372"/>
                <a:gd name="T67" fmla="*/ 114 h 149"/>
                <a:gd name="T68" fmla="*/ 72 w 372"/>
                <a:gd name="T69" fmla="*/ 122 h 149"/>
                <a:gd name="T70" fmla="*/ 78 w 372"/>
                <a:gd name="T71" fmla="*/ 146 h 149"/>
                <a:gd name="T72" fmla="*/ 96 w 372"/>
                <a:gd name="T73" fmla="*/ 139 h 149"/>
                <a:gd name="T74" fmla="*/ 90 w 372"/>
                <a:gd name="T75"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149">
                  <a:moveTo>
                    <a:pt x="331" y="0"/>
                  </a:moveTo>
                  <a:cubicBezTo>
                    <a:pt x="328" y="6"/>
                    <a:pt x="326" y="11"/>
                    <a:pt x="323" y="16"/>
                  </a:cubicBezTo>
                  <a:cubicBezTo>
                    <a:pt x="328" y="19"/>
                    <a:pt x="333" y="22"/>
                    <a:pt x="338" y="25"/>
                  </a:cubicBezTo>
                  <a:cubicBezTo>
                    <a:pt x="341" y="19"/>
                    <a:pt x="344" y="13"/>
                    <a:pt x="347" y="7"/>
                  </a:cubicBezTo>
                  <a:cubicBezTo>
                    <a:pt x="341" y="5"/>
                    <a:pt x="336" y="2"/>
                    <a:pt x="331" y="0"/>
                  </a:cubicBezTo>
                  <a:close/>
                  <a:moveTo>
                    <a:pt x="297" y="61"/>
                  </a:moveTo>
                  <a:cubicBezTo>
                    <a:pt x="297" y="80"/>
                    <a:pt x="287" y="85"/>
                    <a:pt x="268" y="85"/>
                  </a:cubicBezTo>
                  <a:cubicBezTo>
                    <a:pt x="264" y="85"/>
                    <a:pt x="259" y="85"/>
                    <a:pt x="255" y="85"/>
                  </a:cubicBezTo>
                  <a:cubicBezTo>
                    <a:pt x="248" y="83"/>
                    <a:pt x="211" y="52"/>
                    <a:pt x="209" y="47"/>
                  </a:cubicBezTo>
                  <a:cubicBezTo>
                    <a:pt x="209" y="45"/>
                    <a:pt x="209" y="44"/>
                    <a:pt x="208" y="43"/>
                  </a:cubicBezTo>
                  <a:cubicBezTo>
                    <a:pt x="214" y="37"/>
                    <a:pt x="232" y="31"/>
                    <a:pt x="242" y="30"/>
                  </a:cubicBezTo>
                  <a:cubicBezTo>
                    <a:pt x="242" y="23"/>
                    <a:pt x="242" y="16"/>
                    <a:pt x="242" y="10"/>
                  </a:cubicBezTo>
                  <a:cubicBezTo>
                    <a:pt x="228" y="13"/>
                    <a:pt x="197" y="25"/>
                    <a:pt x="192" y="36"/>
                  </a:cubicBezTo>
                  <a:cubicBezTo>
                    <a:pt x="186" y="50"/>
                    <a:pt x="198" y="71"/>
                    <a:pt x="206" y="65"/>
                  </a:cubicBezTo>
                  <a:cubicBezTo>
                    <a:pt x="210" y="67"/>
                    <a:pt x="213" y="70"/>
                    <a:pt x="215" y="74"/>
                  </a:cubicBezTo>
                  <a:cubicBezTo>
                    <a:pt x="215" y="76"/>
                    <a:pt x="214" y="78"/>
                    <a:pt x="214" y="80"/>
                  </a:cubicBezTo>
                  <a:cubicBezTo>
                    <a:pt x="206" y="85"/>
                    <a:pt x="193" y="85"/>
                    <a:pt x="179" y="85"/>
                  </a:cubicBezTo>
                  <a:cubicBezTo>
                    <a:pt x="179" y="70"/>
                    <a:pt x="173" y="64"/>
                    <a:pt x="169" y="55"/>
                  </a:cubicBezTo>
                  <a:cubicBezTo>
                    <a:pt x="168" y="55"/>
                    <a:pt x="168" y="54"/>
                    <a:pt x="168" y="54"/>
                  </a:cubicBezTo>
                  <a:cubicBezTo>
                    <a:pt x="166" y="62"/>
                    <a:pt x="164" y="69"/>
                    <a:pt x="163" y="76"/>
                  </a:cubicBezTo>
                  <a:cubicBezTo>
                    <a:pt x="167" y="81"/>
                    <a:pt x="175" y="89"/>
                    <a:pt x="172" y="99"/>
                  </a:cubicBezTo>
                  <a:cubicBezTo>
                    <a:pt x="169" y="108"/>
                    <a:pt x="146" y="127"/>
                    <a:pt x="136" y="129"/>
                  </a:cubicBezTo>
                  <a:cubicBezTo>
                    <a:pt x="123" y="132"/>
                    <a:pt x="117" y="124"/>
                    <a:pt x="109" y="121"/>
                  </a:cubicBezTo>
                  <a:cubicBezTo>
                    <a:pt x="109" y="122"/>
                    <a:pt x="108" y="124"/>
                    <a:pt x="108" y="125"/>
                  </a:cubicBezTo>
                  <a:cubicBezTo>
                    <a:pt x="108" y="125"/>
                    <a:pt x="107" y="126"/>
                    <a:pt x="107" y="127"/>
                  </a:cubicBezTo>
                  <a:cubicBezTo>
                    <a:pt x="118" y="131"/>
                    <a:pt x="126" y="140"/>
                    <a:pt x="138" y="144"/>
                  </a:cubicBezTo>
                  <a:cubicBezTo>
                    <a:pt x="157" y="149"/>
                    <a:pt x="180" y="123"/>
                    <a:pt x="179" y="107"/>
                  </a:cubicBezTo>
                  <a:cubicBezTo>
                    <a:pt x="203" y="108"/>
                    <a:pt x="223" y="103"/>
                    <a:pt x="223" y="80"/>
                  </a:cubicBezTo>
                  <a:cubicBezTo>
                    <a:pt x="223" y="80"/>
                    <a:pt x="223" y="80"/>
                    <a:pt x="223" y="80"/>
                  </a:cubicBezTo>
                  <a:cubicBezTo>
                    <a:pt x="230" y="94"/>
                    <a:pt x="257" y="117"/>
                    <a:pt x="285" y="106"/>
                  </a:cubicBezTo>
                  <a:cubicBezTo>
                    <a:pt x="290" y="104"/>
                    <a:pt x="293" y="99"/>
                    <a:pt x="297" y="96"/>
                  </a:cubicBezTo>
                  <a:cubicBezTo>
                    <a:pt x="299" y="99"/>
                    <a:pt x="301" y="102"/>
                    <a:pt x="303" y="105"/>
                  </a:cubicBezTo>
                  <a:cubicBezTo>
                    <a:pt x="313" y="113"/>
                    <a:pt x="339" y="106"/>
                    <a:pt x="345" y="102"/>
                  </a:cubicBezTo>
                  <a:cubicBezTo>
                    <a:pt x="353" y="106"/>
                    <a:pt x="361" y="108"/>
                    <a:pt x="372" y="107"/>
                  </a:cubicBezTo>
                  <a:cubicBezTo>
                    <a:pt x="372" y="89"/>
                    <a:pt x="372" y="71"/>
                    <a:pt x="369" y="57"/>
                  </a:cubicBezTo>
                  <a:cubicBezTo>
                    <a:pt x="368" y="57"/>
                    <a:pt x="368" y="57"/>
                    <a:pt x="367" y="57"/>
                  </a:cubicBezTo>
                  <a:cubicBezTo>
                    <a:pt x="365" y="61"/>
                    <a:pt x="362" y="65"/>
                    <a:pt x="359" y="69"/>
                  </a:cubicBezTo>
                  <a:cubicBezTo>
                    <a:pt x="359" y="75"/>
                    <a:pt x="361" y="78"/>
                    <a:pt x="363" y="82"/>
                  </a:cubicBezTo>
                  <a:cubicBezTo>
                    <a:pt x="363" y="83"/>
                    <a:pt x="363" y="84"/>
                    <a:pt x="363" y="85"/>
                  </a:cubicBezTo>
                  <a:cubicBezTo>
                    <a:pt x="358" y="84"/>
                    <a:pt x="353" y="83"/>
                    <a:pt x="349" y="81"/>
                  </a:cubicBezTo>
                  <a:cubicBezTo>
                    <a:pt x="349" y="75"/>
                    <a:pt x="349" y="68"/>
                    <a:pt x="349" y="61"/>
                  </a:cubicBezTo>
                  <a:cubicBezTo>
                    <a:pt x="340" y="68"/>
                    <a:pt x="344" y="77"/>
                    <a:pt x="337" y="82"/>
                  </a:cubicBezTo>
                  <a:cubicBezTo>
                    <a:pt x="333" y="85"/>
                    <a:pt x="328" y="85"/>
                    <a:pt x="321" y="85"/>
                  </a:cubicBezTo>
                  <a:cubicBezTo>
                    <a:pt x="302" y="85"/>
                    <a:pt x="302" y="80"/>
                    <a:pt x="302" y="62"/>
                  </a:cubicBezTo>
                  <a:cubicBezTo>
                    <a:pt x="300" y="62"/>
                    <a:pt x="299" y="61"/>
                    <a:pt x="297" y="61"/>
                  </a:cubicBezTo>
                  <a:close/>
                  <a:moveTo>
                    <a:pt x="347" y="20"/>
                  </a:moveTo>
                  <a:cubicBezTo>
                    <a:pt x="345" y="24"/>
                    <a:pt x="343" y="28"/>
                    <a:pt x="341" y="32"/>
                  </a:cubicBezTo>
                  <a:cubicBezTo>
                    <a:pt x="338" y="33"/>
                    <a:pt x="332" y="28"/>
                    <a:pt x="329" y="27"/>
                  </a:cubicBezTo>
                  <a:cubicBezTo>
                    <a:pt x="325" y="30"/>
                    <a:pt x="321" y="39"/>
                    <a:pt x="320" y="44"/>
                  </a:cubicBezTo>
                  <a:cubicBezTo>
                    <a:pt x="325" y="46"/>
                    <a:pt x="329" y="49"/>
                    <a:pt x="334" y="51"/>
                  </a:cubicBezTo>
                  <a:cubicBezTo>
                    <a:pt x="336" y="47"/>
                    <a:pt x="339" y="43"/>
                    <a:pt x="341" y="39"/>
                  </a:cubicBezTo>
                  <a:cubicBezTo>
                    <a:pt x="345" y="39"/>
                    <a:pt x="349" y="43"/>
                    <a:pt x="353" y="45"/>
                  </a:cubicBezTo>
                  <a:cubicBezTo>
                    <a:pt x="356" y="40"/>
                    <a:pt x="359" y="34"/>
                    <a:pt x="363" y="29"/>
                  </a:cubicBezTo>
                  <a:cubicBezTo>
                    <a:pt x="357" y="26"/>
                    <a:pt x="352" y="23"/>
                    <a:pt x="347" y="20"/>
                  </a:cubicBezTo>
                  <a:close/>
                  <a:moveTo>
                    <a:pt x="107" y="107"/>
                  </a:moveTo>
                  <a:cubicBezTo>
                    <a:pt x="107" y="91"/>
                    <a:pt x="109" y="72"/>
                    <a:pt x="104" y="60"/>
                  </a:cubicBezTo>
                  <a:cubicBezTo>
                    <a:pt x="102" y="57"/>
                    <a:pt x="100" y="53"/>
                    <a:pt x="97" y="50"/>
                  </a:cubicBezTo>
                  <a:cubicBezTo>
                    <a:pt x="97" y="49"/>
                    <a:pt x="97" y="49"/>
                    <a:pt x="96" y="49"/>
                  </a:cubicBezTo>
                  <a:cubicBezTo>
                    <a:pt x="94" y="55"/>
                    <a:pt x="92" y="62"/>
                    <a:pt x="90" y="68"/>
                  </a:cubicBezTo>
                  <a:cubicBezTo>
                    <a:pt x="93" y="73"/>
                    <a:pt x="98" y="77"/>
                    <a:pt x="99" y="85"/>
                  </a:cubicBezTo>
                  <a:cubicBezTo>
                    <a:pt x="85" y="85"/>
                    <a:pt x="70" y="85"/>
                    <a:pt x="56" y="85"/>
                  </a:cubicBezTo>
                  <a:cubicBezTo>
                    <a:pt x="47" y="82"/>
                    <a:pt x="43" y="72"/>
                    <a:pt x="35" y="68"/>
                  </a:cubicBezTo>
                  <a:cubicBezTo>
                    <a:pt x="20" y="68"/>
                    <a:pt x="2" y="104"/>
                    <a:pt x="0" y="118"/>
                  </a:cubicBezTo>
                  <a:cubicBezTo>
                    <a:pt x="1" y="119"/>
                    <a:pt x="3" y="119"/>
                    <a:pt x="4" y="120"/>
                  </a:cubicBezTo>
                  <a:cubicBezTo>
                    <a:pt x="10" y="112"/>
                    <a:pt x="17" y="87"/>
                    <a:pt x="31" y="90"/>
                  </a:cubicBezTo>
                  <a:cubicBezTo>
                    <a:pt x="39" y="94"/>
                    <a:pt x="42" y="104"/>
                    <a:pt x="51" y="107"/>
                  </a:cubicBezTo>
                  <a:cubicBezTo>
                    <a:pt x="70" y="107"/>
                    <a:pt x="89" y="107"/>
                    <a:pt x="107" y="107"/>
                  </a:cubicBezTo>
                  <a:close/>
                  <a:moveTo>
                    <a:pt x="90" y="114"/>
                  </a:moveTo>
                  <a:cubicBezTo>
                    <a:pt x="88" y="119"/>
                    <a:pt x="86" y="123"/>
                    <a:pt x="84" y="127"/>
                  </a:cubicBezTo>
                  <a:cubicBezTo>
                    <a:pt x="80" y="125"/>
                    <a:pt x="76" y="123"/>
                    <a:pt x="72" y="122"/>
                  </a:cubicBezTo>
                  <a:cubicBezTo>
                    <a:pt x="69" y="127"/>
                    <a:pt x="66" y="132"/>
                    <a:pt x="63" y="137"/>
                  </a:cubicBezTo>
                  <a:cubicBezTo>
                    <a:pt x="68" y="140"/>
                    <a:pt x="73" y="143"/>
                    <a:pt x="78" y="146"/>
                  </a:cubicBezTo>
                  <a:cubicBezTo>
                    <a:pt x="80" y="141"/>
                    <a:pt x="82" y="137"/>
                    <a:pt x="84" y="132"/>
                  </a:cubicBezTo>
                  <a:cubicBezTo>
                    <a:pt x="89" y="134"/>
                    <a:pt x="92" y="137"/>
                    <a:pt x="96" y="139"/>
                  </a:cubicBezTo>
                  <a:cubicBezTo>
                    <a:pt x="100" y="133"/>
                    <a:pt x="103" y="128"/>
                    <a:pt x="106" y="123"/>
                  </a:cubicBezTo>
                  <a:cubicBezTo>
                    <a:pt x="101" y="120"/>
                    <a:pt x="95" y="117"/>
                    <a:pt x="90" y="114"/>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4364C"/>
                </a:solidFill>
                <a:effectLst/>
                <a:uLnTx/>
                <a:uFillTx/>
                <a:latin typeface="Segoe UI Semilight"/>
                <a:ea typeface="+mn-ea"/>
                <a:cs typeface="+mn-cs"/>
              </a:endParaRPr>
            </a:p>
          </p:txBody>
        </p:sp>
        <p:sp>
          <p:nvSpPr>
            <p:cNvPr id="36" name="Freeform 249">
              <a:extLst>
                <a:ext uri="{FF2B5EF4-FFF2-40B4-BE49-F238E27FC236}">
                  <a16:creationId xmlns:a16="http://schemas.microsoft.com/office/drawing/2014/main" id="{C1C840F7-786D-CCAB-948E-49848CF1AD7D}"/>
                </a:ext>
                <a:ext uri="{C183D7F6-B498-43B3-948B-1728B52AA6E4}">
                  <adec:decorative xmlns:adec="http://schemas.microsoft.com/office/drawing/2017/decorative" val="1"/>
                </a:ext>
              </a:extLst>
            </p:cNvPr>
            <p:cNvSpPr>
              <a:spLocks noEditPoints="1"/>
            </p:cNvSpPr>
            <p:nvPr/>
          </p:nvSpPr>
          <p:spPr bwMode="auto">
            <a:xfrm>
              <a:off x="3194833" y="4302119"/>
              <a:ext cx="669171" cy="431557"/>
            </a:xfrm>
            <a:custGeom>
              <a:avLst/>
              <a:gdLst>
                <a:gd name="T0" fmla="*/ 0 w 220"/>
                <a:gd name="T1" fmla="*/ 13 h 142"/>
                <a:gd name="T2" fmla="*/ 22 w 220"/>
                <a:gd name="T3" fmla="*/ 0 h 142"/>
                <a:gd name="T4" fmla="*/ 0 w 220"/>
                <a:gd name="T5" fmla="*/ 23 h 142"/>
                <a:gd name="T6" fmla="*/ 22 w 220"/>
                <a:gd name="T7" fmla="*/ 10 h 142"/>
                <a:gd name="T8" fmla="*/ 8 w 220"/>
                <a:gd name="T9" fmla="*/ 39 h 142"/>
                <a:gd name="T10" fmla="*/ 13 w 220"/>
                <a:gd name="T11" fmla="*/ 110 h 142"/>
                <a:gd name="T12" fmla="*/ 20 w 220"/>
                <a:gd name="T13" fmla="*/ 96 h 142"/>
                <a:gd name="T14" fmla="*/ 14 w 220"/>
                <a:gd name="T15" fmla="*/ 27 h 142"/>
                <a:gd name="T16" fmla="*/ 217 w 220"/>
                <a:gd name="T17" fmla="*/ 80 h 142"/>
                <a:gd name="T18" fmla="*/ 213 w 220"/>
                <a:gd name="T19" fmla="*/ 73 h 142"/>
                <a:gd name="T20" fmla="*/ 213 w 220"/>
                <a:gd name="T21" fmla="*/ 96 h 142"/>
                <a:gd name="T22" fmla="*/ 198 w 220"/>
                <a:gd name="T23" fmla="*/ 78 h 142"/>
                <a:gd name="T24" fmla="*/ 186 w 220"/>
                <a:gd name="T25" fmla="*/ 97 h 142"/>
                <a:gd name="T26" fmla="*/ 167 w 220"/>
                <a:gd name="T27" fmla="*/ 78 h 142"/>
                <a:gd name="T28" fmla="*/ 140 w 220"/>
                <a:gd name="T29" fmla="*/ 86 h 142"/>
                <a:gd name="T30" fmla="*/ 106 w 220"/>
                <a:gd name="T31" fmla="*/ 53 h 142"/>
                <a:gd name="T32" fmla="*/ 139 w 220"/>
                <a:gd name="T33" fmla="*/ 28 h 142"/>
                <a:gd name="T34" fmla="*/ 108 w 220"/>
                <a:gd name="T35" fmla="*/ 74 h 142"/>
                <a:gd name="T36" fmla="*/ 138 w 220"/>
                <a:gd name="T37" fmla="*/ 95 h 142"/>
                <a:gd name="T38" fmla="*/ 92 w 220"/>
                <a:gd name="T39" fmla="*/ 97 h 142"/>
                <a:gd name="T40" fmla="*/ 81 w 220"/>
                <a:gd name="T41" fmla="*/ 69 h 142"/>
                <a:gd name="T42" fmla="*/ 87 w 220"/>
                <a:gd name="T43" fmla="*/ 104 h 142"/>
                <a:gd name="T44" fmla="*/ 31 w 220"/>
                <a:gd name="T45" fmla="*/ 132 h 142"/>
                <a:gd name="T46" fmla="*/ 63 w 220"/>
                <a:gd name="T47" fmla="*/ 140 h 142"/>
                <a:gd name="T48" fmla="*/ 168 w 220"/>
                <a:gd name="T49" fmla="*/ 104 h 142"/>
                <a:gd name="T50" fmla="*/ 218 w 220"/>
                <a:gd name="T51" fmla="*/ 108 h 142"/>
                <a:gd name="T52" fmla="*/ 184 w 220"/>
                <a:gd name="T53" fmla="*/ 40 h 142"/>
                <a:gd name="T54" fmla="*/ 199 w 220"/>
                <a:gd name="T55" fmla="*/ 36 h 142"/>
                <a:gd name="T56" fmla="*/ 201 w 220"/>
                <a:gd name="T57" fmla="*/ 42 h 142"/>
                <a:gd name="T58" fmla="*/ 207 w 220"/>
                <a:gd name="T59" fmla="*/ 57 h 142"/>
                <a:gd name="T60" fmla="*/ 201 w 220"/>
                <a:gd name="T61" fmla="*/ 42 h 142"/>
                <a:gd name="T62" fmla="*/ 181 w 220"/>
                <a:gd name="T63" fmla="*/ 58 h 142"/>
                <a:gd name="T64" fmla="*/ 197 w 220"/>
                <a:gd name="T65" fmla="*/ 5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0" h="142">
                  <a:moveTo>
                    <a:pt x="22" y="0"/>
                  </a:moveTo>
                  <a:cubicBezTo>
                    <a:pt x="15" y="4"/>
                    <a:pt x="2" y="4"/>
                    <a:pt x="0" y="13"/>
                  </a:cubicBezTo>
                  <a:cubicBezTo>
                    <a:pt x="8" y="11"/>
                    <a:pt x="18" y="7"/>
                    <a:pt x="23" y="2"/>
                  </a:cubicBezTo>
                  <a:cubicBezTo>
                    <a:pt x="22" y="0"/>
                    <a:pt x="23" y="1"/>
                    <a:pt x="22" y="0"/>
                  </a:cubicBezTo>
                  <a:close/>
                  <a:moveTo>
                    <a:pt x="22" y="10"/>
                  </a:moveTo>
                  <a:cubicBezTo>
                    <a:pt x="15" y="14"/>
                    <a:pt x="2" y="14"/>
                    <a:pt x="0" y="23"/>
                  </a:cubicBezTo>
                  <a:cubicBezTo>
                    <a:pt x="6" y="22"/>
                    <a:pt x="19" y="18"/>
                    <a:pt x="22" y="13"/>
                  </a:cubicBezTo>
                  <a:cubicBezTo>
                    <a:pt x="23" y="12"/>
                    <a:pt x="23" y="11"/>
                    <a:pt x="22" y="10"/>
                  </a:cubicBezTo>
                  <a:close/>
                  <a:moveTo>
                    <a:pt x="14" y="27"/>
                  </a:moveTo>
                  <a:cubicBezTo>
                    <a:pt x="11" y="31"/>
                    <a:pt x="10" y="35"/>
                    <a:pt x="8" y="39"/>
                  </a:cubicBezTo>
                  <a:cubicBezTo>
                    <a:pt x="9" y="46"/>
                    <a:pt x="9" y="54"/>
                    <a:pt x="10" y="61"/>
                  </a:cubicBezTo>
                  <a:cubicBezTo>
                    <a:pt x="13" y="77"/>
                    <a:pt x="14" y="93"/>
                    <a:pt x="13" y="110"/>
                  </a:cubicBezTo>
                  <a:cubicBezTo>
                    <a:pt x="13" y="110"/>
                    <a:pt x="14" y="110"/>
                    <a:pt x="14" y="110"/>
                  </a:cubicBezTo>
                  <a:cubicBezTo>
                    <a:pt x="16" y="105"/>
                    <a:pt x="19" y="102"/>
                    <a:pt x="20" y="96"/>
                  </a:cubicBezTo>
                  <a:cubicBezTo>
                    <a:pt x="23" y="83"/>
                    <a:pt x="18" y="58"/>
                    <a:pt x="16" y="46"/>
                  </a:cubicBezTo>
                  <a:cubicBezTo>
                    <a:pt x="15" y="40"/>
                    <a:pt x="14" y="34"/>
                    <a:pt x="14" y="27"/>
                  </a:cubicBezTo>
                  <a:close/>
                  <a:moveTo>
                    <a:pt x="218" y="108"/>
                  </a:moveTo>
                  <a:cubicBezTo>
                    <a:pt x="218" y="99"/>
                    <a:pt x="220" y="87"/>
                    <a:pt x="217" y="80"/>
                  </a:cubicBezTo>
                  <a:cubicBezTo>
                    <a:pt x="216" y="78"/>
                    <a:pt x="215" y="76"/>
                    <a:pt x="213" y="73"/>
                  </a:cubicBezTo>
                  <a:cubicBezTo>
                    <a:pt x="213" y="73"/>
                    <a:pt x="213" y="73"/>
                    <a:pt x="213" y="73"/>
                  </a:cubicBezTo>
                  <a:cubicBezTo>
                    <a:pt x="212" y="76"/>
                    <a:pt x="210" y="78"/>
                    <a:pt x="209" y="81"/>
                  </a:cubicBezTo>
                  <a:cubicBezTo>
                    <a:pt x="211" y="83"/>
                    <a:pt x="219" y="93"/>
                    <a:pt x="213" y="96"/>
                  </a:cubicBezTo>
                  <a:cubicBezTo>
                    <a:pt x="202" y="101"/>
                    <a:pt x="202" y="84"/>
                    <a:pt x="199" y="78"/>
                  </a:cubicBezTo>
                  <a:cubicBezTo>
                    <a:pt x="199" y="78"/>
                    <a:pt x="199" y="78"/>
                    <a:pt x="198" y="78"/>
                  </a:cubicBezTo>
                  <a:cubicBezTo>
                    <a:pt x="197" y="82"/>
                    <a:pt x="198" y="93"/>
                    <a:pt x="195" y="95"/>
                  </a:cubicBezTo>
                  <a:cubicBezTo>
                    <a:pt x="193" y="97"/>
                    <a:pt x="189" y="97"/>
                    <a:pt x="186" y="97"/>
                  </a:cubicBezTo>
                  <a:cubicBezTo>
                    <a:pt x="174" y="97"/>
                    <a:pt x="169" y="88"/>
                    <a:pt x="168" y="78"/>
                  </a:cubicBezTo>
                  <a:cubicBezTo>
                    <a:pt x="167" y="78"/>
                    <a:pt x="167" y="78"/>
                    <a:pt x="167" y="78"/>
                  </a:cubicBezTo>
                  <a:cubicBezTo>
                    <a:pt x="161" y="93"/>
                    <a:pt x="171" y="97"/>
                    <a:pt x="146" y="97"/>
                  </a:cubicBezTo>
                  <a:cubicBezTo>
                    <a:pt x="144" y="93"/>
                    <a:pt x="142" y="90"/>
                    <a:pt x="140" y="86"/>
                  </a:cubicBezTo>
                  <a:cubicBezTo>
                    <a:pt x="134" y="78"/>
                    <a:pt x="127" y="71"/>
                    <a:pt x="119" y="65"/>
                  </a:cubicBezTo>
                  <a:cubicBezTo>
                    <a:pt x="115" y="62"/>
                    <a:pt x="107" y="58"/>
                    <a:pt x="106" y="53"/>
                  </a:cubicBezTo>
                  <a:cubicBezTo>
                    <a:pt x="110" y="47"/>
                    <a:pt x="131" y="41"/>
                    <a:pt x="139" y="39"/>
                  </a:cubicBezTo>
                  <a:cubicBezTo>
                    <a:pt x="139" y="35"/>
                    <a:pt x="139" y="32"/>
                    <a:pt x="139" y="28"/>
                  </a:cubicBezTo>
                  <a:cubicBezTo>
                    <a:pt x="120" y="33"/>
                    <a:pt x="97" y="40"/>
                    <a:pt x="98" y="65"/>
                  </a:cubicBezTo>
                  <a:cubicBezTo>
                    <a:pt x="100" y="68"/>
                    <a:pt x="104" y="72"/>
                    <a:pt x="108" y="74"/>
                  </a:cubicBezTo>
                  <a:cubicBezTo>
                    <a:pt x="110" y="75"/>
                    <a:pt x="110" y="75"/>
                    <a:pt x="111" y="73"/>
                  </a:cubicBezTo>
                  <a:cubicBezTo>
                    <a:pt x="123" y="77"/>
                    <a:pt x="129" y="88"/>
                    <a:pt x="138" y="95"/>
                  </a:cubicBezTo>
                  <a:cubicBezTo>
                    <a:pt x="138" y="96"/>
                    <a:pt x="138" y="96"/>
                    <a:pt x="138" y="97"/>
                  </a:cubicBezTo>
                  <a:cubicBezTo>
                    <a:pt x="123" y="97"/>
                    <a:pt x="107" y="97"/>
                    <a:pt x="92" y="97"/>
                  </a:cubicBezTo>
                  <a:cubicBezTo>
                    <a:pt x="92" y="83"/>
                    <a:pt x="88" y="79"/>
                    <a:pt x="84" y="71"/>
                  </a:cubicBezTo>
                  <a:cubicBezTo>
                    <a:pt x="83" y="71"/>
                    <a:pt x="82" y="70"/>
                    <a:pt x="81" y="69"/>
                  </a:cubicBezTo>
                  <a:cubicBezTo>
                    <a:pt x="80" y="73"/>
                    <a:pt x="79" y="76"/>
                    <a:pt x="77" y="80"/>
                  </a:cubicBezTo>
                  <a:cubicBezTo>
                    <a:pt x="81" y="85"/>
                    <a:pt x="90" y="93"/>
                    <a:pt x="87" y="104"/>
                  </a:cubicBezTo>
                  <a:cubicBezTo>
                    <a:pt x="83" y="123"/>
                    <a:pt x="56" y="138"/>
                    <a:pt x="32" y="129"/>
                  </a:cubicBezTo>
                  <a:cubicBezTo>
                    <a:pt x="31" y="130"/>
                    <a:pt x="31" y="131"/>
                    <a:pt x="31" y="132"/>
                  </a:cubicBezTo>
                  <a:cubicBezTo>
                    <a:pt x="35" y="133"/>
                    <a:pt x="38" y="135"/>
                    <a:pt x="42" y="136"/>
                  </a:cubicBezTo>
                  <a:cubicBezTo>
                    <a:pt x="47" y="138"/>
                    <a:pt x="55" y="142"/>
                    <a:pt x="63" y="140"/>
                  </a:cubicBezTo>
                  <a:cubicBezTo>
                    <a:pt x="74" y="138"/>
                    <a:pt x="92" y="122"/>
                    <a:pt x="92" y="108"/>
                  </a:cubicBezTo>
                  <a:cubicBezTo>
                    <a:pt x="113" y="108"/>
                    <a:pt x="156" y="112"/>
                    <a:pt x="168" y="104"/>
                  </a:cubicBezTo>
                  <a:cubicBezTo>
                    <a:pt x="176" y="108"/>
                    <a:pt x="194" y="111"/>
                    <a:pt x="200" y="104"/>
                  </a:cubicBezTo>
                  <a:cubicBezTo>
                    <a:pt x="203" y="108"/>
                    <a:pt x="211" y="108"/>
                    <a:pt x="218" y="108"/>
                  </a:cubicBezTo>
                  <a:close/>
                  <a:moveTo>
                    <a:pt x="188" y="31"/>
                  </a:moveTo>
                  <a:cubicBezTo>
                    <a:pt x="187" y="34"/>
                    <a:pt x="185" y="37"/>
                    <a:pt x="184" y="40"/>
                  </a:cubicBezTo>
                  <a:cubicBezTo>
                    <a:pt x="187" y="42"/>
                    <a:pt x="191" y="44"/>
                    <a:pt x="194" y="46"/>
                  </a:cubicBezTo>
                  <a:cubicBezTo>
                    <a:pt x="196" y="42"/>
                    <a:pt x="198" y="39"/>
                    <a:pt x="199" y="36"/>
                  </a:cubicBezTo>
                  <a:cubicBezTo>
                    <a:pt x="195" y="34"/>
                    <a:pt x="192" y="32"/>
                    <a:pt x="188" y="31"/>
                  </a:cubicBezTo>
                  <a:close/>
                  <a:moveTo>
                    <a:pt x="201" y="42"/>
                  </a:moveTo>
                  <a:cubicBezTo>
                    <a:pt x="199" y="45"/>
                    <a:pt x="198" y="48"/>
                    <a:pt x="196" y="51"/>
                  </a:cubicBezTo>
                  <a:cubicBezTo>
                    <a:pt x="200" y="53"/>
                    <a:pt x="203" y="55"/>
                    <a:pt x="207" y="57"/>
                  </a:cubicBezTo>
                  <a:cubicBezTo>
                    <a:pt x="208" y="54"/>
                    <a:pt x="210" y="51"/>
                    <a:pt x="212" y="47"/>
                  </a:cubicBezTo>
                  <a:cubicBezTo>
                    <a:pt x="208" y="46"/>
                    <a:pt x="204" y="44"/>
                    <a:pt x="201" y="42"/>
                  </a:cubicBezTo>
                  <a:close/>
                  <a:moveTo>
                    <a:pt x="186" y="48"/>
                  </a:moveTo>
                  <a:cubicBezTo>
                    <a:pt x="184" y="52"/>
                    <a:pt x="183" y="55"/>
                    <a:pt x="181" y="58"/>
                  </a:cubicBezTo>
                  <a:cubicBezTo>
                    <a:pt x="185" y="60"/>
                    <a:pt x="188" y="62"/>
                    <a:pt x="192" y="63"/>
                  </a:cubicBezTo>
                  <a:cubicBezTo>
                    <a:pt x="193" y="60"/>
                    <a:pt x="195" y="57"/>
                    <a:pt x="197" y="53"/>
                  </a:cubicBezTo>
                  <a:cubicBezTo>
                    <a:pt x="193" y="52"/>
                    <a:pt x="189" y="50"/>
                    <a:pt x="186" y="48"/>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7" name="Freeform 250">
              <a:extLst>
                <a:ext uri="{FF2B5EF4-FFF2-40B4-BE49-F238E27FC236}">
                  <a16:creationId xmlns:a16="http://schemas.microsoft.com/office/drawing/2014/main" id="{1CD79BAB-AEB4-F238-84ED-93AA58F88131}"/>
                </a:ext>
                <a:ext uri="{C183D7F6-B498-43B3-948B-1728B52AA6E4}">
                  <adec:decorative xmlns:adec="http://schemas.microsoft.com/office/drawing/2017/decorative" val="1"/>
                </a:ext>
              </a:extLst>
            </p:cNvPr>
            <p:cNvSpPr>
              <a:spLocks noEditPoints="1"/>
            </p:cNvSpPr>
            <p:nvPr/>
          </p:nvSpPr>
          <p:spPr bwMode="auto">
            <a:xfrm>
              <a:off x="6286327" y="4213039"/>
              <a:ext cx="883665" cy="288989"/>
            </a:xfrm>
            <a:custGeom>
              <a:avLst/>
              <a:gdLst>
                <a:gd name="T0" fmla="*/ 42 w 291"/>
                <a:gd name="T1" fmla="*/ 54 h 95"/>
                <a:gd name="T2" fmla="*/ 80 w 291"/>
                <a:gd name="T3" fmla="*/ 59 h 95"/>
                <a:gd name="T4" fmla="*/ 41 w 291"/>
                <a:gd name="T5" fmla="*/ 82 h 95"/>
                <a:gd name="T6" fmla="*/ 6 w 291"/>
                <a:gd name="T7" fmla="*/ 72 h 95"/>
                <a:gd name="T8" fmla="*/ 31 w 291"/>
                <a:gd name="T9" fmla="*/ 20 h 95"/>
                <a:gd name="T10" fmla="*/ 30 w 291"/>
                <a:gd name="T11" fmla="*/ 21 h 95"/>
                <a:gd name="T12" fmla="*/ 28 w 291"/>
                <a:gd name="T13" fmla="*/ 16 h 95"/>
                <a:gd name="T14" fmla="*/ 38 w 291"/>
                <a:gd name="T15" fmla="*/ 15 h 95"/>
                <a:gd name="T16" fmla="*/ 76 w 291"/>
                <a:gd name="T17" fmla="*/ 19 h 95"/>
                <a:gd name="T18" fmla="*/ 37 w 291"/>
                <a:gd name="T19" fmla="*/ 40 h 95"/>
                <a:gd name="T20" fmla="*/ 34 w 291"/>
                <a:gd name="T21" fmla="*/ 62 h 95"/>
                <a:gd name="T22" fmla="*/ 32 w 291"/>
                <a:gd name="T23" fmla="*/ 63 h 95"/>
                <a:gd name="T24" fmla="*/ 106 w 291"/>
                <a:gd name="T25" fmla="*/ 3 h 95"/>
                <a:gd name="T26" fmla="*/ 125 w 291"/>
                <a:gd name="T27" fmla="*/ 14 h 95"/>
                <a:gd name="T28" fmla="*/ 96 w 291"/>
                <a:gd name="T29" fmla="*/ 18 h 95"/>
                <a:gd name="T30" fmla="*/ 100 w 291"/>
                <a:gd name="T31" fmla="*/ 31 h 95"/>
                <a:gd name="T32" fmla="*/ 111 w 291"/>
                <a:gd name="T33" fmla="*/ 34 h 95"/>
                <a:gd name="T34" fmla="*/ 101 w 291"/>
                <a:gd name="T35" fmla="*/ 46 h 95"/>
                <a:gd name="T36" fmla="*/ 112 w 291"/>
                <a:gd name="T37" fmla="*/ 49 h 95"/>
                <a:gd name="T38" fmla="*/ 127 w 291"/>
                <a:gd name="T39" fmla="*/ 61 h 95"/>
                <a:gd name="T40" fmla="*/ 102 w 291"/>
                <a:gd name="T41" fmla="*/ 57 h 95"/>
                <a:gd name="T42" fmla="*/ 107 w 291"/>
                <a:gd name="T43" fmla="*/ 82 h 95"/>
                <a:gd name="T44" fmla="*/ 125 w 291"/>
                <a:gd name="T45" fmla="*/ 64 h 95"/>
                <a:gd name="T46" fmla="*/ 107 w 291"/>
                <a:gd name="T47" fmla="*/ 63 h 95"/>
                <a:gd name="T48" fmla="*/ 160 w 291"/>
                <a:gd name="T49" fmla="*/ 16 h 95"/>
                <a:gd name="T50" fmla="*/ 147 w 291"/>
                <a:gd name="T51" fmla="*/ 9 h 95"/>
                <a:gd name="T52" fmla="*/ 138 w 291"/>
                <a:gd name="T53" fmla="*/ 16 h 95"/>
                <a:gd name="T54" fmla="*/ 130 w 291"/>
                <a:gd name="T55" fmla="*/ 59 h 95"/>
                <a:gd name="T56" fmla="*/ 121 w 291"/>
                <a:gd name="T57" fmla="*/ 92 h 95"/>
                <a:gd name="T58" fmla="*/ 141 w 291"/>
                <a:gd name="T59" fmla="*/ 85 h 95"/>
                <a:gd name="T60" fmla="*/ 157 w 291"/>
                <a:gd name="T61" fmla="*/ 19 h 95"/>
                <a:gd name="T62" fmla="*/ 138 w 291"/>
                <a:gd name="T63" fmla="*/ 29 h 95"/>
                <a:gd name="T64" fmla="*/ 138 w 291"/>
                <a:gd name="T65" fmla="*/ 42 h 95"/>
                <a:gd name="T66" fmla="*/ 138 w 291"/>
                <a:gd name="T67" fmla="*/ 44 h 95"/>
                <a:gd name="T68" fmla="*/ 181 w 291"/>
                <a:gd name="T69" fmla="*/ 29 h 95"/>
                <a:gd name="T70" fmla="*/ 181 w 291"/>
                <a:gd name="T71" fmla="*/ 85 h 95"/>
                <a:gd name="T72" fmla="*/ 174 w 291"/>
                <a:gd name="T73" fmla="*/ 85 h 95"/>
                <a:gd name="T74" fmla="*/ 162 w 291"/>
                <a:gd name="T75" fmla="*/ 33 h 95"/>
                <a:gd name="T76" fmla="*/ 184 w 291"/>
                <a:gd name="T77" fmla="*/ 6 h 95"/>
                <a:gd name="T78" fmla="*/ 161 w 291"/>
                <a:gd name="T79" fmla="*/ 41 h 95"/>
                <a:gd name="T80" fmla="*/ 167 w 291"/>
                <a:gd name="T81" fmla="*/ 56 h 95"/>
                <a:gd name="T82" fmla="*/ 232 w 291"/>
                <a:gd name="T83" fmla="*/ 15 h 95"/>
                <a:gd name="T84" fmla="*/ 201 w 291"/>
                <a:gd name="T85" fmla="*/ 10 h 95"/>
                <a:gd name="T86" fmla="*/ 206 w 291"/>
                <a:gd name="T87" fmla="*/ 72 h 95"/>
                <a:gd name="T88" fmla="*/ 228 w 291"/>
                <a:gd name="T89" fmla="*/ 17 h 95"/>
                <a:gd name="T90" fmla="*/ 223 w 291"/>
                <a:gd name="T91" fmla="*/ 41 h 95"/>
                <a:gd name="T92" fmla="*/ 206 w 291"/>
                <a:gd name="T93" fmla="*/ 44 h 95"/>
                <a:gd name="T94" fmla="*/ 282 w 291"/>
                <a:gd name="T95" fmla="*/ 26 h 95"/>
                <a:gd name="T96" fmla="*/ 291 w 291"/>
                <a:gd name="T97" fmla="*/ 12 h 95"/>
                <a:gd name="T98" fmla="*/ 233 w 291"/>
                <a:gd name="T99" fmla="*/ 12 h 95"/>
                <a:gd name="T100" fmla="*/ 240 w 291"/>
                <a:gd name="T101" fmla="*/ 30 h 95"/>
                <a:gd name="T102" fmla="*/ 240 w 291"/>
                <a:gd name="T103" fmla="*/ 90 h 95"/>
                <a:gd name="T104" fmla="*/ 285 w 291"/>
                <a:gd name="T105" fmla="*/ 89 h 95"/>
                <a:gd name="T106" fmla="*/ 255 w 291"/>
                <a:gd name="T107" fmla="*/ 12 h 95"/>
                <a:gd name="T108" fmla="*/ 255 w 291"/>
                <a:gd name="T109" fmla="*/ 12 h 95"/>
                <a:gd name="T110" fmla="*/ 240 w 291"/>
                <a:gd name="T111" fmla="*/ 69 h 95"/>
                <a:gd name="T112" fmla="*/ 252 w 291"/>
                <a:gd name="T113" fmla="*/ 55 h 95"/>
                <a:gd name="T114" fmla="*/ 269 w 291"/>
                <a:gd name="T115" fmla="*/ 64 h 95"/>
                <a:gd name="T116" fmla="*/ 271 w 291"/>
                <a:gd name="T117" fmla="*/ 59 h 95"/>
                <a:gd name="T118" fmla="*/ 279 w 291"/>
                <a:gd name="T119"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95">
                  <a:moveTo>
                    <a:pt x="46" y="41"/>
                  </a:moveTo>
                  <a:cubicBezTo>
                    <a:pt x="53" y="48"/>
                    <a:pt x="53" y="48"/>
                    <a:pt x="53" y="48"/>
                  </a:cubicBezTo>
                  <a:cubicBezTo>
                    <a:pt x="49" y="49"/>
                    <a:pt x="49" y="49"/>
                    <a:pt x="49" y="49"/>
                  </a:cubicBezTo>
                  <a:cubicBezTo>
                    <a:pt x="48" y="49"/>
                    <a:pt x="46" y="51"/>
                    <a:pt x="42" y="54"/>
                  </a:cubicBezTo>
                  <a:cubicBezTo>
                    <a:pt x="74" y="54"/>
                    <a:pt x="74" y="54"/>
                    <a:pt x="74" y="54"/>
                  </a:cubicBezTo>
                  <a:cubicBezTo>
                    <a:pt x="78" y="50"/>
                    <a:pt x="78" y="50"/>
                    <a:pt x="78" y="50"/>
                  </a:cubicBezTo>
                  <a:cubicBezTo>
                    <a:pt x="85" y="56"/>
                    <a:pt x="85" y="56"/>
                    <a:pt x="85" y="56"/>
                  </a:cubicBezTo>
                  <a:cubicBezTo>
                    <a:pt x="80" y="59"/>
                    <a:pt x="80" y="59"/>
                    <a:pt x="80" y="59"/>
                  </a:cubicBezTo>
                  <a:cubicBezTo>
                    <a:pt x="67" y="73"/>
                    <a:pt x="54" y="82"/>
                    <a:pt x="41" y="86"/>
                  </a:cubicBezTo>
                  <a:cubicBezTo>
                    <a:pt x="27" y="91"/>
                    <a:pt x="14" y="94"/>
                    <a:pt x="0" y="95"/>
                  </a:cubicBezTo>
                  <a:cubicBezTo>
                    <a:pt x="0" y="93"/>
                    <a:pt x="0" y="93"/>
                    <a:pt x="0" y="93"/>
                  </a:cubicBezTo>
                  <a:cubicBezTo>
                    <a:pt x="15" y="91"/>
                    <a:pt x="29" y="87"/>
                    <a:pt x="41" y="82"/>
                  </a:cubicBezTo>
                  <a:cubicBezTo>
                    <a:pt x="53" y="76"/>
                    <a:pt x="64" y="68"/>
                    <a:pt x="74" y="56"/>
                  </a:cubicBezTo>
                  <a:cubicBezTo>
                    <a:pt x="41" y="56"/>
                    <a:pt x="41" y="56"/>
                    <a:pt x="41" y="56"/>
                  </a:cubicBezTo>
                  <a:cubicBezTo>
                    <a:pt x="31" y="63"/>
                    <a:pt x="20" y="69"/>
                    <a:pt x="7" y="74"/>
                  </a:cubicBezTo>
                  <a:cubicBezTo>
                    <a:pt x="6" y="72"/>
                    <a:pt x="6" y="72"/>
                    <a:pt x="6" y="72"/>
                  </a:cubicBezTo>
                  <a:cubicBezTo>
                    <a:pt x="15" y="68"/>
                    <a:pt x="22" y="64"/>
                    <a:pt x="28" y="59"/>
                  </a:cubicBezTo>
                  <a:cubicBezTo>
                    <a:pt x="35" y="54"/>
                    <a:pt x="41" y="48"/>
                    <a:pt x="46" y="41"/>
                  </a:cubicBezTo>
                  <a:close/>
                  <a:moveTo>
                    <a:pt x="36" y="17"/>
                  </a:moveTo>
                  <a:cubicBezTo>
                    <a:pt x="31" y="20"/>
                    <a:pt x="31" y="20"/>
                    <a:pt x="31" y="20"/>
                  </a:cubicBezTo>
                  <a:cubicBezTo>
                    <a:pt x="36" y="23"/>
                    <a:pt x="40" y="26"/>
                    <a:pt x="41" y="28"/>
                  </a:cubicBezTo>
                  <a:cubicBezTo>
                    <a:pt x="42" y="30"/>
                    <a:pt x="42" y="32"/>
                    <a:pt x="40" y="34"/>
                  </a:cubicBezTo>
                  <a:cubicBezTo>
                    <a:pt x="38" y="37"/>
                    <a:pt x="37" y="36"/>
                    <a:pt x="36" y="33"/>
                  </a:cubicBezTo>
                  <a:cubicBezTo>
                    <a:pt x="35" y="30"/>
                    <a:pt x="33" y="26"/>
                    <a:pt x="30" y="21"/>
                  </a:cubicBezTo>
                  <a:cubicBezTo>
                    <a:pt x="26" y="23"/>
                    <a:pt x="22" y="25"/>
                    <a:pt x="18" y="27"/>
                  </a:cubicBezTo>
                  <a:cubicBezTo>
                    <a:pt x="14" y="29"/>
                    <a:pt x="9" y="32"/>
                    <a:pt x="4" y="34"/>
                  </a:cubicBezTo>
                  <a:cubicBezTo>
                    <a:pt x="3" y="32"/>
                    <a:pt x="3" y="32"/>
                    <a:pt x="3" y="32"/>
                  </a:cubicBezTo>
                  <a:cubicBezTo>
                    <a:pt x="14" y="27"/>
                    <a:pt x="22" y="22"/>
                    <a:pt x="28" y="16"/>
                  </a:cubicBezTo>
                  <a:cubicBezTo>
                    <a:pt x="35" y="10"/>
                    <a:pt x="40" y="5"/>
                    <a:pt x="42" y="1"/>
                  </a:cubicBezTo>
                  <a:cubicBezTo>
                    <a:pt x="49" y="7"/>
                    <a:pt x="49" y="7"/>
                    <a:pt x="49" y="7"/>
                  </a:cubicBezTo>
                  <a:cubicBezTo>
                    <a:pt x="45" y="9"/>
                    <a:pt x="45" y="9"/>
                    <a:pt x="45" y="9"/>
                  </a:cubicBezTo>
                  <a:cubicBezTo>
                    <a:pt x="38" y="15"/>
                    <a:pt x="38" y="15"/>
                    <a:pt x="38" y="15"/>
                  </a:cubicBezTo>
                  <a:cubicBezTo>
                    <a:pt x="68" y="15"/>
                    <a:pt x="68" y="15"/>
                    <a:pt x="68" y="15"/>
                  </a:cubicBezTo>
                  <a:cubicBezTo>
                    <a:pt x="73" y="10"/>
                    <a:pt x="73" y="10"/>
                    <a:pt x="73" y="10"/>
                  </a:cubicBezTo>
                  <a:cubicBezTo>
                    <a:pt x="80" y="18"/>
                    <a:pt x="80" y="18"/>
                    <a:pt x="80" y="18"/>
                  </a:cubicBezTo>
                  <a:cubicBezTo>
                    <a:pt x="76" y="19"/>
                    <a:pt x="76" y="19"/>
                    <a:pt x="76" y="19"/>
                  </a:cubicBezTo>
                  <a:cubicBezTo>
                    <a:pt x="68" y="26"/>
                    <a:pt x="58" y="33"/>
                    <a:pt x="47" y="40"/>
                  </a:cubicBezTo>
                  <a:cubicBezTo>
                    <a:pt x="36" y="46"/>
                    <a:pt x="21" y="50"/>
                    <a:pt x="1" y="53"/>
                  </a:cubicBezTo>
                  <a:cubicBezTo>
                    <a:pt x="1" y="52"/>
                    <a:pt x="1" y="52"/>
                    <a:pt x="1" y="52"/>
                  </a:cubicBezTo>
                  <a:cubicBezTo>
                    <a:pt x="14" y="49"/>
                    <a:pt x="26" y="45"/>
                    <a:pt x="37" y="40"/>
                  </a:cubicBezTo>
                  <a:cubicBezTo>
                    <a:pt x="48" y="35"/>
                    <a:pt x="59" y="28"/>
                    <a:pt x="68" y="17"/>
                  </a:cubicBezTo>
                  <a:cubicBezTo>
                    <a:pt x="36" y="17"/>
                    <a:pt x="36" y="17"/>
                    <a:pt x="36" y="17"/>
                  </a:cubicBezTo>
                  <a:cubicBezTo>
                    <a:pt x="36" y="17"/>
                    <a:pt x="36" y="17"/>
                    <a:pt x="36" y="17"/>
                  </a:cubicBezTo>
                  <a:close/>
                  <a:moveTo>
                    <a:pt x="34" y="62"/>
                  </a:moveTo>
                  <a:cubicBezTo>
                    <a:pt x="39" y="65"/>
                    <a:pt x="41" y="68"/>
                    <a:pt x="43" y="71"/>
                  </a:cubicBezTo>
                  <a:cubicBezTo>
                    <a:pt x="44" y="73"/>
                    <a:pt x="44" y="76"/>
                    <a:pt x="41" y="78"/>
                  </a:cubicBezTo>
                  <a:cubicBezTo>
                    <a:pt x="39" y="80"/>
                    <a:pt x="37" y="80"/>
                    <a:pt x="37" y="76"/>
                  </a:cubicBezTo>
                  <a:cubicBezTo>
                    <a:pt x="36" y="72"/>
                    <a:pt x="35" y="68"/>
                    <a:pt x="32" y="63"/>
                  </a:cubicBezTo>
                  <a:cubicBezTo>
                    <a:pt x="34" y="62"/>
                    <a:pt x="34" y="62"/>
                    <a:pt x="34" y="62"/>
                  </a:cubicBezTo>
                  <a:cubicBezTo>
                    <a:pt x="34" y="62"/>
                    <a:pt x="34" y="62"/>
                    <a:pt x="34" y="62"/>
                  </a:cubicBezTo>
                  <a:close/>
                  <a:moveTo>
                    <a:pt x="105" y="4"/>
                  </a:moveTo>
                  <a:cubicBezTo>
                    <a:pt x="106" y="3"/>
                    <a:pt x="106" y="3"/>
                    <a:pt x="106" y="3"/>
                  </a:cubicBezTo>
                  <a:cubicBezTo>
                    <a:pt x="112" y="6"/>
                    <a:pt x="116" y="9"/>
                    <a:pt x="117" y="11"/>
                  </a:cubicBezTo>
                  <a:cubicBezTo>
                    <a:pt x="118" y="13"/>
                    <a:pt x="117" y="16"/>
                    <a:pt x="114" y="18"/>
                  </a:cubicBezTo>
                  <a:cubicBezTo>
                    <a:pt x="121" y="18"/>
                    <a:pt x="121" y="18"/>
                    <a:pt x="121" y="18"/>
                  </a:cubicBezTo>
                  <a:cubicBezTo>
                    <a:pt x="125" y="14"/>
                    <a:pt x="125" y="14"/>
                    <a:pt x="125" y="14"/>
                  </a:cubicBezTo>
                  <a:cubicBezTo>
                    <a:pt x="131" y="20"/>
                    <a:pt x="131" y="20"/>
                    <a:pt x="131" y="20"/>
                  </a:cubicBezTo>
                  <a:cubicBezTo>
                    <a:pt x="107" y="20"/>
                    <a:pt x="107" y="20"/>
                    <a:pt x="107" y="20"/>
                  </a:cubicBezTo>
                  <a:cubicBezTo>
                    <a:pt x="105" y="20"/>
                    <a:pt x="103" y="21"/>
                    <a:pt x="99" y="22"/>
                  </a:cubicBezTo>
                  <a:cubicBezTo>
                    <a:pt x="96" y="18"/>
                    <a:pt x="96" y="18"/>
                    <a:pt x="96" y="18"/>
                  </a:cubicBezTo>
                  <a:cubicBezTo>
                    <a:pt x="112" y="18"/>
                    <a:pt x="112" y="18"/>
                    <a:pt x="112" y="18"/>
                  </a:cubicBezTo>
                  <a:cubicBezTo>
                    <a:pt x="112" y="16"/>
                    <a:pt x="112" y="15"/>
                    <a:pt x="111" y="13"/>
                  </a:cubicBezTo>
                  <a:cubicBezTo>
                    <a:pt x="110" y="10"/>
                    <a:pt x="108" y="8"/>
                    <a:pt x="105" y="4"/>
                  </a:cubicBezTo>
                  <a:close/>
                  <a:moveTo>
                    <a:pt x="100" y="31"/>
                  </a:moveTo>
                  <a:cubicBezTo>
                    <a:pt x="118" y="31"/>
                    <a:pt x="118" y="31"/>
                    <a:pt x="118" y="31"/>
                  </a:cubicBezTo>
                  <a:cubicBezTo>
                    <a:pt x="122" y="28"/>
                    <a:pt x="122" y="28"/>
                    <a:pt x="122" y="28"/>
                  </a:cubicBezTo>
                  <a:cubicBezTo>
                    <a:pt x="128" y="34"/>
                    <a:pt x="128" y="34"/>
                    <a:pt x="128" y="34"/>
                  </a:cubicBezTo>
                  <a:cubicBezTo>
                    <a:pt x="111" y="34"/>
                    <a:pt x="111" y="34"/>
                    <a:pt x="111" y="34"/>
                  </a:cubicBezTo>
                  <a:cubicBezTo>
                    <a:pt x="109" y="34"/>
                    <a:pt x="106" y="34"/>
                    <a:pt x="103" y="35"/>
                  </a:cubicBezTo>
                  <a:cubicBezTo>
                    <a:pt x="100" y="31"/>
                    <a:pt x="100" y="31"/>
                    <a:pt x="100" y="31"/>
                  </a:cubicBezTo>
                  <a:cubicBezTo>
                    <a:pt x="100" y="31"/>
                    <a:pt x="100" y="31"/>
                    <a:pt x="100" y="31"/>
                  </a:cubicBezTo>
                  <a:close/>
                  <a:moveTo>
                    <a:pt x="101" y="46"/>
                  </a:moveTo>
                  <a:cubicBezTo>
                    <a:pt x="118" y="46"/>
                    <a:pt x="118" y="46"/>
                    <a:pt x="118" y="46"/>
                  </a:cubicBezTo>
                  <a:cubicBezTo>
                    <a:pt x="122" y="42"/>
                    <a:pt x="122" y="42"/>
                    <a:pt x="122" y="42"/>
                  </a:cubicBezTo>
                  <a:cubicBezTo>
                    <a:pt x="128" y="49"/>
                    <a:pt x="128" y="49"/>
                    <a:pt x="128" y="49"/>
                  </a:cubicBezTo>
                  <a:cubicBezTo>
                    <a:pt x="112" y="49"/>
                    <a:pt x="112" y="49"/>
                    <a:pt x="112" y="49"/>
                  </a:cubicBezTo>
                  <a:cubicBezTo>
                    <a:pt x="110" y="49"/>
                    <a:pt x="107" y="49"/>
                    <a:pt x="104" y="50"/>
                  </a:cubicBezTo>
                  <a:cubicBezTo>
                    <a:pt x="101" y="46"/>
                    <a:pt x="101" y="46"/>
                    <a:pt x="101" y="46"/>
                  </a:cubicBezTo>
                  <a:cubicBezTo>
                    <a:pt x="101" y="46"/>
                    <a:pt x="101" y="46"/>
                    <a:pt x="101" y="46"/>
                  </a:cubicBezTo>
                  <a:close/>
                  <a:moveTo>
                    <a:pt x="127" y="61"/>
                  </a:moveTo>
                  <a:cubicBezTo>
                    <a:pt x="127" y="61"/>
                    <a:pt x="127" y="61"/>
                    <a:pt x="122" y="56"/>
                  </a:cubicBezTo>
                  <a:cubicBezTo>
                    <a:pt x="122" y="56"/>
                    <a:pt x="122" y="56"/>
                    <a:pt x="120" y="60"/>
                  </a:cubicBezTo>
                  <a:cubicBezTo>
                    <a:pt x="120" y="60"/>
                    <a:pt x="120" y="60"/>
                    <a:pt x="108" y="60"/>
                  </a:cubicBezTo>
                  <a:cubicBezTo>
                    <a:pt x="108" y="60"/>
                    <a:pt x="108" y="60"/>
                    <a:pt x="102" y="57"/>
                  </a:cubicBezTo>
                  <a:cubicBezTo>
                    <a:pt x="102" y="60"/>
                    <a:pt x="102" y="66"/>
                    <a:pt x="102" y="74"/>
                  </a:cubicBezTo>
                  <a:cubicBezTo>
                    <a:pt x="102" y="82"/>
                    <a:pt x="102" y="88"/>
                    <a:pt x="102" y="90"/>
                  </a:cubicBezTo>
                  <a:cubicBezTo>
                    <a:pt x="102" y="90"/>
                    <a:pt x="102" y="90"/>
                    <a:pt x="107" y="88"/>
                  </a:cubicBezTo>
                  <a:cubicBezTo>
                    <a:pt x="107" y="88"/>
                    <a:pt x="107" y="88"/>
                    <a:pt x="107" y="82"/>
                  </a:cubicBezTo>
                  <a:cubicBezTo>
                    <a:pt x="107" y="82"/>
                    <a:pt x="107" y="82"/>
                    <a:pt x="120" y="82"/>
                  </a:cubicBezTo>
                  <a:cubicBezTo>
                    <a:pt x="120" y="82"/>
                    <a:pt x="120" y="82"/>
                    <a:pt x="120" y="87"/>
                  </a:cubicBezTo>
                  <a:cubicBezTo>
                    <a:pt x="120" y="87"/>
                    <a:pt x="120" y="87"/>
                    <a:pt x="125" y="84"/>
                  </a:cubicBezTo>
                  <a:cubicBezTo>
                    <a:pt x="125" y="79"/>
                    <a:pt x="125" y="73"/>
                    <a:pt x="125" y="64"/>
                  </a:cubicBezTo>
                  <a:cubicBezTo>
                    <a:pt x="125" y="64"/>
                    <a:pt x="125" y="64"/>
                    <a:pt x="127" y="61"/>
                  </a:cubicBezTo>
                  <a:close/>
                  <a:moveTo>
                    <a:pt x="120" y="80"/>
                  </a:moveTo>
                  <a:cubicBezTo>
                    <a:pt x="120" y="80"/>
                    <a:pt x="120" y="80"/>
                    <a:pt x="107" y="80"/>
                  </a:cubicBezTo>
                  <a:cubicBezTo>
                    <a:pt x="107" y="80"/>
                    <a:pt x="107" y="80"/>
                    <a:pt x="107" y="63"/>
                  </a:cubicBezTo>
                  <a:cubicBezTo>
                    <a:pt x="120" y="63"/>
                    <a:pt x="120" y="63"/>
                    <a:pt x="120" y="63"/>
                  </a:cubicBezTo>
                  <a:cubicBezTo>
                    <a:pt x="120" y="63"/>
                    <a:pt x="120" y="63"/>
                    <a:pt x="120" y="80"/>
                  </a:cubicBezTo>
                  <a:close/>
                  <a:moveTo>
                    <a:pt x="157" y="19"/>
                  </a:moveTo>
                  <a:cubicBezTo>
                    <a:pt x="157" y="19"/>
                    <a:pt x="157" y="19"/>
                    <a:pt x="160" y="16"/>
                  </a:cubicBezTo>
                  <a:cubicBezTo>
                    <a:pt x="160" y="16"/>
                    <a:pt x="160" y="16"/>
                    <a:pt x="154" y="12"/>
                  </a:cubicBezTo>
                  <a:cubicBezTo>
                    <a:pt x="154" y="12"/>
                    <a:pt x="154" y="12"/>
                    <a:pt x="152" y="16"/>
                  </a:cubicBezTo>
                  <a:cubicBezTo>
                    <a:pt x="152" y="16"/>
                    <a:pt x="152" y="16"/>
                    <a:pt x="143" y="16"/>
                  </a:cubicBezTo>
                  <a:cubicBezTo>
                    <a:pt x="144" y="13"/>
                    <a:pt x="146" y="11"/>
                    <a:pt x="147" y="9"/>
                  </a:cubicBezTo>
                  <a:cubicBezTo>
                    <a:pt x="149" y="6"/>
                    <a:pt x="150" y="5"/>
                    <a:pt x="151" y="4"/>
                  </a:cubicBezTo>
                  <a:cubicBezTo>
                    <a:pt x="151" y="4"/>
                    <a:pt x="151" y="4"/>
                    <a:pt x="144" y="0"/>
                  </a:cubicBezTo>
                  <a:cubicBezTo>
                    <a:pt x="144" y="4"/>
                    <a:pt x="143" y="9"/>
                    <a:pt x="141" y="16"/>
                  </a:cubicBezTo>
                  <a:cubicBezTo>
                    <a:pt x="141" y="16"/>
                    <a:pt x="141" y="16"/>
                    <a:pt x="138" y="16"/>
                  </a:cubicBezTo>
                  <a:cubicBezTo>
                    <a:pt x="138" y="16"/>
                    <a:pt x="138" y="16"/>
                    <a:pt x="133" y="13"/>
                  </a:cubicBezTo>
                  <a:cubicBezTo>
                    <a:pt x="133" y="13"/>
                    <a:pt x="133" y="13"/>
                    <a:pt x="133" y="55"/>
                  </a:cubicBezTo>
                  <a:cubicBezTo>
                    <a:pt x="126" y="55"/>
                    <a:pt x="126" y="55"/>
                    <a:pt x="126" y="55"/>
                  </a:cubicBezTo>
                  <a:cubicBezTo>
                    <a:pt x="126" y="55"/>
                    <a:pt x="126" y="55"/>
                    <a:pt x="130" y="59"/>
                  </a:cubicBezTo>
                  <a:cubicBezTo>
                    <a:pt x="133" y="58"/>
                    <a:pt x="135" y="58"/>
                    <a:pt x="137" y="58"/>
                  </a:cubicBezTo>
                  <a:cubicBezTo>
                    <a:pt x="137" y="58"/>
                    <a:pt x="137" y="58"/>
                    <a:pt x="147" y="58"/>
                  </a:cubicBezTo>
                  <a:cubicBezTo>
                    <a:pt x="141" y="71"/>
                    <a:pt x="132" y="82"/>
                    <a:pt x="120" y="91"/>
                  </a:cubicBezTo>
                  <a:cubicBezTo>
                    <a:pt x="120" y="91"/>
                    <a:pt x="120" y="91"/>
                    <a:pt x="121" y="92"/>
                  </a:cubicBezTo>
                  <a:cubicBezTo>
                    <a:pt x="135" y="85"/>
                    <a:pt x="145" y="74"/>
                    <a:pt x="153" y="58"/>
                  </a:cubicBezTo>
                  <a:cubicBezTo>
                    <a:pt x="153" y="58"/>
                    <a:pt x="153" y="58"/>
                    <a:pt x="153" y="82"/>
                  </a:cubicBezTo>
                  <a:cubicBezTo>
                    <a:pt x="153" y="84"/>
                    <a:pt x="152" y="85"/>
                    <a:pt x="150" y="85"/>
                  </a:cubicBezTo>
                  <a:cubicBezTo>
                    <a:pt x="148" y="85"/>
                    <a:pt x="146" y="85"/>
                    <a:pt x="141" y="85"/>
                  </a:cubicBezTo>
                  <a:cubicBezTo>
                    <a:pt x="141" y="85"/>
                    <a:pt x="141" y="85"/>
                    <a:pt x="141" y="86"/>
                  </a:cubicBezTo>
                  <a:cubicBezTo>
                    <a:pt x="146" y="88"/>
                    <a:pt x="150" y="90"/>
                    <a:pt x="150" y="94"/>
                  </a:cubicBezTo>
                  <a:cubicBezTo>
                    <a:pt x="155" y="92"/>
                    <a:pt x="158" y="89"/>
                    <a:pt x="157" y="85"/>
                  </a:cubicBezTo>
                  <a:cubicBezTo>
                    <a:pt x="157" y="85"/>
                    <a:pt x="157" y="85"/>
                    <a:pt x="157" y="19"/>
                  </a:cubicBezTo>
                  <a:close/>
                  <a:moveTo>
                    <a:pt x="138" y="18"/>
                  </a:moveTo>
                  <a:cubicBezTo>
                    <a:pt x="153" y="18"/>
                    <a:pt x="153" y="18"/>
                    <a:pt x="153" y="18"/>
                  </a:cubicBezTo>
                  <a:cubicBezTo>
                    <a:pt x="153" y="18"/>
                    <a:pt x="153" y="18"/>
                    <a:pt x="153" y="29"/>
                  </a:cubicBezTo>
                  <a:cubicBezTo>
                    <a:pt x="153" y="29"/>
                    <a:pt x="153" y="29"/>
                    <a:pt x="138" y="29"/>
                  </a:cubicBezTo>
                  <a:cubicBezTo>
                    <a:pt x="138" y="29"/>
                    <a:pt x="138" y="29"/>
                    <a:pt x="138" y="18"/>
                  </a:cubicBezTo>
                  <a:close/>
                  <a:moveTo>
                    <a:pt x="153" y="31"/>
                  </a:moveTo>
                  <a:cubicBezTo>
                    <a:pt x="153" y="31"/>
                    <a:pt x="153" y="31"/>
                    <a:pt x="153" y="42"/>
                  </a:cubicBezTo>
                  <a:cubicBezTo>
                    <a:pt x="153" y="42"/>
                    <a:pt x="153" y="42"/>
                    <a:pt x="138" y="42"/>
                  </a:cubicBezTo>
                  <a:cubicBezTo>
                    <a:pt x="138" y="42"/>
                    <a:pt x="138" y="42"/>
                    <a:pt x="138" y="31"/>
                  </a:cubicBezTo>
                  <a:lnTo>
                    <a:pt x="153" y="31"/>
                  </a:lnTo>
                  <a:close/>
                  <a:moveTo>
                    <a:pt x="138" y="55"/>
                  </a:moveTo>
                  <a:cubicBezTo>
                    <a:pt x="138" y="55"/>
                    <a:pt x="138" y="55"/>
                    <a:pt x="138" y="44"/>
                  </a:cubicBezTo>
                  <a:cubicBezTo>
                    <a:pt x="153" y="44"/>
                    <a:pt x="153" y="44"/>
                    <a:pt x="153" y="44"/>
                  </a:cubicBezTo>
                  <a:cubicBezTo>
                    <a:pt x="153" y="44"/>
                    <a:pt x="153" y="44"/>
                    <a:pt x="153" y="55"/>
                  </a:cubicBezTo>
                  <a:cubicBezTo>
                    <a:pt x="153" y="55"/>
                    <a:pt x="153" y="55"/>
                    <a:pt x="138" y="55"/>
                  </a:cubicBezTo>
                  <a:close/>
                  <a:moveTo>
                    <a:pt x="181" y="29"/>
                  </a:moveTo>
                  <a:cubicBezTo>
                    <a:pt x="185" y="25"/>
                    <a:pt x="185" y="25"/>
                    <a:pt x="185" y="25"/>
                  </a:cubicBezTo>
                  <a:cubicBezTo>
                    <a:pt x="191" y="31"/>
                    <a:pt x="191" y="31"/>
                    <a:pt x="191" y="31"/>
                  </a:cubicBezTo>
                  <a:cubicBezTo>
                    <a:pt x="181" y="31"/>
                    <a:pt x="181" y="31"/>
                    <a:pt x="181" y="31"/>
                  </a:cubicBezTo>
                  <a:cubicBezTo>
                    <a:pt x="181" y="85"/>
                    <a:pt x="181" y="85"/>
                    <a:pt x="181" y="85"/>
                  </a:cubicBezTo>
                  <a:cubicBezTo>
                    <a:pt x="181" y="89"/>
                    <a:pt x="178" y="91"/>
                    <a:pt x="173" y="94"/>
                  </a:cubicBezTo>
                  <a:cubicBezTo>
                    <a:pt x="173" y="90"/>
                    <a:pt x="170" y="87"/>
                    <a:pt x="163" y="85"/>
                  </a:cubicBezTo>
                  <a:cubicBezTo>
                    <a:pt x="163" y="84"/>
                    <a:pt x="163" y="84"/>
                    <a:pt x="163" y="84"/>
                  </a:cubicBezTo>
                  <a:cubicBezTo>
                    <a:pt x="169" y="85"/>
                    <a:pt x="172" y="85"/>
                    <a:pt x="174" y="85"/>
                  </a:cubicBezTo>
                  <a:cubicBezTo>
                    <a:pt x="175" y="85"/>
                    <a:pt x="176" y="84"/>
                    <a:pt x="176" y="82"/>
                  </a:cubicBezTo>
                  <a:cubicBezTo>
                    <a:pt x="176" y="31"/>
                    <a:pt x="176" y="31"/>
                    <a:pt x="176" y="31"/>
                  </a:cubicBezTo>
                  <a:cubicBezTo>
                    <a:pt x="170" y="31"/>
                    <a:pt x="170" y="31"/>
                    <a:pt x="170" y="31"/>
                  </a:cubicBezTo>
                  <a:cubicBezTo>
                    <a:pt x="168" y="31"/>
                    <a:pt x="165" y="32"/>
                    <a:pt x="162" y="33"/>
                  </a:cubicBezTo>
                  <a:cubicBezTo>
                    <a:pt x="159" y="29"/>
                    <a:pt x="159" y="29"/>
                    <a:pt x="159" y="29"/>
                  </a:cubicBezTo>
                  <a:cubicBezTo>
                    <a:pt x="176" y="29"/>
                    <a:pt x="176" y="29"/>
                    <a:pt x="176" y="29"/>
                  </a:cubicBezTo>
                  <a:cubicBezTo>
                    <a:pt x="176" y="16"/>
                    <a:pt x="176" y="7"/>
                    <a:pt x="176" y="3"/>
                  </a:cubicBezTo>
                  <a:cubicBezTo>
                    <a:pt x="184" y="6"/>
                    <a:pt x="184" y="6"/>
                    <a:pt x="184" y="6"/>
                  </a:cubicBezTo>
                  <a:cubicBezTo>
                    <a:pt x="181" y="9"/>
                    <a:pt x="181" y="9"/>
                    <a:pt x="181" y="9"/>
                  </a:cubicBezTo>
                  <a:cubicBezTo>
                    <a:pt x="181" y="29"/>
                    <a:pt x="181" y="29"/>
                    <a:pt x="181" y="29"/>
                  </a:cubicBezTo>
                  <a:cubicBezTo>
                    <a:pt x="181" y="29"/>
                    <a:pt x="181" y="29"/>
                    <a:pt x="181" y="29"/>
                  </a:cubicBezTo>
                  <a:close/>
                  <a:moveTo>
                    <a:pt x="161" y="41"/>
                  </a:moveTo>
                  <a:cubicBezTo>
                    <a:pt x="167" y="45"/>
                    <a:pt x="171" y="48"/>
                    <a:pt x="172" y="50"/>
                  </a:cubicBezTo>
                  <a:cubicBezTo>
                    <a:pt x="173" y="53"/>
                    <a:pt x="173" y="54"/>
                    <a:pt x="172" y="56"/>
                  </a:cubicBezTo>
                  <a:cubicBezTo>
                    <a:pt x="171" y="57"/>
                    <a:pt x="171" y="59"/>
                    <a:pt x="169" y="60"/>
                  </a:cubicBezTo>
                  <a:cubicBezTo>
                    <a:pt x="168" y="60"/>
                    <a:pt x="167" y="59"/>
                    <a:pt x="167" y="56"/>
                  </a:cubicBezTo>
                  <a:cubicBezTo>
                    <a:pt x="166" y="52"/>
                    <a:pt x="163" y="48"/>
                    <a:pt x="160" y="43"/>
                  </a:cubicBezTo>
                  <a:cubicBezTo>
                    <a:pt x="161" y="41"/>
                    <a:pt x="161" y="41"/>
                    <a:pt x="161" y="41"/>
                  </a:cubicBezTo>
                  <a:cubicBezTo>
                    <a:pt x="161" y="41"/>
                    <a:pt x="161" y="41"/>
                    <a:pt x="161" y="41"/>
                  </a:cubicBezTo>
                  <a:close/>
                  <a:moveTo>
                    <a:pt x="232" y="15"/>
                  </a:moveTo>
                  <a:cubicBezTo>
                    <a:pt x="232" y="15"/>
                    <a:pt x="232" y="15"/>
                    <a:pt x="225" y="10"/>
                  </a:cubicBezTo>
                  <a:cubicBezTo>
                    <a:pt x="225" y="10"/>
                    <a:pt x="225" y="10"/>
                    <a:pt x="222" y="13"/>
                  </a:cubicBezTo>
                  <a:cubicBezTo>
                    <a:pt x="222" y="13"/>
                    <a:pt x="222" y="13"/>
                    <a:pt x="206" y="13"/>
                  </a:cubicBezTo>
                  <a:cubicBezTo>
                    <a:pt x="206" y="13"/>
                    <a:pt x="206" y="13"/>
                    <a:pt x="201" y="10"/>
                  </a:cubicBezTo>
                  <a:cubicBezTo>
                    <a:pt x="201" y="16"/>
                    <a:pt x="201" y="28"/>
                    <a:pt x="201" y="47"/>
                  </a:cubicBezTo>
                  <a:cubicBezTo>
                    <a:pt x="201" y="66"/>
                    <a:pt x="201" y="78"/>
                    <a:pt x="201" y="83"/>
                  </a:cubicBezTo>
                  <a:cubicBezTo>
                    <a:pt x="206" y="80"/>
                    <a:pt x="206" y="80"/>
                    <a:pt x="206" y="80"/>
                  </a:cubicBezTo>
                  <a:cubicBezTo>
                    <a:pt x="206" y="80"/>
                    <a:pt x="206" y="80"/>
                    <a:pt x="206" y="72"/>
                  </a:cubicBezTo>
                  <a:cubicBezTo>
                    <a:pt x="206" y="72"/>
                    <a:pt x="206" y="72"/>
                    <a:pt x="223" y="72"/>
                  </a:cubicBezTo>
                  <a:cubicBezTo>
                    <a:pt x="223" y="72"/>
                    <a:pt x="223" y="72"/>
                    <a:pt x="223" y="79"/>
                  </a:cubicBezTo>
                  <a:cubicBezTo>
                    <a:pt x="223" y="79"/>
                    <a:pt x="223" y="79"/>
                    <a:pt x="229" y="77"/>
                  </a:cubicBezTo>
                  <a:cubicBezTo>
                    <a:pt x="228" y="73"/>
                    <a:pt x="228" y="54"/>
                    <a:pt x="228" y="17"/>
                  </a:cubicBezTo>
                  <a:cubicBezTo>
                    <a:pt x="228" y="17"/>
                    <a:pt x="228" y="17"/>
                    <a:pt x="232" y="15"/>
                  </a:cubicBezTo>
                  <a:close/>
                  <a:moveTo>
                    <a:pt x="206" y="16"/>
                  </a:moveTo>
                  <a:cubicBezTo>
                    <a:pt x="223" y="16"/>
                    <a:pt x="223" y="16"/>
                    <a:pt x="223" y="16"/>
                  </a:cubicBezTo>
                  <a:cubicBezTo>
                    <a:pt x="223" y="16"/>
                    <a:pt x="223" y="16"/>
                    <a:pt x="223" y="41"/>
                  </a:cubicBezTo>
                  <a:cubicBezTo>
                    <a:pt x="223" y="41"/>
                    <a:pt x="223" y="41"/>
                    <a:pt x="206" y="41"/>
                  </a:cubicBezTo>
                  <a:cubicBezTo>
                    <a:pt x="206" y="41"/>
                    <a:pt x="206" y="41"/>
                    <a:pt x="206" y="16"/>
                  </a:cubicBezTo>
                  <a:close/>
                  <a:moveTo>
                    <a:pt x="206" y="69"/>
                  </a:moveTo>
                  <a:cubicBezTo>
                    <a:pt x="206" y="69"/>
                    <a:pt x="206" y="69"/>
                    <a:pt x="206" y="44"/>
                  </a:cubicBezTo>
                  <a:cubicBezTo>
                    <a:pt x="223" y="43"/>
                    <a:pt x="223" y="43"/>
                    <a:pt x="223" y="43"/>
                  </a:cubicBezTo>
                  <a:cubicBezTo>
                    <a:pt x="223" y="43"/>
                    <a:pt x="223" y="43"/>
                    <a:pt x="223" y="69"/>
                  </a:cubicBezTo>
                  <a:cubicBezTo>
                    <a:pt x="223" y="69"/>
                    <a:pt x="223" y="69"/>
                    <a:pt x="206" y="69"/>
                  </a:cubicBezTo>
                  <a:close/>
                  <a:moveTo>
                    <a:pt x="282" y="26"/>
                  </a:moveTo>
                  <a:cubicBezTo>
                    <a:pt x="282" y="26"/>
                    <a:pt x="282" y="26"/>
                    <a:pt x="279" y="29"/>
                  </a:cubicBezTo>
                  <a:cubicBezTo>
                    <a:pt x="279" y="29"/>
                    <a:pt x="279" y="29"/>
                    <a:pt x="268" y="30"/>
                  </a:cubicBezTo>
                  <a:cubicBezTo>
                    <a:pt x="268" y="30"/>
                    <a:pt x="268" y="30"/>
                    <a:pt x="268" y="12"/>
                  </a:cubicBezTo>
                  <a:cubicBezTo>
                    <a:pt x="268" y="12"/>
                    <a:pt x="268" y="12"/>
                    <a:pt x="291" y="12"/>
                  </a:cubicBezTo>
                  <a:cubicBezTo>
                    <a:pt x="291" y="12"/>
                    <a:pt x="291" y="12"/>
                    <a:pt x="284" y="4"/>
                  </a:cubicBezTo>
                  <a:cubicBezTo>
                    <a:pt x="284" y="4"/>
                    <a:pt x="284" y="4"/>
                    <a:pt x="278" y="9"/>
                  </a:cubicBezTo>
                  <a:cubicBezTo>
                    <a:pt x="278" y="9"/>
                    <a:pt x="278" y="9"/>
                    <a:pt x="229" y="9"/>
                  </a:cubicBezTo>
                  <a:cubicBezTo>
                    <a:pt x="229" y="9"/>
                    <a:pt x="229" y="9"/>
                    <a:pt x="233" y="12"/>
                  </a:cubicBezTo>
                  <a:cubicBezTo>
                    <a:pt x="233" y="12"/>
                    <a:pt x="233" y="12"/>
                    <a:pt x="238" y="12"/>
                  </a:cubicBezTo>
                  <a:cubicBezTo>
                    <a:pt x="238" y="12"/>
                    <a:pt x="238" y="12"/>
                    <a:pt x="250" y="12"/>
                  </a:cubicBezTo>
                  <a:cubicBezTo>
                    <a:pt x="250" y="12"/>
                    <a:pt x="250" y="12"/>
                    <a:pt x="250" y="30"/>
                  </a:cubicBezTo>
                  <a:cubicBezTo>
                    <a:pt x="250" y="30"/>
                    <a:pt x="250" y="30"/>
                    <a:pt x="240" y="30"/>
                  </a:cubicBezTo>
                  <a:cubicBezTo>
                    <a:pt x="240" y="30"/>
                    <a:pt x="240" y="30"/>
                    <a:pt x="234" y="26"/>
                  </a:cubicBezTo>
                  <a:cubicBezTo>
                    <a:pt x="234" y="37"/>
                    <a:pt x="235" y="48"/>
                    <a:pt x="235" y="61"/>
                  </a:cubicBezTo>
                  <a:cubicBezTo>
                    <a:pt x="235" y="73"/>
                    <a:pt x="234" y="84"/>
                    <a:pt x="234" y="93"/>
                  </a:cubicBezTo>
                  <a:cubicBezTo>
                    <a:pt x="240" y="90"/>
                    <a:pt x="240" y="90"/>
                    <a:pt x="240" y="90"/>
                  </a:cubicBezTo>
                  <a:cubicBezTo>
                    <a:pt x="240" y="90"/>
                    <a:pt x="240" y="90"/>
                    <a:pt x="240" y="84"/>
                  </a:cubicBezTo>
                  <a:cubicBezTo>
                    <a:pt x="240" y="84"/>
                    <a:pt x="240" y="84"/>
                    <a:pt x="279" y="84"/>
                  </a:cubicBezTo>
                  <a:cubicBezTo>
                    <a:pt x="279" y="84"/>
                    <a:pt x="279" y="84"/>
                    <a:pt x="279" y="91"/>
                  </a:cubicBezTo>
                  <a:cubicBezTo>
                    <a:pt x="279" y="91"/>
                    <a:pt x="279" y="91"/>
                    <a:pt x="285" y="89"/>
                  </a:cubicBezTo>
                  <a:cubicBezTo>
                    <a:pt x="285" y="79"/>
                    <a:pt x="285" y="61"/>
                    <a:pt x="285" y="33"/>
                  </a:cubicBezTo>
                  <a:cubicBezTo>
                    <a:pt x="285" y="33"/>
                    <a:pt x="285" y="33"/>
                    <a:pt x="288" y="31"/>
                  </a:cubicBezTo>
                  <a:cubicBezTo>
                    <a:pt x="288" y="31"/>
                    <a:pt x="288" y="31"/>
                    <a:pt x="282" y="26"/>
                  </a:cubicBezTo>
                  <a:close/>
                  <a:moveTo>
                    <a:pt x="255" y="12"/>
                  </a:moveTo>
                  <a:cubicBezTo>
                    <a:pt x="263" y="12"/>
                    <a:pt x="263" y="12"/>
                    <a:pt x="263" y="12"/>
                  </a:cubicBezTo>
                  <a:cubicBezTo>
                    <a:pt x="263" y="12"/>
                    <a:pt x="263" y="12"/>
                    <a:pt x="263" y="30"/>
                  </a:cubicBezTo>
                  <a:cubicBezTo>
                    <a:pt x="263" y="30"/>
                    <a:pt x="263" y="30"/>
                    <a:pt x="255" y="30"/>
                  </a:cubicBezTo>
                  <a:cubicBezTo>
                    <a:pt x="255" y="30"/>
                    <a:pt x="255" y="30"/>
                    <a:pt x="255" y="12"/>
                  </a:cubicBezTo>
                  <a:close/>
                  <a:moveTo>
                    <a:pt x="240" y="32"/>
                  </a:moveTo>
                  <a:cubicBezTo>
                    <a:pt x="250" y="32"/>
                    <a:pt x="250" y="32"/>
                    <a:pt x="250" y="32"/>
                  </a:cubicBezTo>
                  <a:cubicBezTo>
                    <a:pt x="250" y="40"/>
                    <a:pt x="249" y="47"/>
                    <a:pt x="248" y="53"/>
                  </a:cubicBezTo>
                  <a:cubicBezTo>
                    <a:pt x="247" y="58"/>
                    <a:pt x="244" y="63"/>
                    <a:pt x="240" y="69"/>
                  </a:cubicBezTo>
                  <a:cubicBezTo>
                    <a:pt x="240" y="69"/>
                    <a:pt x="240" y="69"/>
                    <a:pt x="240" y="32"/>
                  </a:cubicBezTo>
                  <a:close/>
                  <a:moveTo>
                    <a:pt x="240" y="81"/>
                  </a:moveTo>
                  <a:cubicBezTo>
                    <a:pt x="240" y="81"/>
                    <a:pt x="240" y="81"/>
                    <a:pt x="240" y="71"/>
                  </a:cubicBezTo>
                  <a:cubicBezTo>
                    <a:pt x="246" y="66"/>
                    <a:pt x="250" y="61"/>
                    <a:pt x="252" y="55"/>
                  </a:cubicBezTo>
                  <a:cubicBezTo>
                    <a:pt x="254" y="49"/>
                    <a:pt x="255" y="41"/>
                    <a:pt x="255" y="32"/>
                  </a:cubicBezTo>
                  <a:cubicBezTo>
                    <a:pt x="263" y="32"/>
                    <a:pt x="263" y="32"/>
                    <a:pt x="263" y="32"/>
                  </a:cubicBezTo>
                  <a:cubicBezTo>
                    <a:pt x="263" y="32"/>
                    <a:pt x="263" y="32"/>
                    <a:pt x="263" y="58"/>
                  </a:cubicBezTo>
                  <a:cubicBezTo>
                    <a:pt x="263" y="62"/>
                    <a:pt x="265" y="64"/>
                    <a:pt x="269" y="64"/>
                  </a:cubicBezTo>
                  <a:cubicBezTo>
                    <a:pt x="269" y="64"/>
                    <a:pt x="269" y="64"/>
                    <a:pt x="273" y="64"/>
                  </a:cubicBezTo>
                  <a:cubicBezTo>
                    <a:pt x="278" y="64"/>
                    <a:pt x="280" y="63"/>
                    <a:pt x="279" y="61"/>
                  </a:cubicBezTo>
                  <a:cubicBezTo>
                    <a:pt x="278" y="58"/>
                    <a:pt x="277" y="57"/>
                    <a:pt x="276" y="58"/>
                  </a:cubicBezTo>
                  <a:cubicBezTo>
                    <a:pt x="274" y="58"/>
                    <a:pt x="273" y="59"/>
                    <a:pt x="271" y="59"/>
                  </a:cubicBezTo>
                  <a:cubicBezTo>
                    <a:pt x="269" y="59"/>
                    <a:pt x="268" y="58"/>
                    <a:pt x="268" y="55"/>
                  </a:cubicBezTo>
                  <a:cubicBezTo>
                    <a:pt x="268" y="55"/>
                    <a:pt x="268" y="55"/>
                    <a:pt x="268" y="32"/>
                  </a:cubicBezTo>
                  <a:cubicBezTo>
                    <a:pt x="268" y="32"/>
                    <a:pt x="268" y="32"/>
                    <a:pt x="279" y="32"/>
                  </a:cubicBezTo>
                  <a:cubicBezTo>
                    <a:pt x="279" y="32"/>
                    <a:pt x="279" y="32"/>
                    <a:pt x="279" y="81"/>
                  </a:cubicBezTo>
                  <a:cubicBezTo>
                    <a:pt x="279" y="81"/>
                    <a:pt x="279" y="81"/>
                    <a:pt x="240" y="8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8" name="Freeform 251">
              <a:extLst>
                <a:ext uri="{FF2B5EF4-FFF2-40B4-BE49-F238E27FC236}">
                  <a16:creationId xmlns:a16="http://schemas.microsoft.com/office/drawing/2014/main" id="{3E7F4BEA-6992-A82C-B7D3-9F9957455B70}"/>
                </a:ext>
                <a:ext uri="{C183D7F6-B498-43B3-948B-1728B52AA6E4}">
                  <adec:decorative xmlns:adec="http://schemas.microsoft.com/office/drawing/2017/decorative" val="1"/>
                </a:ext>
              </a:extLst>
            </p:cNvPr>
            <p:cNvSpPr>
              <a:spLocks noEditPoints="1"/>
            </p:cNvSpPr>
            <p:nvPr/>
          </p:nvSpPr>
          <p:spPr bwMode="auto">
            <a:xfrm rot="16200000">
              <a:off x="9061686" y="652374"/>
              <a:ext cx="225756" cy="1408983"/>
            </a:xfrm>
            <a:custGeom>
              <a:avLst/>
              <a:gdLst>
                <a:gd name="T0" fmla="*/ 31 w 72"/>
                <a:gd name="T1" fmla="*/ 4 h 448"/>
                <a:gd name="T2" fmla="*/ 62 w 72"/>
                <a:gd name="T3" fmla="*/ 4 h 448"/>
                <a:gd name="T4" fmla="*/ 62 w 72"/>
                <a:gd name="T5" fmla="*/ 30 h 448"/>
                <a:gd name="T6" fmla="*/ 1 w 72"/>
                <a:gd name="T7" fmla="*/ 31 h 448"/>
                <a:gd name="T8" fmla="*/ 0 w 72"/>
                <a:gd name="T9" fmla="*/ 64 h 448"/>
                <a:gd name="T10" fmla="*/ 63 w 72"/>
                <a:gd name="T11" fmla="*/ 66 h 448"/>
                <a:gd name="T12" fmla="*/ 11 w 72"/>
                <a:gd name="T13" fmla="*/ 82 h 448"/>
                <a:gd name="T14" fmla="*/ 51 w 72"/>
                <a:gd name="T15" fmla="*/ 47 h 448"/>
                <a:gd name="T16" fmla="*/ 67 w 72"/>
                <a:gd name="T17" fmla="*/ 56 h 448"/>
                <a:gd name="T18" fmla="*/ 71 w 72"/>
                <a:gd name="T19" fmla="*/ 60 h 448"/>
                <a:gd name="T20" fmla="*/ 66 w 72"/>
                <a:gd name="T21" fmla="*/ 72 h 448"/>
                <a:gd name="T22" fmla="*/ 72 w 72"/>
                <a:gd name="T23" fmla="*/ 72 h 448"/>
                <a:gd name="T24" fmla="*/ 66 w 72"/>
                <a:gd name="T25" fmla="*/ 72 h 448"/>
                <a:gd name="T26" fmla="*/ 7 w 72"/>
                <a:gd name="T27" fmla="*/ 128 h 448"/>
                <a:gd name="T28" fmla="*/ 39 w 72"/>
                <a:gd name="T29" fmla="*/ 106 h 448"/>
                <a:gd name="T30" fmla="*/ 61 w 72"/>
                <a:gd name="T31" fmla="*/ 133 h 448"/>
                <a:gd name="T32" fmla="*/ 48 w 72"/>
                <a:gd name="T33" fmla="*/ 108 h 448"/>
                <a:gd name="T34" fmla="*/ 16 w 72"/>
                <a:gd name="T35" fmla="*/ 136 h 448"/>
                <a:gd name="T36" fmla="*/ 3 w 72"/>
                <a:gd name="T37" fmla="*/ 104 h 448"/>
                <a:gd name="T38" fmla="*/ 1 w 72"/>
                <a:gd name="T39" fmla="*/ 144 h 448"/>
                <a:gd name="T40" fmla="*/ 62 w 72"/>
                <a:gd name="T41" fmla="*/ 146 h 448"/>
                <a:gd name="T42" fmla="*/ 54 w 72"/>
                <a:gd name="T43" fmla="*/ 203 h 448"/>
                <a:gd name="T44" fmla="*/ 8 w 72"/>
                <a:gd name="T45" fmla="*/ 244 h 448"/>
                <a:gd name="T46" fmla="*/ 54 w 72"/>
                <a:gd name="T47" fmla="*/ 203 h 448"/>
                <a:gd name="T48" fmla="*/ 4 w 72"/>
                <a:gd name="T49" fmla="*/ 223 h 448"/>
                <a:gd name="T50" fmla="*/ 59 w 72"/>
                <a:gd name="T51" fmla="*/ 223 h 448"/>
                <a:gd name="T52" fmla="*/ 69 w 72"/>
                <a:gd name="T53" fmla="*/ 213 h 448"/>
                <a:gd name="T54" fmla="*/ 69 w 72"/>
                <a:gd name="T55" fmla="*/ 219 h 448"/>
                <a:gd name="T56" fmla="*/ 67 w 72"/>
                <a:gd name="T57" fmla="*/ 228 h 448"/>
                <a:gd name="T58" fmla="*/ 71 w 72"/>
                <a:gd name="T59" fmla="*/ 232 h 448"/>
                <a:gd name="T60" fmla="*/ 1 w 72"/>
                <a:gd name="T61" fmla="*/ 307 h 448"/>
                <a:gd name="T62" fmla="*/ 54 w 72"/>
                <a:gd name="T63" fmla="*/ 268 h 448"/>
                <a:gd name="T64" fmla="*/ 62 w 72"/>
                <a:gd name="T65" fmla="*/ 264 h 448"/>
                <a:gd name="T66" fmla="*/ 9 w 72"/>
                <a:gd name="T67" fmla="*/ 306 h 448"/>
                <a:gd name="T68" fmla="*/ 1 w 72"/>
                <a:gd name="T69" fmla="*/ 310 h 448"/>
                <a:gd name="T70" fmla="*/ 8 w 72"/>
                <a:gd name="T71" fmla="*/ 330 h 448"/>
                <a:gd name="T72" fmla="*/ 54 w 72"/>
                <a:gd name="T73" fmla="*/ 371 h 448"/>
                <a:gd name="T74" fmla="*/ 32 w 72"/>
                <a:gd name="T75" fmla="*/ 375 h 448"/>
                <a:gd name="T76" fmla="*/ 31 w 72"/>
                <a:gd name="T77" fmla="*/ 327 h 448"/>
                <a:gd name="T78" fmla="*/ 66 w 72"/>
                <a:gd name="T79" fmla="*/ 344 h 448"/>
                <a:gd name="T80" fmla="*/ 72 w 72"/>
                <a:gd name="T81" fmla="*/ 344 h 448"/>
                <a:gd name="T82" fmla="*/ 66 w 72"/>
                <a:gd name="T83" fmla="*/ 344 h 448"/>
                <a:gd name="T84" fmla="*/ 71 w 72"/>
                <a:gd name="T85" fmla="*/ 356 h 448"/>
                <a:gd name="T86" fmla="*/ 67 w 72"/>
                <a:gd name="T87" fmla="*/ 360 h 448"/>
                <a:gd name="T88" fmla="*/ 53 w 72"/>
                <a:gd name="T89" fmla="*/ 444 h 448"/>
                <a:gd name="T90" fmla="*/ 1 w 72"/>
                <a:gd name="T91" fmla="*/ 419 h 448"/>
                <a:gd name="T92" fmla="*/ 45 w 72"/>
                <a:gd name="T93" fmla="*/ 396 h 448"/>
                <a:gd name="T94" fmla="*/ 62 w 72"/>
                <a:gd name="T95" fmla="*/ 395 h 448"/>
                <a:gd name="T96" fmla="*/ 8 w 72"/>
                <a:gd name="T97" fmla="*/ 420 h 448"/>
                <a:gd name="T98" fmla="*/ 62 w 72"/>
                <a:gd name="T99" fmla="*/ 44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48">
                  <a:moveTo>
                    <a:pt x="1" y="31"/>
                  </a:moveTo>
                  <a:cubicBezTo>
                    <a:pt x="30" y="5"/>
                    <a:pt x="30" y="5"/>
                    <a:pt x="30" y="5"/>
                  </a:cubicBezTo>
                  <a:cubicBezTo>
                    <a:pt x="30" y="5"/>
                    <a:pt x="31" y="4"/>
                    <a:pt x="31" y="4"/>
                  </a:cubicBezTo>
                  <a:cubicBezTo>
                    <a:pt x="31" y="4"/>
                    <a:pt x="31" y="4"/>
                    <a:pt x="31" y="4"/>
                  </a:cubicBezTo>
                  <a:cubicBezTo>
                    <a:pt x="1" y="4"/>
                    <a:pt x="1" y="4"/>
                    <a:pt x="1" y="4"/>
                  </a:cubicBezTo>
                  <a:cubicBezTo>
                    <a:pt x="1" y="0"/>
                    <a:pt x="1" y="0"/>
                    <a:pt x="1" y="0"/>
                  </a:cubicBezTo>
                  <a:cubicBezTo>
                    <a:pt x="62" y="0"/>
                    <a:pt x="62" y="0"/>
                    <a:pt x="62" y="0"/>
                  </a:cubicBezTo>
                  <a:cubicBezTo>
                    <a:pt x="62" y="4"/>
                    <a:pt x="62" y="4"/>
                    <a:pt x="62" y="4"/>
                  </a:cubicBezTo>
                  <a:cubicBezTo>
                    <a:pt x="33" y="4"/>
                    <a:pt x="33" y="4"/>
                    <a:pt x="33" y="4"/>
                  </a:cubicBezTo>
                  <a:cubicBezTo>
                    <a:pt x="33" y="4"/>
                    <a:pt x="33" y="4"/>
                    <a:pt x="33" y="4"/>
                  </a:cubicBezTo>
                  <a:cubicBezTo>
                    <a:pt x="34" y="4"/>
                    <a:pt x="34" y="5"/>
                    <a:pt x="34" y="5"/>
                  </a:cubicBezTo>
                  <a:cubicBezTo>
                    <a:pt x="62" y="30"/>
                    <a:pt x="62" y="30"/>
                    <a:pt x="62" y="30"/>
                  </a:cubicBezTo>
                  <a:cubicBezTo>
                    <a:pt x="62" y="35"/>
                    <a:pt x="62" y="35"/>
                    <a:pt x="62" y="35"/>
                  </a:cubicBezTo>
                  <a:cubicBezTo>
                    <a:pt x="32" y="8"/>
                    <a:pt x="32" y="8"/>
                    <a:pt x="32" y="8"/>
                  </a:cubicBezTo>
                  <a:cubicBezTo>
                    <a:pt x="1" y="37"/>
                    <a:pt x="1" y="37"/>
                    <a:pt x="1" y="37"/>
                  </a:cubicBezTo>
                  <a:lnTo>
                    <a:pt x="1" y="31"/>
                  </a:lnTo>
                  <a:close/>
                  <a:moveTo>
                    <a:pt x="54" y="44"/>
                  </a:moveTo>
                  <a:cubicBezTo>
                    <a:pt x="48" y="39"/>
                    <a:pt x="40" y="36"/>
                    <a:pt x="31" y="36"/>
                  </a:cubicBezTo>
                  <a:cubicBezTo>
                    <a:pt x="22" y="36"/>
                    <a:pt x="14" y="39"/>
                    <a:pt x="8" y="44"/>
                  </a:cubicBezTo>
                  <a:cubicBezTo>
                    <a:pt x="3" y="49"/>
                    <a:pt x="0" y="56"/>
                    <a:pt x="0" y="64"/>
                  </a:cubicBezTo>
                  <a:cubicBezTo>
                    <a:pt x="0" y="73"/>
                    <a:pt x="3" y="80"/>
                    <a:pt x="8" y="85"/>
                  </a:cubicBezTo>
                  <a:cubicBezTo>
                    <a:pt x="14" y="90"/>
                    <a:pt x="22" y="93"/>
                    <a:pt x="32" y="93"/>
                  </a:cubicBezTo>
                  <a:cubicBezTo>
                    <a:pt x="41" y="93"/>
                    <a:pt x="49" y="91"/>
                    <a:pt x="54" y="85"/>
                  </a:cubicBezTo>
                  <a:cubicBezTo>
                    <a:pt x="60" y="80"/>
                    <a:pt x="63" y="74"/>
                    <a:pt x="63" y="66"/>
                  </a:cubicBezTo>
                  <a:cubicBezTo>
                    <a:pt x="63" y="57"/>
                    <a:pt x="60" y="49"/>
                    <a:pt x="54" y="44"/>
                  </a:cubicBezTo>
                  <a:close/>
                  <a:moveTo>
                    <a:pt x="52" y="82"/>
                  </a:moveTo>
                  <a:cubicBezTo>
                    <a:pt x="47" y="87"/>
                    <a:pt x="40" y="89"/>
                    <a:pt x="32" y="89"/>
                  </a:cubicBezTo>
                  <a:cubicBezTo>
                    <a:pt x="23" y="89"/>
                    <a:pt x="16" y="87"/>
                    <a:pt x="11" y="82"/>
                  </a:cubicBezTo>
                  <a:cubicBezTo>
                    <a:pt x="6" y="78"/>
                    <a:pt x="4" y="72"/>
                    <a:pt x="4" y="64"/>
                  </a:cubicBezTo>
                  <a:cubicBezTo>
                    <a:pt x="4" y="57"/>
                    <a:pt x="6" y="51"/>
                    <a:pt x="11" y="47"/>
                  </a:cubicBezTo>
                  <a:cubicBezTo>
                    <a:pt x="16" y="43"/>
                    <a:pt x="23" y="41"/>
                    <a:pt x="31" y="41"/>
                  </a:cubicBezTo>
                  <a:cubicBezTo>
                    <a:pt x="39" y="41"/>
                    <a:pt x="46" y="43"/>
                    <a:pt x="51" y="47"/>
                  </a:cubicBezTo>
                  <a:cubicBezTo>
                    <a:pt x="56" y="52"/>
                    <a:pt x="59" y="58"/>
                    <a:pt x="59" y="65"/>
                  </a:cubicBezTo>
                  <a:cubicBezTo>
                    <a:pt x="59" y="72"/>
                    <a:pt x="56" y="78"/>
                    <a:pt x="52" y="82"/>
                  </a:cubicBezTo>
                  <a:close/>
                  <a:moveTo>
                    <a:pt x="66" y="58"/>
                  </a:moveTo>
                  <a:cubicBezTo>
                    <a:pt x="66" y="57"/>
                    <a:pt x="66" y="56"/>
                    <a:pt x="67" y="56"/>
                  </a:cubicBezTo>
                  <a:cubicBezTo>
                    <a:pt x="67" y="55"/>
                    <a:pt x="68" y="55"/>
                    <a:pt x="69" y="55"/>
                  </a:cubicBezTo>
                  <a:cubicBezTo>
                    <a:pt x="70" y="55"/>
                    <a:pt x="70" y="55"/>
                    <a:pt x="71" y="56"/>
                  </a:cubicBezTo>
                  <a:cubicBezTo>
                    <a:pt x="71" y="56"/>
                    <a:pt x="72" y="57"/>
                    <a:pt x="72" y="58"/>
                  </a:cubicBezTo>
                  <a:cubicBezTo>
                    <a:pt x="72" y="59"/>
                    <a:pt x="71" y="59"/>
                    <a:pt x="71" y="60"/>
                  </a:cubicBezTo>
                  <a:cubicBezTo>
                    <a:pt x="70" y="61"/>
                    <a:pt x="70" y="61"/>
                    <a:pt x="69" y="61"/>
                  </a:cubicBezTo>
                  <a:cubicBezTo>
                    <a:pt x="68" y="61"/>
                    <a:pt x="67" y="61"/>
                    <a:pt x="67" y="60"/>
                  </a:cubicBezTo>
                  <a:cubicBezTo>
                    <a:pt x="66" y="59"/>
                    <a:pt x="66" y="59"/>
                    <a:pt x="66" y="58"/>
                  </a:cubicBezTo>
                  <a:close/>
                  <a:moveTo>
                    <a:pt x="66" y="72"/>
                  </a:moveTo>
                  <a:cubicBezTo>
                    <a:pt x="66" y="71"/>
                    <a:pt x="66" y="70"/>
                    <a:pt x="67" y="70"/>
                  </a:cubicBezTo>
                  <a:cubicBezTo>
                    <a:pt x="67" y="69"/>
                    <a:pt x="68" y="69"/>
                    <a:pt x="69" y="69"/>
                  </a:cubicBezTo>
                  <a:cubicBezTo>
                    <a:pt x="70" y="69"/>
                    <a:pt x="70" y="69"/>
                    <a:pt x="71" y="70"/>
                  </a:cubicBezTo>
                  <a:cubicBezTo>
                    <a:pt x="71" y="70"/>
                    <a:pt x="72" y="71"/>
                    <a:pt x="72" y="72"/>
                  </a:cubicBezTo>
                  <a:cubicBezTo>
                    <a:pt x="72" y="73"/>
                    <a:pt x="71" y="73"/>
                    <a:pt x="71" y="74"/>
                  </a:cubicBezTo>
                  <a:cubicBezTo>
                    <a:pt x="70" y="75"/>
                    <a:pt x="70" y="75"/>
                    <a:pt x="69" y="75"/>
                  </a:cubicBezTo>
                  <a:cubicBezTo>
                    <a:pt x="68" y="75"/>
                    <a:pt x="67" y="75"/>
                    <a:pt x="67" y="74"/>
                  </a:cubicBezTo>
                  <a:cubicBezTo>
                    <a:pt x="66" y="74"/>
                    <a:pt x="66" y="73"/>
                    <a:pt x="66" y="72"/>
                  </a:cubicBezTo>
                  <a:close/>
                  <a:moveTo>
                    <a:pt x="3" y="104"/>
                  </a:moveTo>
                  <a:cubicBezTo>
                    <a:pt x="8" y="104"/>
                    <a:pt x="8" y="104"/>
                    <a:pt x="8" y="104"/>
                  </a:cubicBezTo>
                  <a:cubicBezTo>
                    <a:pt x="5" y="108"/>
                    <a:pt x="4" y="112"/>
                    <a:pt x="4" y="117"/>
                  </a:cubicBezTo>
                  <a:cubicBezTo>
                    <a:pt x="4" y="122"/>
                    <a:pt x="5" y="125"/>
                    <a:pt x="7" y="128"/>
                  </a:cubicBezTo>
                  <a:cubicBezTo>
                    <a:pt x="9" y="130"/>
                    <a:pt x="11" y="131"/>
                    <a:pt x="15" y="131"/>
                  </a:cubicBezTo>
                  <a:cubicBezTo>
                    <a:pt x="18" y="131"/>
                    <a:pt x="20" y="130"/>
                    <a:pt x="22" y="129"/>
                  </a:cubicBezTo>
                  <a:cubicBezTo>
                    <a:pt x="24" y="127"/>
                    <a:pt x="27" y="124"/>
                    <a:pt x="30" y="118"/>
                  </a:cubicBezTo>
                  <a:cubicBezTo>
                    <a:pt x="33" y="112"/>
                    <a:pt x="36" y="108"/>
                    <a:pt x="39" y="106"/>
                  </a:cubicBezTo>
                  <a:cubicBezTo>
                    <a:pt x="41" y="105"/>
                    <a:pt x="44" y="104"/>
                    <a:pt x="47" y="104"/>
                  </a:cubicBezTo>
                  <a:cubicBezTo>
                    <a:pt x="52" y="104"/>
                    <a:pt x="55" y="106"/>
                    <a:pt x="58" y="109"/>
                  </a:cubicBezTo>
                  <a:cubicBezTo>
                    <a:pt x="61" y="112"/>
                    <a:pt x="63" y="117"/>
                    <a:pt x="63" y="122"/>
                  </a:cubicBezTo>
                  <a:cubicBezTo>
                    <a:pt x="63" y="126"/>
                    <a:pt x="62" y="129"/>
                    <a:pt x="61" y="133"/>
                  </a:cubicBezTo>
                  <a:cubicBezTo>
                    <a:pt x="56" y="133"/>
                    <a:pt x="56" y="133"/>
                    <a:pt x="56" y="133"/>
                  </a:cubicBezTo>
                  <a:cubicBezTo>
                    <a:pt x="58" y="130"/>
                    <a:pt x="59" y="126"/>
                    <a:pt x="59" y="122"/>
                  </a:cubicBezTo>
                  <a:cubicBezTo>
                    <a:pt x="59" y="118"/>
                    <a:pt x="58" y="114"/>
                    <a:pt x="56" y="112"/>
                  </a:cubicBezTo>
                  <a:cubicBezTo>
                    <a:pt x="54" y="109"/>
                    <a:pt x="51" y="108"/>
                    <a:pt x="48" y="108"/>
                  </a:cubicBezTo>
                  <a:cubicBezTo>
                    <a:pt x="45" y="108"/>
                    <a:pt x="42" y="109"/>
                    <a:pt x="40" y="111"/>
                  </a:cubicBezTo>
                  <a:cubicBezTo>
                    <a:pt x="38" y="112"/>
                    <a:pt x="36" y="116"/>
                    <a:pt x="33" y="121"/>
                  </a:cubicBezTo>
                  <a:cubicBezTo>
                    <a:pt x="30" y="127"/>
                    <a:pt x="27" y="131"/>
                    <a:pt x="24" y="133"/>
                  </a:cubicBezTo>
                  <a:cubicBezTo>
                    <a:pt x="22" y="135"/>
                    <a:pt x="19" y="136"/>
                    <a:pt x="16" y="136"/>
                  </a:cubicBezTo>
                  <a:cubicBezTo>
                    <a:pt x="11" y="136"/>
                    <a:pt x="7" y="134"/>
                    <a:pt x="4" y="131"/>
                  </a:cubicBezTo>
                  <a:cubicBezTo>
                    <a:pt x="1" y="127"/>
                    <a:pt x="0" y="123"/>
                    <a:pt x="0" y="117"/>
                  </a:cubicBezTo>
                  <a:cubicBezTo>
                    <a:pt x="0" y="115"/>
                    <a:pt x="0" y="113"/>
                    <a:pt x="1" y="110"/>
                  </a:cubicBezTo>
                  <a:cubicBezTo>
                    <a:pt x="1" y="107"/>
                    <a:pt x="2" y="105"/>
                    <a:pt x="3" y="104"/>
                  </a:cubicBezTo>
                  <a:close/>
                  <a:moveTo>
                    <a:pt x="5" y="150"/>
                  </a:moveTo>
                  <a:cubicBezTo>
                    <a:pt x="5" y="186"/>
                    <a:pt x="5" y="186"/>
                    <a:pt x="5" y="186"/>
                  </a:cubicBezTo>
                  <a:cubicBezTo>
                    <a:pt x="1" y="186"/>
                    <a:pt x="1" y="186"/>
                    <a:pt x="1" y="186"/>
                  </a:cubicBezTo>
                  <a:cubicBezTo>
                    <a:pt x="1" y="144"/>
                    <a:pt x="1" y="144"/>
                    <a:pt x="1" y="144"/>
                  </a:cubicBezTo>
                  <a:cubicBezTo>
                    <a:pt x="2" y="144"/>
                    <a:pt x="2" y="144"/>
                    <a:pt x="2" y="144"/>
                  </a:cubicBezTo>
                  <a:cubicBezTo>
                    <a:pt x="58" y="180"/>
                    <a:pt x="58" y="180"/>
                    <a:pt x="58" y="180"/>
                  </a:cubicBezTo>
                  <a:cubicBezTo>
                    <a:pt x="58" y="146"/>
                    <a:pt x="58" y="146"/>
                    <a:pt x="58" y="146"/>
                  </a:cubicBezTo>
                  <a:cubicBezTo>
                    <a:pt x="62" y="146"/>
                    <a:pt x="62" y="146"/>
                    <a:pt x="62" y="146"/>
                  </a:cubicBezTo>
                  <a:cubicBezTo>
                    <a:pt x="62" y="187"/>
                    <a:pt x="62" y="187"/>
                    <a:pt x="62" y="187"/>
                  </a:cubicBezTo>
                  <a:cubicBezTo>
                    <a:pt x="60" y="187"/>
                    <a:pt x="60" y="187"/>
                    <a:pt x="60" y="187"/>
                  </a:cubicBezTo>
                  <a:lnTo>
                    <a:pt x="5" y="150"/>
                  </a:lnTo>
                  <a:close/>
                  <a:moveTo>
                    <a:pt x="54" y="203"/>
                  </a:moveTo>
                  <a:cubicBezTo>
                    <a:pt x="48" y="197"/>
                    <a:pt x="40" y="195"/>
                    <a:pt x="31" y="195"/>
                  </a:cubicBezTo>
                  <a:cubicBezTo>
                    <a:pt x="22" y="195"/>
                    <a:pt x="14" y="197"/>
                    <a:pt x="8" y="202"/>
                  </a:cubicBezTo>
                  <a:cubicBezTo>
                    <a:pt x="3" y="207"/>
                    <a:pt x="0" y="214"/>
                    <a:pt x="0" y="223"/>
                  </a:cubicBezTo>
                  <a:cubicBezTo>
                    <a:pt x="0" y="232"/>
                    <a:pt x="3" y="239"/>
                    <a:pt x="8" y="244"/>
                  </a:cubicBezTo>
                  <a:cubicBezTo>
                    <a:pt x="14" y="249"/>
                    <a:pt x="22" y="252"/>
                    <a:pt x="32" y="252"/>
                  </a:cubicBezTo>
                  <a:cubicBezTo>
                    <a:pt x="41" y="252"/>
                    <a:pt x="49" y="249"/>
                    <a:pt x="54" y="244"/>
                  </a:cubicBezTo>
                  <a:cubicBezTo>
                    <a:pt x="60" y="239"/>
                    <a:pt x="63" y="232"/>
                    <a:pt x="63" y="224"/>
                  </a:cubicBezTo>
                  <a:cubicBezTo>
                    <a:pt x="63" y="215"/>
                    <a:pt x="60" y="208"/>
                    <a:pt x="54" y="203"/>
                  </a:cubicBezTo>
                  <a:close/>
                  <a:moveTo>
                    <a:pt x="52" y="241"/>
                  </a:moveTo>
                  <a:cubicBezTo>
                    <a:pt x="47" y="245"/>
                    <a:pt x="40" y="247"/>
                    <a:pt x="32" y="247"/>
                  </a:cubicBezTo>
                  <a:cubicBezTo>
                    <a:pt x="23" y="247"/>
                    <a:pt x="16" y="245"/>
                    <a:pt x="11" y="241"/>
                  </a:cubicBezTo>
                  <a:cubicBezTo>
                    <a:pt x="6" y="236"/>
                    <a:pt x="4" y="230"/>
                    <a:pt x="4" y="223"/>
                  </a:cubicBezTo>
                  <a:cubicBezTo>
                    <a:pt x="4" y="216"/>
                    <a:pt x="6" y="210"/>
                    <a:pt x="11" y="206"/>
                  </a:cubicBezTo>
                  <a:cubicBezTo>
                    <a:pt x="16" y="201"/>
                    <a:pt x="23" y="199"/>
                    <a:pt x="31" y="199"/>
                  </a:cubicBezTo>
                  <a:cubicBezTo>
                    <a:pt x="39" y="199"/>
                    <a:pt x="46" y="201"/>
                    <a:pt x="51" y="206"/>
                  </a:cubicBezTo>
                  <a:cubicBezTo>
                    <a:pt x="56" y="210"/>
                    <a:pt x="59" y="216"/>
                    <a:pt x="59" y="223"/>
                  </a:cubicBezTo>
                  <a:cubicBezTo>
                    <a:pt x="59" y="231"/>
                    <a:pt x="56" y="237"/>
                    <a:pt x="52" y="241"/>
                  </a:cubicBezTo>
                  <a:close/>
                  <a:moveTo>
                    <a:pt x="66" y="216"/>
                  </a:moveTo>
                  <a:cubicBezTo>
                    <a:pt x="66" y="215"/>
                    <a:pt x="66" y="215"/>
                    <a:pt x="67" y="214"/>
                  </a:cubicBezTo>
                  <a:cubicBezTo>
                    <a:pt x="67" y="214"/>
                    <a:pt x="68" y="213"/>
                    <a:pt x="69" y="213"/>
                  </a:cubicBezTo>
                  <a:cubicBezTo>
                    <a:pt x="70" y="213"/>
                    <a:pt x="70" y="214"/>
                    <a:pt x="71" y="214"/>
                  </a:cubicBezTo>
                  <a:cubicBezTo>
                    <a:pt x="71" y="215"/>
                    <a:pt x="72" y="215"/>
                    <a:pt x="72" y="216"/>
                  </a:cubicBezTo>
                  <a:cubicBezTo>
                    <a:pt x="72" y="217"/>
                    <a:pt x="71" y="218"/>
                    <a:pt x="71" y="218"/>
                  </a:cubicBezTo>
                  <a:cubicBezTo>
                    <a:pt x="70" y="219"/>
                    <a:pt x="70" y="219"/>
                    <a:pt x="69" y="219"/>
                  </a:cubicBezTo>
                  <a:cubicBezTo>
                    <a:pt x="68" y="219"/>
                    <a:pt x="67" y="219"/>
                    <a:pt x="67" y="218"/>
                  </a:cubicBezTo>
                  <a:cubicBezTo>
                    <a:pt x="66" y="218"/>
                    <a:pt x="66" y="217"/>
                    <a:pt x="66" y="216"/>
                  </a:cubicBezTo>
                  <a:close/>
                  <a:moveTo>
                    <a:pt x="66" y="230"/>
                  </a:moveTo>
                  <a:cubicBezTo>
                    <a:pt x="66" y="230"/>
                    <a:pt x="66" y="229"/>
                    <a:pt x="67" y="228"/>
                  </a:cubicBezTo>
                  <a:cubicBezTo>
                    <a:pt x="67" y="228"/>
                    <a:pt x="68" y="227"/>
                    <a:pt x="69" y="227"/>
                  </a:cubicBezTo>
                  <a:cubicBezTo>
                    <a:pt x="70" y="227"/>
                    <a:pt x="70" y="228"/>
                    <a:pt x="71" y="228"/>
                  </a:cubicBezTo>
                  <a:cubicBezTo>
                    <a:pt x="71" y="229"/>
                    <a:pt x="72" y="230"/>
                    <a:pt x="72" y="230"/>
                  </a:cubicBezTo>
                  <a:cubicBezTo>
                    <a:pt x="72" y="231"/>
                    <a:pt x="71" y="232"/>
                    <a:pt x="71" y="232"/>
                  </a:cubicBezTo>
                  <a:cubicBezTo>
                    <a:pt x="70" y="233"/>
                    <a:pt x="70" y="233"/>
                    <a:pt x="69" y="233"/>
                  </a:cubicBezTo>
                  <a:cubicBezTo>
                    <a:pt x="68" y="233"/>
                    <a:pt x="67" y="233"/>
                    <a:pt x="67" y="233"/>
                  </a:cubicBezTo>
                  <a:cubicBezTo>
                    <a:pt x="66" y="232"/>
                    <a:pt x="66" y="231"/>
                    <a:pt x="66" y="230"/>
                  </a:cubicBezTo>
                  <a:close/>
                  <a:moveTo>
                    <a:pt x="1" y="307"/>
                  </a:moveTo>
                  <a:cubicBezTo>
                    <a:pt x="50" y="271"/>
                    <a:pt x="50" y="271"/>
                    <a:pt x="50" y="271"/>
                  </a:cubicBezTo>
                  <a:cubicBezTo>
                    <a:pt x="51" y="270"/>
                    <a:pt x="52" y="269"/>
                    <a:pt x="53" y="269"/>
                  </a:cubicBezTo>
                  <a:cubicBezTo>
                    <a:pt x="54" y="268"/>
                    <a:pt x="54" y="268"/>
                    <a:pt x="54" y="268"/>
                  </a:cubicBezTo>
                  <a:cubicBezTo>
                    <a:pt x="54" y="268"/>
                    <a:pt x="54" y="268"/>
                    <a:pt x="54" y="268"/>
                  </a:cubicBezTo>
                  <a:cubicBezTo>
                    <a:pt x="53" y="268"/>
                    <a:pt x="52" y="268"/>
                    <a:pt x="51" y="268"/>
                  </a:cubicBezTo>
                  <a:cubicBezTo>
                    <a:pt x="1" y="268"/>
                    <a:pt x="1" y="268"/>
                    <a:pt x="1" y="268"/>
                  </a:cubicBezTo>
                  <a:cubicBezTo>
                    <a:pt x="1" y="264"/>
                    <a:pt x="1" y="264"/>
                    <a:pt x="1" y="264"/>
                  </a:cubicBezTo>
                  <a:cubicBezTo>
                    <a:pt x="62" y="264"/>
                    <a:pt x="62" y="264"/>
                    <a:pt x="62" y="264"/>
                  </a:cubicBezTo>
                  <a:cubicBezTo>
                    <a:pt x="62" y="267"/>
                    <a:pt x="62" y="267"/>
                    <a:pt x="62" y="267"/>
                  </a:cubicBezTo>
                  <a:cubicBezTo>
                    <a:pt x="13" y="303"/>
                    <a:pt x="13" y="303"/>
                    <a:pt x="13" y="303"/>
                  </a:cubicBezTo>
                  <a:cubicBezTo>
                    <a:pt x="12" y="304"/>
                    <a:pt x="11" y="305"/>
                    <a:pt x="9" y="306"/>
                  </a:cubicBezTo>
                  <a:cubicBezTo>
                    <a:pt x="9" y="306"/>
                    <a:pt x="9" y="306"/>
                    <a:pt x="9" y="306"/>
                  </a:cubicBezTo>
                  <a:cubicBezTo>
                    <a:pt x="11" y="306"/>
                    <a:pt x="13" y="306"/>
                    <a:pt x="14" y="306"/>
                  </a:cubicBezTo>
                  <a:cubicBezTo>
                    <a:pt x="62" y="306"/>
                    <a:pt x="62" y="306"/>
                    <a:pt x="62" y="306"/>
                  </a:cubicBezTo>
                  <a:cubicBezTo>
                    <a:pt x="62" y="310"/>
                    <a:pt x="62" y="310"/>
                    <a:pt x="62" y="310"/>
                  </a:cubicBezTo>
                  <a:cubicBezTo>
                    <a:pt x="1" y="310"/>
                    <a:pt x="1" y="310"/>
                    <a:pt x="1" y="310"/>
                  </a:cubicBezTo>
                  <a:lnTo>
                    <a:pt x="1" y="307"/>
                  </a:lnTo>
                  <a:close/>
                  <a:moveTo>
                    <a:pt x="54" y="330"/>
                  </a:moveTo>
                  <a:cubicBezTo>
                    <a:pt x="48" y="325"/>
                    <a:pt x="40" y="322"/>
                    <a:pt x="31" y="322"/>
                  </a:cubicBezTo>
                  <a:cubicBezTo>
                    <a:pt x="22" y="322"/>
                    <a:pt x="14" y="325"/>
                    <a:pt x="8" y="330"/>
                  </a:cubicBezTo>
                  <a:cubicBezTo>
                    <a:pt x="3" y="335"/>
                    <a:pt x="0" y="342"/>
                    <a:pt x="0" y="350"/>
                  </a:cubicBezTo>
                  <a:cubicBezTo>
                    <a:pt x="0" y="359"/>
                    <a:pt x="3" y="366"/>
                    <a:pt x="8" y="371"/>
                  </a:cubicBezTo>
                  <a:cubicBezTo>
                    <a:pt x="14" y="376"/>
                    <a:pt x="22" y="379"/>
                    <a:pt x="32" y="379"/>
                  </a:cubicBezTo>
                  <a:cubicBezTo>
                    <a:pt x="41" y="379"/>
                    <a:pt x="49" y="376"/>
                    <a:pt x="54" y="371"/>
                  </a:cubicBezTo>
                  <a:cubicBezTo>
                    <a:pt x="60" y="366"/>
                    <a:pt x="63" y="360"/>
                    <a:pt x="63" y="351"/>
                  </a:cubicBezTo>
                  <a:cubicBezTo>
                    <a:pt x="63" y="342"/>
                    <a:pt x="60" y="335"/>
                    <a:pt x="54" y="330"/>
                  </a:cubicBezTo>
                  <a:close/>
                  <a:moveTo>
                    <a:pt x="52" y="368"/>
                  </a:moveTo>
                  <a:cubicBezTo>
                    <a:pt x="47" y="372"/>
                    <a:pt x="40" y="375"/>
                    <a:pt x="32" y="375"/>
                  </a:cubicBezTo>
                  <a:cubicBezTo>
                    <a:pt x="23" y="375"/>
                    <a:pt x="16" y="372"/>
                    <a:pt x="11" y="368"/>
                  </a:cubicBezTo>
                  <a:cubicBezTo>
                    <a:pt x="6" y="364"/>
                    <a:pt x="4" y="358"/>
                    <a:pt x="4" y="350"/>
                  </a:cubicBezTo>
                  <a:cubicBezTo>
                    <a:pt x="4" y="343"/>
                    <a:pt x="6" y="337"/>
                    <a:pt x="11" y="333"/>
                  </a:cubicBezTo>
                  <a:cubicBezTo>
                    <a:pt x="16" y="329"/>
                    <a:pt x="23" y="327"/>
                    <a:pt x="31" y="327"/>
                  </a:cubicBezTo>
                  <a:cubicBezTo>
                    <a:pt x="39" y="327"/>
                    <a:pt x="46" y="329"/>
                    <a:pt x="51" y="333"/>
                  </a:cubicBezTo>
                  <a:cubicBezTo>
                    <a:pt x="56" y="338"/>
                    <a:pt x="59" y="344"/>
                    <a:pt x="59" y="351"/>
                  </a:cubicBezTo>
                  <a:cubicBezTo>
                    <a:pt x="59" y="358"/>
                    <a:pt x="56" y="364"/>
                    <a:pt x="52" y="368"/>
                  </a:cubicBezTo>
                  <a:close/>
                  <a:moveTo>
                    <a:pt x="66" y="344"/>
                  </a:moveTo>
                  <a:cubicBezTo>
                    <a:pt x="66" y="343"/>
                    <a:pt x="66" y="342"/>
                    <a:pt x="67" y="342"/>
                  </a:cubicBezTo>
                  <a:cubicBezTo>
                    <a:pt x="67" y="341"/>
                    <a:pt x="68" y="341"/>
                    <a:pt x="69" y="341"/>
                  </a:cubicBezTo>
                  <a:cubicBezTo>
                    <a:pt x="70" y="341"/>
                    <a:pt x="70" y="341"/>
                    <a:pt x="71" y="342"/>
                  </a:cubicBezTo>
                  <a:cubicBezTo>
                    <a:pt x="71" y="342"/>
                    <a:pt x="72" y="343"/>
                    <a:pt x="72" y="344"/>
                  </a:cubicBezTo>
                  <a:cubicBezTo>
                    <a:pt x="72" y="344"/>
                    <a:pt x="71" y="345"/>
                    <a:pt x="71" y="346"/>
                  </a:cubicBezTo>
                  <a:cubicBezTo>
                    <a:pt x="70" y="346"/>
                    <a:pt x="70" y="347"/>
                    <a:pt x="69" y="347"/>
                  </a:cubicBezTo>
                  <a:cubicBezTo>
                    <a:pt x="68" y="347"/>
                    <a:pt x="67" y="346"/>
                    <a:pt x="67" y="346"/>
                  </a:cubicBezTo>
                  <a:cubicBezTo>
                    <a:pt x="66" y="345"/>
                    <a:pt x="66" y="345"/>
                    <a:pt x="66" y="344"/>
                  </a:cubicBezTo>
                  <a:close/>
                  <a:moveTo>
                    <a:pt x="66" y="358"/>
                  </a:moveTo>
                  <a:cubicBezTo>
                    <a:pt x="66" y="357"/>
                    <a:pt x="66" y="356"/>
                    <a:pt x="67" y="356"/>
                  </a:cubicBezTo>
                  <a:cubicBezTo>
                    <a:pt x="67" y="355"/>
                    <a:pt x="68" y="355"/>
                    <a:pt x="69" y="355"/>
                  </a:cubicBezTo>
                  <a:cubicBezTo>
                    <a:pt x="70" y="355"/>
                    <a:pt x="70" y="355"/>
                    <a:pt x="71" y="356"/>
                  </a:cubicBezTo>
                  <a:cubicBezTo>
                    <a:pt x="71" y="356"/>
                    <a:pt x="72" y="357"/>
                    <a:pt x="72" y="358"/>
                  </a:cubicBezTo>
                  <a:cubicBezTo>
                    <a:pt x="72" y="359"/>
                    <a:pt x="71" y="359"/>
                    <a:pt x="71" y="360"/>
                  </a:cubicBezTo>
                  <a:cubicBezTo>
                    <a:pt x="70" y="361"/>
                    <a:pt x="70" y="361"/>
                    <a:pt x="69" y="361"/>
                  </a:cubicBezTo>
                  <a:cubicBezTo>
                    <a:pt x="68" y="361"/>
                    <a:pt x="67" y="361"/>
                    <a:pt x="67" y="360"/>
                  </a:cubicBezTo>
                  <a:cubicBezTo>
                    <a:pt x="66" y="359"/>
                    <a:pt x="66" y="359"/>
                    <a:pt x="66" y="358"/>
                  </a:cubicBezTo>
                  <a:close/>
                  <a:moveTo>
                    <a:pt x="1" y="444"/>
                  </a:moveTo>
                  <a:cubicBezTo>
                    <a:pt x="44" y="444"/>
                    <a:pt x="44" y="444"/>
                    <a:pt x="44" y="444"/>
                  </a:cubicBezTo>
                  <a:cubicBezTo>
                    <a:pt x="45" y="444"/>
                    <a:pt x="48" y="444"/>
                    <a:pt x="53" y="444"/>
                  </a:cubicBezTo>
                  <a:cubicBezTo>
                    <a:pt x="53" y="444"/>
                    <a:pt x="53" y="444"/>
                    <a:pt x="53" y="444"/>
                  </a:cubicBezTo>
                  <a:cubicBezTo>
                    <a:pt x="51" y="443"/>
                    <a:pt x="49" y="443"/>
                    <a:pt x="48" y="442"/>
                  </a:cubicBezTo>
                  <a:cubicBezTo>
                    <a:pt x="1" y="420"/>
                    <a:pt x="1" y="420"/>
                    <a:pt x="1" y="420"/>
                  </a:cubicBezTo>
                  <a:cubicBezTo>
                    <a:pt x="1" y="419"/>
                    <a:pt x="1" y="419"/>
                    <a:pt x="1" y="419"/>
                  </a:cubicBezTo>
                  <a:cubicBezTo>
                    <a:pt x="47" y="397"/>
                    <a:pt x="47" y="397"/>
                    <a:pt x="47" y="397"/>
                  </a:cubicBezTo>
                  <a:cubicBezTo>
                    <a:pt x="49" y="397"/>
                    <a:pt x="51" y="396"/>
                    <a:pt x="53" y="395"/>
                  </a:cubicBezTo>
                  <a:cubicBezTo>
                    <a:pt x="53" y="395"/>
                    <a:pt x="53" y="395"/>
                    <a:pt x="53" y="395"/>
                  </a:cubicBezTo>
                  <a:cubicBezTo>
                    <a:pt x="50" y="395"/>
                    <a:pt x="48" y="396"/>
                    <a:pt x="45" y="396"/>
                  </a:cubicBezTo>
                  <a:cubicBezTo>
                    <a:pt x="1" y="396"/>
                    <a:pt x="1" y="396"/>
                    <a:pt x="1" y="396"/>
                  </a:cubicBezTo>
                  <a:cubicBezTo>
                    <a:pt x="1" y="391"/>
                    <a:pt x="1" y="391"/>
                    <a:pt x="1" y="391"/>
                  </a:cubicBezTo>
                  <a:cubicBezTo>
                    <a:pt x="62" y="391"/>
                    <a:pt x="62" y="391"/>
                    <a:pt x="62" y="391"/>
                  </a:cubicBezTo>
                  <a:cubicBezTo>
                    <a:pt x="62" y="395"/>
                    <a:pt x="62" y="395"/>
                    <a:pt x="62" y="395"/>
                  </a:cubicBezTo>
                  <a:cubicBezTo>
                    <a:pt x="13" y="418"/>
                    <a:pt x="13" y="418"/>
                    <a:pt x="13" y="418"/>
                  </a:cubicBezTo>
                  <a:cubicBezTo>
                    <a:pt x="12" y="418"/>
                    <a:pt x="12" y="418"/>
                    <a:pt x="12" y="418"/>
                  </a:cubicBezTo>
                  <a:cubicBezTo>
                    <a:pt x="11" y="419"/>
                    <a:pt x="11" y="419"/>
                    <a:pt x="10" y="419"/>
                  </a:cubicBezTo>
                  <a:cubicBezTo>
                    <a:pt x="9" y="419"/>
                    <a:pt x="9" y="419"/>
                    <a:pt x="8" y="420"/>
                  </a:cubicBezTo>
                  <a:cubicBezTo>
                    <a:pt x="8" y="420"/>
                    <a:pt x="8" y="420"/>
                    <a:pt x="8" y="420"/>
                  </a:cubicBezTo>
                  <a:cubicBezTo>
                    <a:pt x="9" y="421"/>
                    <a:pt x="9" y="421"/>
                    <a:pt x="9" y="421"/>
                  </a:cubicBezTo>
                  <a:cubicBezTo>
                    <a:pt x="9" y="421"/>
                    <a:pt x="10" y="421"/>
                    <a:pt x="13" y="422"/>
                  </a:cubicBezTo>
                  <a:cubicBezTo>
                    <a:pt x="62" y="444"/>
                    <a:pt x="62" y="444"/>
                    <a:pt x="62" y="444"/>
                  </a:cubicBezTo>
                  <a:cubicBezTo>
                    <a:pt x="62" y="448"/>
                    <a:pt x="62" y="448"/>
                    <a:pt x="62" y="448"/>
                  </a:cubicBezTo>
                  <a:cubicBezTo>
                    <a:pt x="1" y="448"/>
                    <a:pt x="1" y="448"/>
                    <a:pt x="1" y="448"/>
                  </a:cubicBezTo>
                  <a:lnTo>
                    <a:pt x="1" y="444"/>
                  </a:ln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9" name="Freeform 252">
              <a:extLst>
                <a:ext uri="{FF2B5EF4-FFF2-40B4-BE49-F238E27FC236}">
                  <a16:creationId xmlns:a16="http://schemas.microsoft.com/office/drawing/2014/main" id="{24F86513-710D-9216-2A91-0B2781C773ED}"/>
                </a:ext>
                <a:ext uri="{C183D7F6-B498-43B3-948B-1728B52AA6E4}">
                  <adec:decorative xmlns:adec="http://schemas.microsoft.com/office/drawing/2017/decorative" val="1"/>
                </a:ext>
              </a:extLst>
            </p:cNvPr>
            <p:cNvSpPr>
              <a:spLocks noEditPoints="1"/>
            </p:cNvSpPr>
            <p:nvPr/>
          </p:nvSpPr>
          <p:spPr bwMode="auto">
            <a:xfrm rot="16200000">
              <a:off x="6854383" y="5099479"/>
              <a:ext cx="267154" cy="1080177"/>
            </a:xfrm>
            <a:custGeom>
              <a:avLst/>
              <a:gdLst>
                <a:gd name="T0" fmla="*/ 0 w 88"/>
                <a:gd name="T1" fmla="*/ 31 h 355"/>
                <a:gd name="T2" fmla="*/ 33 w 88"/>
                <a:gd name="T3" fmla="*/ 0 h 355"/>
                <a:gd name="T4" fmla="*/ 69 w 88"/>
                <a:gd name="T5" fmla="*/ 34 h 355"/>
                <a:gd name="T6" fmla="*/ 62 w 88"/>
                <a:gd name="T7" fmla="*/ 49 h 355"/>
                <a:gd name="T8" fmla="*/ 56 w 88"/>
                <a:gd name="T9" fmla="*/ 13 h 355"/>
                <a:gd name="T10" fmla="*/ 12 w 88"/>
                <a:gd name="T11" fmla="*/ 13 h 355"/>
                <a:gd name="T12" fmla="*/ 7 w 88"/>
                <a:gd name="T13" fmla="*/ 49 h 355"/>
                <a:gd name="T14" fmla="*/ 1 w 88"/>
                <a:gd name="T15" fmla="*/ 58 h 355"/>
                <a:gd name="T16" fmla="*/ 22 w 88"/>
                <a:gd name="T17" fmla="*/ 70 h 355"/>
                <a:gd name="T18" fmla="*/ 1 w 88"/>
                <a:gd name="T19" fmla="*/ 107 h 355"/>
                <a:gd name="T20" fmla="*/ 68 w 88"/>
                <a:gd name="T21" fmla="*/ 87 h 355"/>
                <a:gd name="T22" fmla="*/ 1 w 88"/>
                <a:gd name="T23" fmla="*/ 58 h 355"/>
                <a:gd name="T24" fmla="*/ 60 w 88"/>
                <a:gd name="T25" fmla="*/ 86 h 355"/>
                <a:gd name="T26" fmla="*/ 26 w 88"/>
                <a:gd name="T27" fmla="*/ 98 h 355"/>
                <a:gd name="T28" fmla="*/ 57 w 88"/>
                <a:gd name="T29" fmla="*/ 83 h 355"/>
                <a:gd name="T30" fmla="*/ 73 w 88"/>
                <a:gd name="T31" fmla="*/ 81 h 355"/>
                <a:gd name="T32" fmla="*/ 88 w 88"/>
                <a:gd name="T33" fmla="*/ 88 h 355"/>
                <a:gd name="T34" fmla="*/ 73 w 88"/>
                <a:gd name="T35" fmla="*/ 81 h 355"/>
                <a:gd name="T36" fmla="*/ 49 w 88"/>
                <a:gd name="T37" fmla="*/ 183 h 355"/>
                <a:gd name="T38" fmla="*/ 58 w 88"/>
                <a:gd name="T39" fmla="*/ 183 h 355"/>
                <a:gd name="T40" fmla="*/ 1 w 88"/>
                <a:gd name="T41" fmla="*/ 156 h 355"/>
                <a:gd name="T42" fmla="*/ 52 w 88"/>
                <a:gd name="T43" fmla="*/ 131 h 355"/>
                <a:gd name="T44" fmla="*/ 59 w 88"/>
                <a:gd name="T45" fmla="*/ 128 h 355"/>
                <a:gd name="T46" fmla="*/ 1 w 88"/>
                <a:gd name="T47" fmla="*/ 129 h 355"/>
                <a:gd name="T48" fmla="*/ 68 w 88"/>
                <a:gd name="T49" fmla="*/ 124 h 355"/>
                <a:gd name="T50" fmla="*/ 14 w 88"/>
                <a:gd name="T51" fmla="*/ 154 h 355"/>
                <a:gd name="T52" fmla="*/ 11 w 88"/>
                <a:gd name="T53" fmla="*/ 155 h 355"/>
                <a:gd name="T54" fmla="*/ 8 w 88"/>
                <a:gd name="T55" fmla="*/ 156 h 355"/>
                <a:gd name="T56" fmla="*/ 14 w 88"/>
                <a:gd name="T57" fmla="*/ 158 h 355"/>
                <a:gd name="T58" fmla="*/ 68 w 88"/>
                <a:gd name="T59" fmla="*/ 187 h 355"/>
                <a:gd name="T60" fmla="*/ 1 w 88"/>
                <a:gd name="T61" fmla="*/ 183 h 355"/>
                <a:gd name="T62" fmla="*/ 67 w 88"/>
                <a:gd name="T63" fmla="*/ 291 h 355"/>
                <a:gd name="T64" fmla="*/ 64 w 88"/>
                <a:gd name="T65" fmla="*/ 286 h 355"/>
                <a:gd name="T66" fmla="*/ 64 w 88"/>
                <a:gd name="T67" fmla="*/ 280 h 355"/>
                <a:gd name="T68" fmla="*/ 69 w 88"/>
                <a:gd name="T69" fmla="*/ 260 h 355"/>
                <a:gd name="T70" fmla="*/ 60 w 88"/>
                <a:gd name="T71" fmla="*/ 236 h 355"/>
                <a:gd name="T72" fmla="*/ 34 w 88"/>
                <a:gd name="T73" fmla="*/ 227 h 355"/>
                <a:gd name="T74" fmla="*/ 9 w 88"/>
                <a:gd name="T75" fmla="*/ 236 h 355"/>
                <a:gd name="T76" fmla="*/ 0 w 88"/>
                <a:gd name="T77" fmla="*/ 258 h 355"/>
                <a:gd name="T78" fmla="*/ 9 w 88"/>
                <a:gd name="T79" fmla="*/ 282 h 355"/>
                <a:gd name="T80" fmla="*/ 35 w 88"/>
                <a:gd name="T81" fmla="*/ 290 h 355"/>
                <a:gd name="T82" fmla="*/ 60 w 88"/>
                <a:gd name="T83" fmla="*/ 284 h 355"/>
                <a:gd name="T84" fmla="*/ 70 w 88"/>
                <a:gd name="T85" fmla="*/ 296 h 355"/>
                <a:gd name="T86" fmla="*/ 76 w 88"/>
                <a:gd name="T87" fmla="*/ 295 h 355"/>
                <a:gd name="T88" fmla="*/ 70 w 88"/>
                <a:gd name="T89" fmla="*/ 291 h 355"/>
                <a:gd name="T90" fmla="*/ 47 w 88"/>
                <a:gd name="T91" fmla="*/ 284 h 355"/>
                <a:gd name="T92" fmla="*/ 22 w 88"/>
                <a:gd name="T93" fmla="*/ 284 h 355"/>
                <a:gd name="T94" fmla="*/ 6 w 88"/>
                <a:gd name="T95" fmla="*/ 270 h 355"/>
                <a:gd name="T96" fmla="*/ 6 w 88"/>
                <a:gd name="T97" fmla="*/ 247 h 355"/>
                <a:gd name="T98" fmla="*/ 22 w 88"/>
                <a:gd name="T99" fmla="*/ 234 h 355"/>
                <a:gd name="T100" fmla="*/ 47 w 88"/>
                <a:gd name="T101" fmla="*/ 234 h 355"/>
                <a:gd name="T102" fmla="*/ 63 w 88"/>
                <a:gd name="T103" fmla="*/ 248 h 355"/>
                <a:gd name="T104" fmla="*/ 63 w 88"/>
                <a:gd name="T105" fmla="*/ 270 h 355"/>
                <a:gd name="T106" fmla="*/ 1 w 88"/>
                <a:gd name="T107" fmla="*/ 352 h 355"/>
                <a:gd name="T108" fmla="*/ 58 w 88"/>
                <a:gd name="T109" fmla="*/ 309 h 355"/>
                <a:gd name="T110" fmla="*/ 59 w 88"/>
                <a:gd name="T111" fmla="*/ 309 h 355"/>
                <a:gd name="T112" fmla="*/ 1 w 88"/>
                <a:gd name="T113" fmla="*/ 309 h 355"/>
                <a:gd name="T114" fmla="*/ 68 w 88"/>
                <a:gd name="T115" fmla="*/ 304 h 355"/>
                <a:gd name="T116" fmla="*/ 14 w 88"/>
                <a:gd name="T117" fmla="*/ 347 h 355"/>
                <a:gd name="T118" fmla="*/ 10 w 88"/>
                <a:gd name="T119" fmla="*/ 351 h 355"/>
                <a:gd name="T120" fmla="*/ 68 w 88"/>
                <a:gd name="T121" fmla="*/ 350 h 355"/>
                <a:gd name="T122" fmla="*/ 1 w 88"/>
                <a:gd name="T12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355">
                  <a:moveTo>
                    <a:pt x="3" y="49"/>
                  </a:moveTo>
                  <a:cubicBezTo>
                    <a:pt x="1" y="43"/>
                    <a:pt x="0" y="37"/>
                    <a:pt x="0" y="31"/>
                  </a:cubicBezTo>
                  <a:cubicBezTo>
                    <a:pt x="0" y="22"/>
                    <a:pt x="3" y="15"/>
                    <a:pt x="9" y="9"/>
                  </a:cubicBezTo>
                  <a:cubicBezTo>
                    <a:pt x="15" y="3"/>
                    <a:pt x="23" y="0"/>
                    <a:pt x="33" y="0"/>
                  </a:cubicBezTo>
                  <a:cubicBezTo>
                    <a:pt x="44" y="0"/>
                    <a:pt x="53" y="3"/>
                    <a:pt x="59" y="10"/>
                  </a:cubicBezTo>
                  <a:cubicBezTo>
                    <a:pt x="66" y="16"/>
                    <a:pt x="69" y="24"/>
                    <a:pt x="69" y="34"/>
                  </a:cubicBezTo>
                  <a:cubicBezTo>
                    <a:pt x="69" y="39"/>
                    <a:pt x="68" y="44"/>
                    <a:pt x="67" y="49"/>
                  </a:cubicBezTo>
                  <a:cubicBezTo>
                    <a:pt x="62" y="49"/>
                    <a:pt x="62" y="49"/>
                    <a:pt x="62" y="49"/>
                  </a:cubicBezTo>
                  <a:cubicBezTo>
                    <a:pt x="64" y="44"/>
                    <a:pt x="65" y="39"/>
                    <a:pt x="65" y="34"/>
                  </a:cubicBezTo>
                  <a:cubicBezTo>
                    <a:pt x="65" y="25"/>
                    <a:pt x="62" y="18"/>
                    <a:pt x="56" y="13"/>
                  </a:cubicBezTo>
                  <a:cubicBezTo>
                    <a:pt x="51" y="8"/>
                    <a:pt x="43" y="5"/>
                    <a:pt x="34" y="5"/>
                  </a:cubicBezTo>
                  <a:cubicBezTo>
                    <a:pt x="24" y="5"/>
                    <a:pt x="17" y="7"/>
                    <a:pt x="12" y="13"/>
                  </a:cubicBezTo>
                  <a:cubicBezTo>
                    <a:pt x="6" y="18"/>
                    <a:pt x="4" y="24"/>
                    <a:pt x="4" y="32"/>
                  </a:cubicBezTo>
                  <a:cubicBezTo>
                    <a:pt x="4" y="38"/>
                    <a:pt x="5" y="44"/>
                    <a:pt x="7" y="49"/>
                  </a:cubicBezTo>
                  <a:lnTo>
                    <a:pt x="3" y="49"/>
                  </a:lnTo>
                  <a:close/>
                  <a:moveTo>
                    <a:pt x="1" y="58"/>
                  </a:moveTo>
                  <a:cubicBezTo>
                    <a:pt x="1" y="63"/>
                    <a:pt x="1" y="63"/>
                    <a:pt x="1" y="63"/>
                  </a:cubicBezTo>
                  <a:cubicBezTo>
                    <a:pt x="22" y="70"/>
                    <a:pt x="22" y="70"/>
                    <a:pt x="22" y="70"/>
                  </a:cubicBezTo>
                  <a:cubicBezTo>
                    <a:pt x="22" y="100"/>
                    <a:pt x="22" y="100"/>
                    <a:pt x="22" y="100"/>
                  </a:cubicBezTo>
                  <a:cubicBezTo>
                    <a:pt x="1" y="107"/>
                    <a:pt x="1" y="107"/>
                    <a:pt x="1" y="107"/>
                  </a:cubicBezTo>
                  <a:cubicBezTo>
                    <a:pt x="1" y="113"/>
                    <a:pt x="1" y="113"/>
                    <a:pt x="1" y="113"/>
                  </a:cubicBezTo>
                  <a:cubicBezTo>
                    <a:pt x="68" y="87"/>
                    <a:pt x="68" y="87"/>
                    <a:pt x="68" y="87"/>
                  </a:cubicBezTo>
                  <a:cubicBezTo>
                    <a:pt x="68" y="83"/>
                    <a:pt x="68" y="83"/>
                    <a:pt x="68" y="83"/>
                  </a:cubicBezTo>
                  <a:lnTo>
                    <a:pt x="1" y="58"/>
                  </a:lnTo>
                  <a:close/>
                  <a:moveTo>
                    <a:pt x="62" y="85"/>
                  </a:moveTo>
                  <a:cubicBezTo>
                    <a:pt x="61" y="85"/>
                    <a:pt x="61" y="86"/>
                    <a:pt x="60" y="86"/>
                  </a:cubicBezTo>
                  <a:cubicBezTo>
                    <a:pt x="59" y="86"/>
                    <a:pt x="58" y="86"/>
                    <a:pt x="57" y="87"/>
                  </a:cubicBezTo>
                  <a:cubicBezTo>
                    <a:pt x="26" y="98"/>
                    <a:pt x="26" y="98"/>
                    <a:pt x="26" y="98"/>
                  </a:cubicBezTo>
                  <a:cubicBezTo>
                    <a:pt x="26" y="72"/>
                    <a:pt x="26" y="72"/>
                    <a:pt x="26" y="72"/>
                  </a:cubicBezTo>
                  <a:cubicBezTo>
                    <a:pt x="57" y="83"/>
                    <a:pt x="57" y="83"/>
                    <a:pt x="57" y="83"/>
                  </a:cubicBezTo>
                  <a:cubicBezTo>
                    <a:pt x="58" y="84"/>
                    <a:pt x="60" y="84"/>
                    <a:pt x="62" y="85"/>
                  </a:cubicBezTo>
                  <a:close/>
                  <a:moveTo>
                    <a:pt x="73" y="81"/>
                  </a:moveTo>
                  <a:cubicBezTo>
                    <a:pt x="73" y="77"/>
                    <a:pt x="73" y="77"/>
                    <a:pt x="73" y="77"/>
                  </a:cubicBezTo>
                  <a:cubicBezTo>
                    <a:pt x="88" y="88"/>
                    <a:pt x="88" y="88"/>
                    <a:pt x="88" y="88"/>
                  </a:cubicBezTo>
                  <a:cubicBezTo>
                    <a:pt x="88" y="93"/>
                    <a:pt x="88" y="93"/>
                    <a:pt x="88" y="93"/>
                  </a:cubicBezTo>
                  <a:lnTo>
                    <a:pt x="73" y="81"/>
                  </a:lnTo>
                  <a:close/>
                  <a:moveTo>
                    <a:pt x="1" y="183"/>
                  </a:moveTo>
                  <a:cubicBezTo>
                    <a:pt x="49" y="183"/>
                    <a:pt x="49" y="183"/>
                    <a:pt x="49" y="183"/>
                  </a:cubicBezTo>
                  <a:cubicBezTo>
                    <a:pt x="50" y="183"/>
                    <a:pt x="53" y="183"/>
                    <a:pt x="58" y="183"/>
                  </a:cubicBezTo>
                  <a:cubicBezTo>
                    <a:pt x="58" y="183"/>
                    <a:pt x="58" y="183"/>
                    <a:pt x="58" y="183"/>
                  </a:cubicBezTo>
                  <a:cubicBezTo>
                    <a:pt x="56" y="182"/>
                    <a:pt x="54" y="181"/>
                    <a:pt x="53" y="180"/>
                  </a:cubicBezTo>
                  <a:cubicBezTo>
                    <a:pt x="1" y="156"/>
                    <a:pt x="1" y="156"/>
                    <a:pt x="1" y="156"/>
                  </a:cubicBezTo>
                  <a:cubicBezTo>
                    <a:pt x="1" y="155"/>
                    <a:pt x="1" y="155"/>
                    <a:pt x="1" y="155"/>
                  </a:cubicBezTo>
                  <a:cubicBezTo>
                    <a:pt x="52" y="131"/>
                    <a:pt x="52" y="131"/>
                    <a:pt x="52" y="131"/>
                  </a:cubicBezTo>
                  <a:cubicBezTo>
                    <a:pt x="54" y="130"/>
                    <a:pt x="56" y="129"/>
                    <a:pt x="59" y="129"/>
                  </a:cubicBezTo>
                  <a:cubicBezTo>
                    <a:pt x="59" y="128"/>
                    <a:pt x="59" y="128"/>
                    <a:pt x="59" y="128"/>
                  </a:cubicBezTo>
                  <a:cubicBezTo>
                    <a:pt x="56" y="129"/>
                    <a:pt x="53" y="129"/>
                    <a:pt x="50" y="129"/>
                  </a:cubicBezTo>
                  <a:cubicBezTo>
                    <a:pt x="1" y="129"/>
                    <a:pt x="1" y="129"/>
                    <a:pt x="1" y="129"/>
                  </a:cubicBezTo>
                  <a:cubicBezTo>
                    <a:pt x="1" y="124"/>
                    <a:pt x="1" y="124"/>
                    <a:pt x="1" y="124"/>
                  </a:cubicBezTo>
                  <a:cubicBezTo>
                    <a:pt x="68" y="124"/>
                    <a:pt x="68" y="124"/>
                    <a:pt x="68" y="124"/>
                  </a:cubicBezTo>
                  <a:cubicBezTo>
                    <a:pt x="68" y="128"/>
                    <a:pt x="68" y="128"/>
                    <a:pt x="68" y="128"/>
                  </a:cubicBezTo>
                  <a:cubicBezTo>
                    <a:pt x="14" y="154"/>
                    <a:pt x="14" y="154"/>
                    <a:pt x="14" y="154"/>
                  </a:cubicBezTo>
                  <a:cubicBezTo>
                    <a:pt x="13" y="154"/>
                    <a:pt x="13" y="154"/>
                    <a:pt x="13" y="154"/>
                  </a:cubicBezTo>
                  <a:cubicBezTo>
                    <a:pt x="12" y="154"/>
                    <a:pt x="11" y="154"/>
                    <a:pt x="11" y="155"/>
                  </a:cubicBezTo>
                  <a:cubicBezTo>
                    <a:pt x="10" y="155"/>
                    <a:pt x="9" y="155"/>
                    <a:pt x="8" y="156"/>
                  </a:cubicBezTo>
                  <a:cubicBezTo>
                    <a:pt x="8" y="156"/>
                    <a:pt x="8" y="156"/>
                    <a:pt x="8" y="156"/>
                  </a:cubicBezTo>
                  <a:cubicBezTo>
                    <a:pt x="10" y="156"/>
                    <a:pt x="10" y="156"/>
                    <a:pt x="10" y="156"/>
                  </a:cubicBezTo>
                  <a:cubicBezTo>
                    <a:pt x="10" y="157"/>
                    <a:pt x="11" y="157"/>
                    <a:pt x="14" y="158"/>
                  </a:cubicBezTo>
                  <a:cubicBezTo>
                    <a:pt x="68" y="183"/>
                    <a:pt x="68" y="183"/>
                    <a:pt x="68" y="183"/>
                  </a:cubicBezTo>
                  <a:cubicBezTo>
                    <a:pt x="68" y="187"/>
                    <a:pt x="68" y="187"/>
                    <a:pt x="68" y="187"/>
                  </a:cubicBezTo>
                  <a:cubicBezTo>
                    <a:pt x="1" y="187"/>
                    <a:pt x="1" y="187"/>
                    <a:pt x="1" y="187"/>
                  </a:cubicBezTo>
                  <a:lnTo>
                    <a:pt x="1" y="183"/>
                  </a:lnTo>
                  <a:close/>
                  <a:moveTo>
                    <a:pt x="70" y="291"/>
                  </a:moveTo>
                  <a:cubicBezTo>
                    <a:pt x="69" y="291"/>
                    <a:pt x="68" y="291"/>
                    <a:pt x="67" y="291"/>
                  </a:cubicBezTo>
                  <a:cubicBezTo>
                    <a:pt x="66" y="290"/>
                    <a:pt x="66" y="290"/>
                    <a:pt x="65" y="289"/>
                  </a:cubicBezTo>
                  <a:cubicBezTo>
                    <a:pt x="65" y="288"/>
                    <a:pt x="64" y="287"/>
                    <a:pt x="64" y="286"/>
                  </a:cubicBezTo>
                  <a:cubicBezTo>
                    <a:pt x="64" y="285"/>
                    <a:pt x="64" y="284"/>
                    <a:pt x="64" y="282"/>
                  </a:cubicBezTo>
                  <a:cubicBezTo>
                    <a:pt x="64" y="281"/>
                    <a:pt x="64" y="280"/>
                    <a:pt x="64" y="280"/>
                  </a:cubicBezTo>
                  <a:cubicBezTo>
                    <a:pt x="64" y="279"/>
                    <a:pt x="64" y="278"/>
                    <a:pt x="64" y="277"/>
                  </a:cubicBezTo>
                  <a:cubicBezTo>
                    <a:pt x="67" y="272"/>
                    <a:pt x="69" y="267"/>
                    <a:pt x="69" y="260"/>
                  </a:cubicBezTo>
                  <a:cubicBezTo>
                    <a:pt x="69" y="255"/>
                    <a:pt x="68" y="250"/>
                    <a:pt x="67" y="246"/>
                  </a:cubicBezTo>
                  <a:cubicBezTo>
                    <a:pt x="65" y="242"/>
                    <a:pt x="63" y="239"/>
                    <a:pt x="60" y="236"/>
                  </a:cubicBezTo>
                  <a:cubicBezTo>
                    <a:pt x="56" y="233"/>
                    <a:pt x="53" y="231"/>
                    <a:pt x="48" y="229"/>
                  </a:cubicBezTo>
                  <a:cubicBezTo>
                    <a:pt x="44" y="228"/>
                    <a:pt x="39" y="227"/>
                    <a:pt x="34" y="227"/>
                  </a:cubicBezTo>
                  <a:cubicBezTo>
                    <a:pt x="29" y="227"/>
                    <a:pt x="24" y="228"/>
                    <a:pt x="20" y="229"/>
                  </a:cubicBezTo>
                  <a:cubicBezTo>
                    <a:pt x="16" y="231"/>
                    <a:pt x="12" y="233"/>
                    <a:pt x="9" y="236"/>
                  </a:cubicBezTo>
                  <a:cubicBezTo>
                    <a:pt x="6" y="238"/>
                    <a:pt x="4" y="242"/>
                    <a:pt x="2" y="245"/>
                  </a:cubicBezTo>
                  <a:cubicBezTo>
                    <a:pt x="0" y="249"/>
                    <a:pt x="0" y="254"/>
                    <a:pt x="0" y="258"/>
                  </a:cubicBezTo>
                  <a:cubicBezTo>
                    <a:pt x="0" y="263"/>
                    <a:pt x="0" y="268"/>
                    <a:pt x="2" y="271"/>
                  </a:cubicBezTo>
                  <a:cubicBezTo>
                    <a:pt x="4" y="275"/>
                    <a:pt x="6" y="279"/>
                    <a:pt x="9" y="282"/>
                  </a:cubicBezTo>
                  <a:cubicBezTo>
                    <a:pt x="12" y="284"/>
                    <a:pt x="16" y="286"/>
                    <a:pt x="20" y="288"/>
                  </a:cubicBezTo>
                  <a:cubicBezTo>
                    <a:pt x="25" y="289"/>
                    <a:pt x="30" y="290"/>
                    <a:pt x="35" y="290"/>
                  </a:cubicBezTo>
                  <a:cubicBezTo>
                    <a:pt x="45" y="290"/>
                    <a:pt x="53" y="287"/>
                    <a:pt x="60" y="282"/>
                  </a:cubicBezTo>
                  <a:cubicBezTo>
                    <a:pt x="60" y="284"/>
                    <a:pt x="60" y="284"/>
                    <a:pt x="60" y="284"/>
                  </a:cubicBezTo>
                  <a:cubicBezTo>
                    <a:pt x="60" y="288"/>
                    <a:pt x="60" y="291"/>
                    <a:pt x="62" y="293"/>
                  </a:cubicBezTo>
                  <a:cubicBezTo>
                    <a:pt x="64" y="295"/>
                    <a:pt x="66" y="296"/>
                    <a:pt x="70" y="296"/>
                  </a:cubicBezTo>
                  <a:cubicBezTo>
                    <a:pt x="71" y="296"/>
                    <a:pt x="72" y="296"/>
                    <a:pt x="73" y="296"/>
                  </a:cubicBezTo>
                  <a:cubicBezTo>
                    <a:pt x="74" y="295"/>
                    <a:pt x="75" y="295"/>
                    <a:pt x="76" y="295"/>
                  </a:cubicBezTo>
                  <a:cubicBezTo>
                    <a:pt x="76" y="290"/>
                    <a:pt x="76" y="290"/>
                    <a:pt x="76" y="290"/>
                  </a:cubicBezTo>
                  <a:cubicBezTo>
                    <a:pt x="74" y="291"/>
                    <a:pt x="72" y="291"/>
                    <a:pt x="70" y="291"/>
                  </a:cubicBezTo>
                  <a:close/>
                  <a:moveTo>
                    <a:pt x="57" y="278"/>
                  </a:moveTo>
                  <a:cubicBezTo>
                    <a:pt x="54" y="281"/>
                    <a:pt x="51" y="282"/>
                    <a:pt x="47" y="284"/>
                  </a:cubicBezTo>
                  <a:cubicBezTo>
                    <a:pt x="44" y="285"/>
                    <a:pt x="39" y="285"/>
                    <a:pt x="35" y="285"/>
                  </a:cubicBezTo>
                  <a:cubicBezTo>
                    <a:pt x="30" y="285"/>
                    <a:pt x="25" y="285"/>
                    <a:pt x="22" y="284"/>
                  </a:cubicBezTo>
                  <a:cubicBezTo>
                    <a:pt x="18" y="282"/>
                    <a:pt x="15" y="280"/>
                    <a:pt x="12" y="278"/>
                  </a:cubicBezTo>
                  <a:cubicBezTo>
                    <a:pt x="9" y="276"/>
                    <a:pt x="7" y="273"/>
                    <a:pt x="6" y="270"/>
                  </a:cubicBezTo>
                  <a:cubicBezTo>
                    <a:pt x="4" y="266"/>
                    <a:pt x="4" y="262"/>
                    <a:pt x="4" y="258"/>
                  </a:cubicBezTo>
                  <a:cubicBezTo>
                    <a:pt x="4" y="254"/>
                    <a:pt x="5" y="251"/>
                    <a:pt x="6" y="247"/>
                  </a:cubicBezTo>
                  <a:cubicBezTo>
                    <a:pt x="7" y="244"/>
                    <a:pt x="9" y="241"/>
                    <a:pt x="12" y="239"/>
                  </a:cubicBezTo>
                  <a:cubicBezTo>
                    <a:pt x="15" y="237"/>
                    <a:pt x="18" y="235"/>
                    <a:pt x="22" y="234"/>
                  </a:cubicBezTo>
                  <a:cubicBezTo>
                    <a:pt x="25" y="233"/>
                    <a:pt x="30" y="232"/>
                    <a:pt x="34" y="232"/>
                  </a:cubicBezTo>
                  <a:cubicBezTo>
                    <a:pt x="39" y="232"/>
                    <a:pt x="43" y="233"/>
                    <a:pt x="47" y="234"/>
                  </a:cubicBezTo>
                  <a:cubicBezTo>
                    <a:pt x="51" y="235"/>
                    <a:pt x="54" y="237"/>
                    <a:pt x="56" y="240"/>
                  </a:cubicBezTo>
                  <a:cubicBezTo>
                    <a:pt x="59" y="242"/>
                    <a:pt x="61" y="245"/>
                    <a:pt x="63" y="248"/>
                  </a:cubicBezTo>
                  <a:cubicBezTo>
                    <a:pt x="64" y="251"/>
                    <a:pt x="65" y="255"/>
                    <a:pt x="65" y="259"/>
                  </a:cubicBezTo>
                  <a:cubicBezTo>
                    <a:pt x="65" y="263"/>
                    <a:pt x="64" y="267"/>
                    <a:pt x="63" y="270"/>
                  </a:cubicBezTo>
                  <a:cubicBezTo>
                    <a:pt x="62" y="273"/>
                    <a:pt x="60" y="276"/>
                    <a:pt x="57" y="278"/>
                  </a:cubicBezTo>
                  <a:close/>
                  <a:moveTo>
                    <a:pt x="1" y="352"/>
                  </a:moveTo>
                  <a:cubicBezTo>
                    <a:pt x="55" y="312"/>
                    <a:pt x="55" y="312"/>
                    <a:pt x="55" y="312"/>
                  </a:cubicBezTo>
                  <a:cubicBezTo>
                    <a:pt x="56" y="311"/>
                    <a:pt x="57" y="310"/>
                    <a:pt x="58" y="309"/>
                  </a:cubicBezTo>
                  <a:cubicBezTo>
                    <a:pt x="59" y="309"/>
                    <a:pt x="59" y="309"/>
                    <a:pt x="59" y="309"/>
                  </a:cubicBezTo>
                  <a:cubicBezTo>
                    <a:pt x="59" y="309"/>
                    <a:pt x="59" y="309"/>
                    <a:pt x="59" y="309"/>
                  </a:cubicBezTo>
                  <a:cubicBezTo>
                    <a:pt x="59" y="309"/>
                    <a:pt x="58" y="309"/>
                    <a:pt x="56" y="309"/>
                  </a:cubicBezTo>
                  <a:cubicBezTo>
                    <a:pt x="1" y="309"/>
                    <a:pt x="1" y="309"/>
                    <a:pt x="1" y="309"/>
                  </a:cubicBezTo>
                  <a:cubicBezTo>
                    <a:pt x="1" y="304"/>
                    <a:pt x="1" y="304"/>
                    <a:pt x="1" y="304"/>
                  </a:cubicBezTo>
                  <a:cubicBezTo>
                    <a:pt x="68" y="304"/>
                    <a:pt x="68" y="304"/>
                    <a:pt x="68" y="304"/>
                  </a:cubicBezTo>
                  <a:cubicBezTo>
                    <a:pt x="68" y="308"/>
                    <a:pt x="68" y="308"/>
                    <a:pt x="68" y="308"/>
                  </a:cubicBezTo>
                  <a:cubicBezTo>
                    <a:pt x="14" y="347"/>
                    <a:pt x="14" y="347"/>
                    <a:pt x="14" y="347"/>
                  </a:cubicBezTo>
                  <a:cubicBezTo>
                    <a:pt x="13" y="348"/>
                    <a:pt x="11" y="349"/>
                    <a:pt x="10" y="350"/>
                  </a:cubicBezTo>
                  <a:cubicBezTo>
                    <a:pt x="10" y="351"/>
                    <a:pt x="10" y="351"/>
                    <a:pt x="10" y="351"/>
                  </a:cubicBezTo>
                  <a:cubicBezTo>
                    <a:pt x="12" y="350"/>
                    <a:pt x="14" y="350"/>
                    <a:pt x="15" y="350"/>
                  </a:cubicBezTo>
                  <a:cubicBezTo>
                    <a:pt x="68" y="350"/>
                    <a:pt x="68" y="350"/>
                    <a:pt x="68" y="350"/>
                  </a:cubicBezTo>
                  <a:cubicBezTo>
                    <a:pt x="68" y="355"/>
                    <a:pt x="68" y="355"/>
                    <a:pt x="68" y="355"/>
                  </a:cubicBezTo>
                  <a:cubicBezTo>
                    <a:pt x="1" y="355"/>
                    <a:pt x="1" y="355"/>
                    <a:pt x="1" y="355"/>
                  </a:cubicBezTo>
                  <a:lnTo>
                    <a:pt x="1" y="352"/>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40" name="Freeform 254">
              <a:extLst>
                <a:ext uri="{FF2B5EF4-FFF2-40B4-BE49-F238E27FC236}">
                  <a16:creationId xmlns:a16="http://schemas.microsoft.com/office/drawing/2014/main" id="{EDCD86F8-2DAC-7389-B6E0-AD6C5B53B65B}"/>
                </a:ext>
                <a:ext uri="{C183D7F6-B498-43B3-948B-1728B52AA6E4}">
                  <adec:decorative xmlns:adec="http://schemas.microsoft.com/office/drawing/2017/decorative" val="1"/>
                </a:ext>
              </a:extLst>
            </p:cNvPr>
            <p:cNvSpPr>
              <a:spLocks noEditPoints="1"/>
            </p:cNvSpPr>
            <p:nvPr/>
          </p:nvSpPr>
          <p:spPr bwMode="auto">
            <a:xfrm>
              <a:off x="1269635" y="4428592"/>
              <a:ext cx="981279" cy="146420"/>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41" name="Freeform 5">
              <a:extLst>
                <a:ext uri="{FF2B5EF4-FFF2-40B4-BE49-F238E27FC236}">
                  <a16:creationId xmlns:a16="http://schemas.microsoft.com/office/drawing/2014/main" id="{2EEEA630-F107-37B7-C445-243FBBC8532C}"/>
                </a:ext>
                <a:ext uri="{C183D7F6-B498-43B3-948B-1728B52AA6E4}">
                  <adec:decorative xmlns:adec="http://schemas.microsoft.com/office/drawing/2017/decorative" val="1"/>
                </a:ext>
              </a:extLst>
            </p:cNvPr>
            <p:cNvSpPr>
              <a:spLocks noEditPoints="1"/>
            </p:cNvSpPr>
            <p:nvPr/>
          </p:nvSpPr>
          <p:spPr bwMode="auto">
            <a:xfrm>
              <a:off x="5146839" y="5570034"/>
              <a:ext cx="651189" cy="199082"/>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solidFill>
              <a:schemeClr val="tx2">
                <a:lumMod val="50000"/>
                <a:lumOff val="50000"/>
              </a:scheme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Freeform 235">
              <a:extLst>
                <a:ext uri="{FF2B5EF4-FFF2-40B4-BE49-F238E27FC236}">
                  <a16:creationId xmlns:a16="http://schemas.microsoft.com/office/drawing/2014/main" id="{3B8FB36D-E014-76CB-A0CA-F3F182F2DD82}"/>
                </a:ext>
                <a:ext uri="{C183D7F6-B498-43B3-948B-1728B52AA6E4}">
                  <adec:decorative xmlns:adec="http://schemas.microsoft.com/office/drawing/2017/decorative" val="1"/>
                </a:ext>
              </a:extLst>
            </p:cNvPr>
            <p:cNvSpPr>
              <a:spLocks noEditPoints="1"/>
            </p:cNvSpPr>
            <p:nvPr/>
          </p:nvSpPr>
          <p:spPr bwMode="auto">
            <a:xfrm>
              <a:off x="2319405" y="4084404"/>
              <a:ext cx="747519" cy="182384"/>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solidFill>
              <a:schemeClr val="accent4">
                <a:lumMod val="75000"/>
              </a:schemeClr>
            </a:solidFill>
            <a:ln>
              <a:noFill/>
            </a:ln>
          </p:spPr>
          <p:txBody>
            <a:bodyPr vert="horz" wrap="square" lIns="89642" tIns="44821" rIns="89642" bIns="44821" numCol="1" anchor="t" anchorCtr="0" compatLnSpc="1">
              <a:prstTxWarp prst="textNoShape">
                <a:avLst/>
              </a:prstTxWarp>
            </a:bodyPr>
            <a:lstStyle/>
            <a:p>
              <a:pPr defTabSz="914314"/>
              <a:endParaRPr lang="en-US" sz="1200">
                <a:solidFill>
                  <a:srgbClr val="000000"/>
                </a:solidFill>
                <a:latin typeface="Segoe UI Semilight"/>
              </a:endParaRPr>
            </a:p>
          </p:txBody>
        </p:sp>
        <p:sp>
          <p:nvSpPr>
            <p:cNvPr id="43" name="TextBox 42">
              <a:extLst>
                <a:ext uri="{FF2B5EF4-FFF2-40B4-BE49-F238E27FC236}">
                  <a16:creationId xmlns:a16="http://schemas.microsoft.com/office/drawing/2014/main" id="{62C5ACEE-A43E-F3AB-2084-9E70415F78AC}"/>
                </a:ext>
                <a:ext uri="{C183D7F6-B498-43B3-948B-1728B52AA6E4}">
                  <adec:decorative xmlns:adec="http://schemas.microsoft.com/office/drawing/2017/decorative" val="1"/>
                </a:ext>
              </a:extLst>
            </p:cNvPr>
            <p:cNvSpPr txBox="1"/>
            <p:nvPr/>
          </p:nvSpPr>
          <p:spPr>
            <a:xfrm>
              <a:off x="3010944" y="5290674"/>
              <a:ext cx="1703431" cy="644515"/>
            </a:xfrm>
            <a:prstGeom prst="rect">
              <a:avLst/>
            </a:prstGeom>
            <a:noFill/>
          </p:spPr>
          <p:txBody>
            <a:bodyPr wrap="square" lIns="89642" tIns="44821" rIns="89642" bIns="4482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err="1">
                  <a:ln>
                    <a:noFill/>
                  </a:ln>
                  <a:solidFill>
                    <a:schemeClr val="tx2">
                      <a:lumMod val="75000"/>
                      <a:lumOff val="25000"/>
                    </a:schemeClr>
                  </a:solidFill>
                  <a:effectLst/>
                  <a:uLnTx/>
                  <a:uFillTx/>
                  <a:latin typeface="Calibri" panose="020F0502020204030204"/>
                  <a:ea typeface="+mn-ea"/>
                  <a:cs typeface="+mn-cs"/>
                </a:rPr>
                <a:t>આભાર</a:t>
              </a:r>
              <a:endParaRPr kumimoji="0" lang="en-US" sz="3600" b="1" i="0" u="none" strike="noStrike" kern="1200" cap="none" spc="0" normalizeH="0" baseline="0" noProof="0">
                <a:ln>
                  <a:noFill/>
                </a:ln>
                <a:solidFill>
                  <a:schemeClr val="tx2">
                    <a:lumMod val="75000"/>
                    <a:lumOff val="25000"/>
                  </a:schemeClr>
                </a:solidFill>
                <a:effectLst/>
                <a:uLnTx/>
                <a:uFillTx/>
                <a:latin typeface="Calibri" panose="020F0502020204030204"/>
                <a:ea typeface="+mn-ea"/>
                <a:cs typeface="Calibri"/>
              </a:endParaRPr>
            </a:p>
          </p:txBody>
        </p:sp>
        <p:sp>
          <p:nvSpPr>
            <p:cNvPr id="44" name="TextBox 43">
              <a:extLst>
                <a:ext uri="{FF2B5EF4-FFF2-40B4-BE49-F238E27FC236}">
                  <a16:creationId xmlns:a16="http://schemas.microsoft.com/office/drawing/2014/main" id="{957BE823-57BA-1B9E-778B-96AF6A33778A}"/>
                </a:ext>
                <a:ext uri="{C183D7F6-B498-43B3-948B-1728B52AA6E4}">
                  <adec:decorative xmlns:adec="http://schemas.microsoft.com/office/drawing/2017/decorative" val="1"/>
                </a:ext>
              </a:extLst>
            </p:cNvPr>
            <p:cNvSpPr txBox="1"/>
            <p:nvPr/>
          </p:nvSpPr>
          <p:spPr>
            <a:xfrm>
              <a:off x="9029115" y="4729600"/>
              <a:ext cx="1703431" cy="5931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3200" b="0" i="0" u="none" strike="noStrike" kern="1200" cap="none" spc="0" normalizeH="0" baseline="0" noProof="0">
                  <a:ln>
                    <a:noFill/>
                  </a:ln>
                  <a:solidFill>
                    <a:srgbClr val="94E874"/>
                  </a:solidFill>
                  <a:effectLst/>
                  <a:uLnTx/>
                  <a:uFillTx/>
                  <a:latin typeface="Calibri" panose="020F0502020204030204"/>
                  <a:ea typeface="+mn-ea"/>
                  <a:cs typeface="Mangal" panose="020B0502040204020203" pitchFamily="18" charset="0"/>
                </a:rPr>
                <a:t>धन्यवाद</a:t>
              </a:r>
              <a:endParaRPr kumimoji="0" lang="en-US" sz="3200" b="0" i="0" u="none" strike="noStrike" kern="1200" cap="none" spc="0" normalizeH="0" baseline="0" noProof="0">
                <a:ln>
                  <a:noFill/>
                </a:ln>
                <a:solidFill>
                  <a:srgbClr val="94E874"/>
                </a:solidFill>
                <a:effectLst/>
                <a:uLnTx/>
                <a:uFillTx/>
                <a:latin typeface="Calibri" panose="020F0502020204030204"/>
                <a:ea typeface="+mn-ea"/>
                <a:cs typeface="+mn-cs"/>
              </a:endParaRPr>
            </a:p>
          </p:txBody>
        </p:sp>
      </p:grpSp>
      <p:sp>
        <p:nvSpPr>
          <p:cNvPr id="46" name="Text Placeholder 45">
            <a:extLst>
              <a:ext uri="{FF2B5EF4-FFF2-40B4-BE49-F238E27FC236}">
                <a16:creationId xmlns:a16="http://schemas.microsoft.com/office/drawing/2014/main" id="{10397BC3-39D4-7D95-A009-0B33C1583FCB}"/>
              </a:ext>
            </a:extLst>
          </p:cNvPr>
          <p:cNvSpPr>
            <a:spLocks noGrp="1"/>
          </p:cNvSpPr>
          <p:nvPr>
            <p:ph type="body" sz="quarter" idx="10" hasCustomPrompt="1"/>
          </p:nvPr>
        </p:nvSpPr>
        <p:spPr>
          <a:xfrm>
            <a:off x="3356658" y="2875002"/>
            <a:ext cx="5478684" cy="1107996"/>
          </a:xfrm>
        </p:spPr>
        <p:txBody>
          <a:bodyPr/>
          <a:lstStyle>
            <a:lvl1pPr marL="0" indent="0" algn="ctr">
              <a:buNone/>
              <a:defRPr lang="en-US" sz="7200" b="0" kern="1200" cap="none" spc="-50" baseline="0" dirty="0" smtClean="0">
                <a:ln w="3175">
                  <a:noFill/>
                </a:ln>
                <a:solidFill>
                  <a:schemeClr val="bg1"/>
                </a:solidFill>
                <a:effectLst/>
                <a:latin typeface="+mj-lt"/>
                <a:ea typeface="+mn-ea"/>
                <a:cs typeface="Segoe UI" pitchFamily="34" charset="0"/>
              </a:defRPr>
            </a:lvl1pPr>
          </a:lstStyle>
          <a:p>
            <a:pPr marL="0" lvl="0" indent="0" algn="ctr" defTabSz="932742" rtl="0" eaLnBrk="1" latinLnBrk="0" hangingPunct="1">
              <a:lnSpc>
                <a:spcPct val="100000"/>
              </a:lnSpc>
              <a:spcBef>
                <a:spcPct val="0"/>
              </a:spcBef>
              <a:buFont typeface="Arial" panose="020B0604020202020204" pitchFamily="34" charset="0"/>
              <a:buNone/>
            </a:pPr>
            <a:r>
              <a:rPr lang="en-US"/>
              <a:t>THANK YOU</a:t>
            </a:r>
          </a:p>
        </p:txBody>
      </p:sp>
    </p:spTree>
    <p:extLst>
      <p:ext uri="{BB962C8B-B14F-4D97-AF65-F5344CB8AC3E}">
        <p14:creationId xmlns:p14="http://schemas.microsoft.com/office/powerpoint/2010/main" val="3424415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slide (Dark)">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1F98EFB3-8107-C3F0-6569-ACCD573DD3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DA27B1E-127B-0864-2316-D7A89861DB39}"/>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a:xfrm>
            <a:off x="0" y="7620"/>
            <a:ext cx="12192000" cy="6858000"/>
          </a:xfrm>
          <a:prstGeom prst="rect">
            <a:avLst/>
          </a:prstGeom>
        </p:spPr>
      </p:pic>
      <p:pic>
        <p:nvPicPr>
          <p:cNvPr id="5" name="Graphic 4">
            <a:extLst>
              <a:ext uri="{FF2B5EF4-FFF2-40B4-BE49-F238E27FC236}">
                <a16:creationId xmlns:a16="http://schemas.microsoft.com/office/drawing/2014/main" id="{74F18BFA-8A31-8E14-61B5-7B0F9F68D6C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4200" y="588962"/>
            <a:ext cx="1391154" cy="29368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8429D7A5-516F-58F3-537F-8C907D57014A}"/>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Tree>
    <p:extLst>
      <p:ext uri="{BB962C8B-B14F-4D97-AF65-F5344CB8AC3E}">
        <p14:creationId xmlns:p14="http://schemas.microsoft.com/office/powerpoint/2010/main" val="41734131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91D498F-9936-E1BA-F881-CE61ECA42518}"/>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4D15FB2A-62EB-3781-2CE9-6D9B48489524}"/>
                </a:ext>
              </a:extLst>
            </p:cNvPr>
            <p:cNvGrpSpPr/>
            <p:nvPr userDrawn="1"/>
          </p:nvGrpSpPr>
          <p:grpSpPr>
            <a:xfrm>
              <a:off x="0" y="0"/>
              <a:ext cx="12192000" cy="6858000"/>
              <a:chOff x="0" y="0"/>
              <a:chExt cx="12192000" cy="6858000"/>
            </a:xfrm>
          </p:grpSpPr>
          <p:pic>
            <p:nvPicPr>
              <p:cNvPr id="26" name="Picture 25" descr="A picture containing blue, electric blue, majorelle blue, blur&#10;&#10;Description automatically generated">
                <a:extLst>
                  <a:ext uri="{FF2B5EF4-FFF2-40B4-BE49-F238E27FC236}">
                    <a16:creationId xmlns:a16="http://schemas.microsoft.com/office/drawing/2014/main" id="{0C0BEFD3-BDBC-2211-BA51-41E0E60880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7" name="Picture 26">
                <a:extLst>
                  <a:ext uri="{FF2B5EF4-FFF2-40B4-BE49-F238E27FC236}">
                    <a16:creationId xmlns:a16="http://schemas.microsoft.com/office/drawing/2014/main" id="{D664DF57-D82C-DF3E-B1D5-C5A0C0313F6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396D0FCF-F4F1-0B08-B6DC-776CD90BB6FF}"/>
                </a:ext>
              </a:extLst>
            </p:cNvPr>
            <p:cNvGrpSpPr/>
            <p:nvPr userDrawn="1"/>
          </p:nvGrpSpPr>
          <p:grpSpPr>
            <a:xfrm>
              <a:off x="0" y="0"/>
              <a:ext cx="12192000" cy="6858002"/>
              <a:chOff x="0" y="0"/>
              <a:chExt cx="12192000" cy="6858002"/>
            </a:xfrm>
          </p:grpSpPr>
          <p:grpSp>
            <p:nvGrpSpPr>
              <p:cNvPr id="16" name="Group 15">
                <a:extLst>
                  <a:ext uri="{FF2B5EF4-FFF2-40B4-BE49-F238E27FC236}">
                    <a16:creationId xmlns:a16="http://schemas.microsoft.com/office/drawing/2014/main" id="{BD9A89AA-FB46-4242-3CE0-083C5AAC2C5F}"/>
                  </a:ext>
                </a:extLst>
              </p:cNvPr>
              <p:cNvGrpSpPr/>
              <p:nvPr/>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0F35DCB7-BA89-F54C-6414-576E7054CFF4}"/>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7F3ADE0A-162C-A617-3069-66EBD83F4B4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3AFE1179-0589-E118-85A8-C62B923C300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BB3A7186-8ED4-C193-F658-1DAAE8FC364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7" name="Freeform: Shape 16">
                <a:extLst>
                  <a:ext uri="{FF2B5EF4-FFF2-40B4-BE49-F238E27FC236}">
                    <a16:creationId xmlns:a16="http://schemas.microsoft.com/office/drawing/2014/main" id="{E16EA534-354E-D9F6-2A14-E66AE5E26DC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25" name="Rectangle 24">
            <a:extLst>
              <a:ext uri="{FF2B5EF4-FFF2-40B4-BE49-F238E27FC236}">
                <a16:creationId xmlns:a16="http://schemas.microsoft.com/office/drawing/2014/main" id="{CCD19D23-D676-3470-2280-B300E8049402}"/>
              </a:ext>
              <a:ext uri="{C183D7F6-B498-43B3-948B-1728B52AA6E4}">
                <adec:decorative xmlns:adec="http://schemas.microsoft.com/office/drawing/2017/decorative" val="1"/>
              </a:ext>
            </a:extLst>
          </p:cNvPr>
          <p:cNvSpPr/>
          <p:nvPr userDrawn="1"/>
        </p:nvSpPr>
        <p:spPr bwMode="auto">
          <a:xfrm>
            <a:off x="8594106" y="0"/>
            <a:ext cx="3617773" cy="6858000"/>
          </a:xfrm>
          <a:prstGeom prst="rect">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262904" y="245459"/>
            <a:ext cx="8242143"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0" name="Text Placeholder 19">
            <a:extLst>
              <a:ext uri="{FF2B5EF4-FFF2-40B4-BE49-F238E27FC236}">
                <a16:creationId xmlns:a16="http://schemas.microsoft.com/office/drawing/2014/main" id="{195DAF23-F7A1-6D41-E8D1-129D42534A5D}"/>
              </a:ext>
            </a:extLst>
          </p:cNvPr>
          <p:cNvSpPr>
            <a:spLocks noGrp="1"/>
          </p:cNvSpPr>
          <p:nvPr>
            <p:ph type="body" sz="quarter" idx="10"/>
          </p:nvPr>
        </p:nvSpPr>
        <p:spPr>
          <a:xfrm>
            <a:off x="282782" y="799457"/>
            <a:ext cx="8242143" cy="246221"/>
          </a:xfrm>
        </p:spPr>
        <p:txBody>
          <a:bodyPr/>
          <a:lstStyle>
            <a:lvl1pPr marL="0" indent="0">
              <a:buNone/>
              <a:defRPr sz="1600">
                <a:solidFill>
                  <a:schemeClr val="bg1"/>
                </a:solidFill>
                <a:latin typeface="+mj-lt"/>
              </a:defRPr>
            </a:lvl1pPr>
            <a:lvl2pPr marL="228600" indent="0">
              <a:buNone/>
              <a:defRPr/>
            </a:lvl2pPr>
          </a:lstStyle>
          <a:p>
            <a:pPr lvl="0"/>
            <a:r>
              <a:rPr lang="en-US"/>
              <a:t>Click to edit Master text styles</a:t>
            </a:r>
          </a:p>
        </p:txBody>
      </p:sp>
      <p:sp>
        <p:nvSpPr>
          <p:cNvPr id="24" name="Text Placeholder 22">
            <a:extLst>
              <a:ext uri="{FF2B5EF4-FFF2-40B4-BE49-F238E27FC236}">
                <a16:creationId xmlns:a16="http://schemas.microsoft.com/office/drawing/2014/main" id="{A6487B5A-6884-8FFF-B0FD-D4BCB68362CA}"/>
              </a:ext>
            </a:extLst>
          </p:cNvPr>
          <p:cNvSpPr>
            <a:spLocks noGrp="1"/>
          </p:cNvSpPr>
          <p:nvPr>
            <p:ph type="body" sz="quarter" idx="12"/>
          </p:nvPr>
        </p:nvSpPr>
        <p:spPr>
          <a:xfrm>
            <a:off x="8777288" y="6278887"/>
            <a:ext cx="3106956" cy="215444"/>
          </a:xfrm>
        </p:spPr>
        <p:txBody>
          <a:bodyPr/>
          <a:lstStyle>
            <a:lvl1pPr marL="0" indent="0" algn="r">
              <a:buNone/>
              <a:defRPr sz="1400">
                <a:solidFill>
                  <a:schemeClr val="bg1"/>
                </a:solidFill>
              </a:defRPr>
            </a:lvl1pPr>
            <a:lvl2pPr marL="285750" indent="-117475">
              <a:defRPr sz="1400"/>
            </a:lvl2pPr>
            <a:lvl3pPr marL="512763" indent="-111125">
              <a:defRPr sz="1100"/>
            </a:lvl3pPr>
            <a:lvl4pPr marL="798513" indent="-136525">
              <a:defRPr sz="1050"/>
            </a:lvl4pPr>
            <a:lvl5pPr marL="969963" indent="-114300">
              <a:defRPr sz="1050"/>
            </a:lvl5pPr>
          </a:lstStyle>
          <a:p>
            <a:pPr lvl="0"/>
            <a:r>
              <a:rPr lang="en-US"/>
              <a:t>Click to edit Master text styles</a:t>
            </a:r>
          </a:p>
        </p:txBody>
      </p:sp>
    </p:spTree>
    <p:extLst>
      <p:ext uri="{BB962C8B-B14F-4D97-AF65-F5344CB8AC3E}">
        <p14:creationId xmlns:p14="http://schemas.microsoft.com/office/powerpoint/2010/main" val="414046455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771B9C-7F80-112D-55FE-96A7F1D57318}"/>
              </a:ext>
            </a:extLst>
          </p:cNvPr>
          <p:cNvPicPr>
            <a:picLocks noChangeAspect="1"/>
          </p:cNvPicPr>
          <p:nvPr userDrawn="1"/>
        </p:nvPicPr>
        <p:blipFill>
          <a:blip r:embed="rId2"/>
          <a:srcRect/>
          <a:stretch/>
        </p:blipFill>
        <p:spPr>
          <a:xfrm>
            <a:off x="3009" y="1693"/>
            <a:ext cx="12185982" cy="6854614"/>
          </a:xfrm>
          <a:prstGeom prst="rect">
            <a:avLst/>
          </a:prstGeom>
        </p:spPr>
      </p:pic>
      <p:pic>
        <p:nvPicPr>
          <p:cNvPr id="4" name="Picture 3" descr="Blue text on a black background&#10;&#10;AI-generated content may be incorrect.">
            <a:extLst>
              <a:ext uri="{FF2B5EF4-FFF2-40B4-BE49-F238E27FC236}">
                <a16:creationId xmlns:a16="http://schemas.microsoft.com/office/drawing/2014/main" id="{C268DB5E-29D3-B5B6-0FEE-60C561F4655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Lst>
          </a:blip>
          <a:stretch>
            <a:fillRect/>
          </a:stretch>
        </p:blipFill>
        <p:spPr>
          <a:xfrm>
            <a:off x="506625" y="2277110"/>
            <a:ext cx="4569872" cy="2020824"/>
          </a:xfrm>
          <a:prstGeom prst="rect">
            <a:avLst/>
          </a:prstGeom>
        </p:spPr>
      </p:pic>
    </p:spTree>
    <p:extLst>
      <p:ext uri="{BB962C8B-B14F-4D97-AF65-F5344CB8AC3E}">
        <p14:creationId xmlns:p14="http://schemas.microsoft.com/office/powerpoint/2010/main" val="210439706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A9015C-1EAE-AF38-08E1-84B5B58B6FEA}"/>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6FDC18C2-C732-9AF1-4F4F-9E15108107B9}"/>
                </a:ext>
              </a:extLst>
            </p:cNvPr>
            <p:cNvGrpSpPr/>
            <p:nvPr userDrawn="1"/>
          </p:nvGrpSpPr>
          <p:grpSpPr>
            <a:xfrm>
              <a:off x="0" y="0"/>
              <a:ext cx="12192000" cy="6858000"/>
              <a:chOff x="0" y="0"/>
              <a:chExt cx="12192000" cy="6858000"/>
            </a:xfrm>
          </p:grpSpPr>
          <p:pic>
            <p:nvPicPr>
              <p:cNvPr id="27" name="Picture 26" descr="A picture containing blue, electric blue, majorelle blue, blur&#10;&#10;Description automatically generated">
                <a:extLst>
                  <a:ext uri="{FF2B5EF4-FFF2-40B4-BE49-F238E27FC236}">
                    <a16:creationId xmlns:a16="http://schemas.microsoft.com/office/drawing/2014/main" id="{7AD0125E-2705-E12D-9600-AD47224DA7D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8" name="Picture 27">
                <a:extLst>
                  <a:ext uri="{FF2B5EF4-FFF2-40B4-BE49-F238E27FC236}">
                    <a16:creationId xmlns:a16="http://schemas.microsoft.com/office/drawing/2014/main" id="{088E0787-0B78-DFD1-CC3D-EB8FEF365578}"/>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20" name="Group 19">
              <a:extLst>
                <a:ext uri="{FF2B5EF4-FFF2-40B4-BE49-F238E27FC236}">
                  <a16:creationId xmlns:a16="http://schemas.microsoft.com/office/drawing/2014/main" id="{A23BF334-09DC-3CD6-6F34-73433EA1CA48}"/>
                </a:ext>
              </a:extLst>
            </p:cNvPr>
            <p:cNvGrpSpPr/>
            <p:nvPr userDrawn="1"/>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89CEA4CF-42FC-EA1E-6E92-3228F7DBE9C0}"/>
                  </a:ext>
                </a:extLst>
              </p:cNvPr>
              <p:cNvGrpSpPr/>
              <p:nvPr/>
            </p:nvGrpSpPr>
            <p:grpSpPr>
              <a:xfrm>
                <a:off x="0" y="0"/>
                <a:ext cx="12192000" cy="6858002"/>
                <a:chOff x="0" y="0"/>
                <a:chExt cx="12192000" cy="6858002"/>
              </a:xfrm>
            </p:grpSpPr>
            <p:grpSp>
              <p:nvGrpSpPr>
                <p:cNvPr id="23" name="Group 22">
                  <a:extLst>
                    <a:ext uri="{FF2B5EF4-FFF2-40B4-BE49-F238E27FC236}">
                      <a16:creationId xmlns:a16="http://schemas.microsoft.com/office/drawing/2014/main" id="{844EB708-91D0-3C63-DB40-722C92254D86}"/>
                    </a:ext>
                  </a:extLst>
                </p:cNvPr>
                <p:cNvGrpSpPr/>
                <p:nvPr/>
              </p:nvGrpSpPr>
              <p:grpSpPr>
                <a:xfrm>
                  <a:off x="9486900" y="0"/>
                  <a:ext cx="2705100" cy="694583"/>
                  <a:chOff x="9486900" y="0"/>
                  <a:chExt cx="2705100" cy="694583"/>
                </a:xfrm>
              </p:grpSpPr>
              <p:sp>
                <p:nvSpPr>
                  <p:cNvPr id="25" name="Freeform: Shape 24">
                    <a:extLst>
                      <a:ext uri="{FF2B5EF4-FFF2-40B4-BE49-F238E27FC236}">
                        <a16:creationId xmlns:a16="http://schemas.microsoft.com/office/drawing/2014/main" id="{67CF89A9-3C8C-83B1-74E3-00A8047F14E5}"/>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6" name="Freeform: Shape 25">
                    <a:extLst>
                      <a:ext uri="{FF2B5EF4-FFF2-40B4-BE49-F238E27FC236}">
                        <a16:creationId xmlns:a16="http://schemas.microsoft.com/office/drawing/2014/main" id="{EF8AC342-A3FC-B38B-5948-C11DC34C528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4" name="Freeform: Shape 23">
                  <a:extLst>
                    <a:ext uri="{FF2B5EF4-FFF2-40B4-BE49-F238E27FC236}">
                      <a16:creationId xmlns:a16="http://schemas.microsoft.com/office/drawing/2014/main" id="{A9B13D22-1D60-FB21-931E-6A8FD0345D96}"/>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22" name="Freeform: Shape 21">
                <a:extLst>
                  <a:ext uri="{FF2B5EF4-FFF2-40B4-BE49-F238E27FC236}">
                    <a16:creationId xmlns:a16="http://schemas.microsoft.com/office/drawing/2014/main" id="{B23AEDDB-8B83-567E-A99C-1D14EA8F48A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p:nvPr userDrawn="1"/>
        </p:nvSpPr>
        <p:spPr bwMode="auto">
          <a:xfrm>
            <a:off x="592645"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p:nvPr userDrawn="1"/>
        </p:nvSpPr>
        <p:spPr bwMode="auto">
          <a:xfrm>
            <a:off x="4292328"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sp>
        <p:nvSpPr>
          <p:cNvPr id="17" name="Rectangle: Rounded Corners 16">
            <a:extLst>
              <a:ext uri="{FF2B5EF4-FFF2-40B4-BE49-F238E27FC236}">
                <a16:creationId xmlns:a16="http://schemas.microsoft.com/office/drawing/2014/main" id="{143606F3-8101-01FF-A93D-3938D53D1E68}"/>
              </a:ext>
              <a:ext uri="{C183D7F6-B498-43B3-948B-1728B52AA6E4}">
                <adec:decorative xmlns:adec="http://schemas.microsoft.com/office/drawing/2017/decorative" val="1"/>
              </a:ext>
            </a:extLst>
          </p:cNvPr>
          <p:cNvSpPr/>
          <p:nvPr userDrawn="1"/>
        </p:nvSpPr>
        <p:spPr bwMode="auto">
          <a:xfrm>
            <a:off x="7992011"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err="1">
              <a:solidFill>
                <a:schemeClr val="bg1"/>
              </a:solidFill>
            </a:endParaRPr>
          </a:p>
        </p:txBody>
      </p:sp>
      <p:cxnSp>
        <p:nvCxnSpPr>
          <p:cNvPr id="46" name="Straight Connector 45">
            <a:extLst>
              <a:ext uri="{FF2B5EF4-FFF2-40B4-BE49-F238E27FC236}">
                <a16:creationId xmlns:a16="http://schemas.microsoft.com/office/drawing/2014/main" id="{2E4F43F4-F96B-2B18-F162-4BF7D5034C5B}"/>
              </a:ext>
              <a:ext uri="{C183D7F6-B498-43B3-948B-1728B52AA6E4}">
                <adec:decorative xmlns:adec="http://schemas.microsoft.com/office/drawing/2017/decorative" val="1"/>
              </a:ext>
            </a:extLst>
          </p:cNvPr>
          <p:cNvCxnSpPr>
            <a:cxnSpLocks/>
          </p:cNvCxnSpPr>
          <p:nvPr userDrawn="1"/>
        </p:nvCxnSpPr>
        <p:spPr>
          <a:xfrm flipH="1">
            <a:off x="8016726" y="3796035"/>
            <a:ext cx="3567947" cy="0"/>
          </a:xfrm>
          <a:prstGeom prst="line">
            <a:avLst/>
          </a:prstGeom>
          <a:noFill/>
          <a:ln w="6350" cap="rnd" cmpd="sng" algn="ctr">
            <a:solidFill>
              <a:schemeClr val="bg1"/>
            </a:solidFill>
            <a:prstDash val="solid"/>
            <a:headEnd type="none" w="lg" len="med"/>
            <a:tailEnd type="none" w="lg" len="med"/>
          </a:ln>
          <a:effectLst/>
        </p:spPr>
      </p:cxnSp>
      <p:cxnSp>
        <p:nvCxnSpPr>
          <p:cNvPr id="62" name="Straight Connector 61">
            <a:extLst>
              <a:ext uri="{FF2B5EF4-FFF2-40B4-BE49-F238E27FC236}">
                <a16:creationId xmlns:a16="http://schemas.microsoft.com/office/drawing/2014/main" id="{D8DB73F7-C86B-8942-83F5-A5A5044BEE1F}"/>
              </a:ext>
              <a:ext uri="{C183D7F6-B498-43B3-948B-1728B52AA6E4}">
                <adec:decorative xmlns:adec="http://schemas.microsoft.com/office/drawing/2017/decorative" val="1"/>
              </a:ext>
            </a:extLst>
          </p:cNvPr>
          <p:cNvCxnSpPr>
            <a:cxnSpLocks/>
          </p:cNvCxnSpPr>
          <p:nvPr userDrawn="1"/>
        </p:nvCxnSpPr>
        <p:spPr>
          <a:xfrm>
            <a:off x="617360" y="3063878"/>
            <a:ext cx="3567947" cy="0"/>
          </a:xfrm>
          <a:prstGeom prst="line">
            <a:avLst/>
          </a:prstGeom>
          <a:ln w="635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95F806A0-3C32-58B1-7CDE-118770D63979}"/>
              </a:ext>
              <a:ext uri="{C183D7F6-B498-43B3-948B-1728B52AA6E4}">
                <adec:decorative xmlns:adec="http://schemas.microsoft.com/office/drawing/2017/decorative" val="1"/>
              </a:ext>
            </a:extLst>
          </p:cNvPr>
          <p:cNvSpPr/>
          <p:nvPr userDrawn="1"/>
        </p:nvSpPr>
        <p:spPr bwMode="auto">
          <a:xfrm>
            <a:off x="584200" y="5908121"/>
            <a:ext cx="11038987" cy="461147"/>
          </a:xfrm>
          <a:prstGeom prst="roundRect">
            <a:avLst>
              <a:gd name="adj" fmla="val 20116"/>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cxnSp>
        <p:nvCxnSpPr>
          <p:cNvPr id="56" name="Straight Connector 55">
            <a:extLst>
              <a:ext uri="{FF2B5EF4-FFF2-40B4-BE49-F238E27FC236}">
                <a16:creationId xmlns:a16="http://schemas.microsoft.com/office/drawing/2014/main" id="{E5E11882-CB08-356E-5B74-26B1248E37D8}"/>
              </a:ext>
              <a:ext uri="{C183D7F6-B498-43B3-948B-1728B52AA6E4}">
                <adec:decorative xmlns:adec="http://schemas.microsoft.com/office/drawing/2017/decorative" val="1"/>
              </a:ext>
            </a:extLst>
          </p:cNvPr>
          <p:cNvCxnSpPr>
            <a:cxnSpLocks/>
          </p:cNvCxnSpPr>
          <p:nvPr userDrawn="1"/>
        </p:nvCxnSpPr>
        <p:spPr>
          <a:xfrm flipV="1">
            <a:off x="423248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57" name="Straight Connector 56">
            <a:extLst>
              <a:ext uri="{FF2B5EF4-FFF2-40B4-BE49-F238E27FC236}">
                <a16:creationId xmlns:a16="http://schemas.microsoft.com/office/drawing/2014/main" id="{C63B8DCD-DE62-48E9-0A4B-BA3CD78E51BB}"/>
              </a:ext>
              <a:ext uri="{C183D7F6-B498-43B3-948B-1728B52AA6E4}">
                <adec:decorative xmlns:adec="http://schemas.microsoft.com/office/drawing/2017/decorative" val="1"/>
              </a:ext>
            </a:extLst>
          </p:cNvPr>
          <p:cNvCxnSpPr>
            <a:cxnSpLocks/>
          </p:cNvCxnSpPr>
          <p:nvPr userDrawn="1"/>
        </p:nvCxnSpPr>
        <p:spPr>
          <a:xfrm flipV="1">
            <a:off x="796110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A8F027FD-F521-DE87-CD2E-8041E95563ED}"/>
              </a:ext>
              <a:ext uri="{C183D7F6-B498-43B3-948B-1728B52AA6E4}">
                <adec:decorative xmlns:adec="http://schemas.microsoft.com/office/drawing/2017/decorative" val="1"/>
              </a:ext>
            </a:extLst>
          </p:cNvPr>
          <p:cNvCxnSpPr>
            <a:cxnSpLocks/>
          </p:cNvCxnSpPr>
          <p:nvPr userDrawn="1"/>
        </p:nvCxnSpPr>
        <p:spPr>
          <a:xfrm>
            <a:off x="617360" y="5143879"/>
            <a:ext cx="3567947" cy="0"/>
          </a:xfrm>
          <a:prstGeom prst="line">
            <a:avLst/>
          </a:prstGeom>
          <a:ln w="635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63" name="Text Placeholder 19">
            <a:extLst>
              <a:ext uri="{FF2B5EF4-FFF2-40B4-BE49-F238E27FC236}">
                <a16:creationId xmlns:a16="http://schemas.microsoft.com/office/drawing/2014/main" id="{8068FD61-0883-9F36-F1D7-B2A9A9FB1D7C}"/>
              </a:ext>
            </a:extLst>
          </p:cNvPr>
          <p:cNvSpPr>
            <a:spLocks noGrp="1"/>
          </p:cNvSpPr>
          <p:nvPr userDrawn="1">
            <p:ph type="body" sz="quarter" idx="10"/>
          </p:nvPr>
        </p:nvSpPr>
        <p:spPr>
          <a:xfrm>
            <a:off x="725424"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hasCustomPrompt="1"/>
          </p:nvPr>
        </p:nvSpPr>
        <p:spPr>
          <a:xfrm>
            <a:off x="725424" y="1841262"/>
            <a:ext cx="3285498" cy="1087722"/>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45720" anchor="t">
            <a:noAutofit/>
          </a:bodyPr>
          <a:lstStyle>
            <a:lvl1pPr marL="0" indent="0" algn="ctr">
              <a:buNone/>
              <a:defRPr sz="1000">
                <a:solidFill>
                  <a:schemeClr val="bg1"/>
                </a:solidFill>
              </a:defRPr>
            </a:lvl1pPr>
            <a:lvl2pPr>
              <a:defRPr sz="1200"/>
            </a:lvl2pPr>
            <a:lvl3pPr>
              <a:defRPr sz="1050"/>
            </a:lvl3pPr>
            <a:lvl4pPr>
              <a:defRPr sz="1000"/>
            </a:lvl4pPr>
            <a:lvl5pPr>
              <a:defRPr sz="1000"/>
            </a:lvl5pPr>
          </a:lstStyle>
          <a:p>
            <a:pPr lvl="0"/>
            <a:r>
              <a:rPr lang="en-US"/>
              <a:t>Click to edit</a:t>
            </a:r>
            <a:br>
              <a:rPr lang="en-US"/>
            </a:br>
            <a:r>
              <a:rPr lang="en-US"/>
              <a:t>Master text</a:t>
            </a:r>
            <a:endParaRPr lang="en-IN"/>
          </a:p>
        </p:txBody>
      </p:sp>
      <p:sp>
        <p:nvSpPr>
          <p:cNvPr id="76" name="Text Placeholder 75">
            <a:extLst>
              <a:ext uri="{FF2B5EF4-FFF2-40B4-BE49-F238E27FC236}">
                <a16:creationId xmlns:a16="http://schemas.microsoft.com/office/drawing/2014/main" id="{A786D3A4-9022-6969-01DC-7F30FFFDDBFF}"/>
              </a:ext>
            </a:extLst>
          </p:cNvPr>
          <p:cNvSpPr>
            <a:spLocks noGrp="1"/>
          </p:cNvSpPr>
          <p:nvPr>
            <p:ph type="body" sz="quarter" idx="19"/>
          </p:nvPr>
        </p:nvSpPr>
        <p:spPr>
          <a:xfrm>
            <a:off x="725424" y="3201900"/>
            <a:ext cx="2816429" cy="246221"/>
          </a:xfrm>
        </p:spPr>
        <p:txBody>
          <a:bodyPr/>
          <a:lstStyle>
            <a:lvl1pPr marL="0" indent="0">
              <a:buNone/>
              <a:defRPr sz="1600">
                <a:solidFill>
                  <a:schemeClr val="accent1">
                    <a:lumMod val="60000"/>
                    <a:lumOff val="40000"/>
                  </a:schemeClr>
                </a:solidFill>
                <a:latin typeface="+mj-lt"/>
              </a:defRPr>
            </a:lvl1pPr>
            <a:lvl2pPr marL="171450" indent="-115888">
              <a:tabLst/>
              <a:defRPr sz="1200"/>
            </a:lvl2pPr>
          </a:lstStyle>
          <a:p>
            <a:pPr lvl="0"/>
            <a:r>
              <a:rPr lang="en-US"/>
              <a:t>Click to edit Master text styles</a:t>
            </a:r>
          </a:p>
        </p:txBody>
      </p:sp>
      <p:sp>
        <p:nvSpPr>
          <p:cNvPr id="100" name="Text Placeholder 19">
            <a:extLst>
              <a:ext uri="{FF2B5EF4-FFF2-40B4-BE49-F238E27FC236}">
                <a16:creationId xmlns:a16="http://schemas.microsoft.com/office/drawing/2014/main" id="{3981418A-A896-E8E4-2620-0B17CEB96363}"/>
              </a:ext>
            </a:extLst>
          </p:cNvPr>
          <p:cNvSpPr>
            <a:spLocks noGrp="1"/>
          </p:cNvSpPr>
          <p:nvPr>
            <p:ph type="body" sz="quarter" idx="33"/>
          </p:nvPr>
        </p:nvSpPr>
        <p:spPr>
          <a:xfrm>
            <a:off x="725425" y="3520875"/>
            <a:ext cx="2816429" cy="184666"/>
          </a:xfrm>
        </p:spPr>
        <p:txBody>
          <a:bodyPr/>
          <a:lstStyle>
            <a:lvl1pPr marL="173038" indent="-115888">
              <a:spcBef>
                <a:spcPts val="300"/>
              </a:spcBef>
              <a:spcAft>
                <a:spcPts val="200"/>
              </a:spcAft>
              <a:buFont typeface="Arial" panose="020B0604020202020204" pitchFamily="34" charset="0"/>
              <a:buChar char="•"/>
              <a:defRPr sz="1200">
                <a:solidFill>
                  <a:schemeClr val="bg1"/>
                </a:solidFill>
                <a:latin typeface="+mn-lt"/>
              </a:defRPr>
            </a:lvl1pPr>
            <a:lvl2pPr marL="228600" indent="0">
              <a:buNone/>
              <a:defRPr/>
            </a:lvl2pPr>
          </a:lstStyle>
          <a:p>
            <a:pPr lvl="0"/>
            <a:r>
              <a:rPr lang="en-US"/>
              <a:t>Click to edit Master text styles</a:t>
            </a:r>
          </a:p>
        </p:txBody>
      </p:sp>
      <p:sp>
        <p:nvSpPr>
          <p:cNvPr id="68" name="Text Placeholder 19">
            <a:extLst>
              <a:ext uri="{FF2B5EF4-FFF2-40B4-BE49-F238E27FC236}">
                <a16:creationId xmlns:a16="http://schemas.microsoft.com/office/drawing/2014/main" id="{6B5B20DC-6BE6-AC3F-7438-B3A00512F21E}"/>
              </a:ext>
            </a:extLst>
          </p:cNvPr>
          <p:cNvSpPr>
            <a:spLocks noGrp="1"/>
          </p:cNvSpPr>
          <p:nvPr userDrawn="1">
            <p:ph type="body" sz="quarter" idx="13"/>
          </p:nvPr>
        </p:nvSpPr>
        <p:spPr>
          <a:xfrm>
            <a:off x="725425" y="5265400"/>
            <a:ext cx="2816429"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71" name="Text Placeholder 19">
            <a:extLst>
              <a:ext uri="{FF2B5EF4-FFF2-40B4-BE49-F238E27FC236}">
                <a16:creationId xmlns:a16="http://schemas.microsoft.com/office/drawing/2014/main" id="{181B8105-6CDF-D2DE-6AFA-A385BBC31670}"/>
              </a:ext>
            </a:extLst>
          </p:cNvPr>
          <p:cNvSpPr>
            <a:spLocks noGrp="1"/>
          </p:cNvSpPr>
          <p:nvPr userDrawn="1">
            <p:ph type="body" sz="quarter" idx="16"/>
          </p:nvPr>
        </p:nvSpPr>
        <p:spPr>
          <a:xfrm>
            <a:off x="725424"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
        <p:nvSpPr>
          <p:cNvPr id="64" name="Text Placeholder 19">
            <a:extLst>
              <a:ext uri="{FF2B5EF4-FFF2-40B4-BE49-F238E27FC236}">
                <a16:creationId xmlns:a16="http://schemas.microsoft.com/office/drawing/2014/main" id="{46082AB6-170E-8CF3-D9E4-F30B5BA7AD7E}"/>
              </a:ext>
            </a:extLst>
          </p:cNvPr>
          <p:cNvSpPr>
            <a:spLocks noGrp="1"/>
          </p:cNvSpPr>
          <p:nvPr userDrawn="1">
            <p:ph type="body" sz="quarter" idx="11"/>
          </p:nvPr>
        </p:nvSpPr>
        <p:spPr>
          <a:xfrm>
            <a:off x="4454044"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4523665" y="2159230"/>
            <a:ext cx="1463150" cy="3007946"/>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731520">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181334" y="2159231"/>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6181334" y="3205137"/>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81334" y="4251045"/>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4" name="Content Placeholder 79">
            <a:extLst>
              <a:ext uri="{FF2B5EF4-FFF2-40B4-BE49-F238E27FC236}">
                <a16:creationId xmlns:a16="http://schemas.microsoft.com/office/drawing/2014/main" id="{02F6F7BD-F793-FAD7-2A16-AF45BD54710E}"/>
              </a:ext>
            </a:extLst>
          </p:cNvPr>
          <p:cNvSpPr>
            <a:spLocks noGrp="1"/>
          </p:cNvSpPr>
          <p:nvPr>
            <p:ph sz="quarter" idx="27"/>
          </p:nvPr>
        </p:nvSpPr>
        <p:spPr>
          <a:xfrm>
            <a:off x="4523665" y="5310485"/>
            <a:ext cx="1497492" cy="352592"/>
          </a:xfrm>
          <a:prstGeom prst="roundRect">
            <a:avLst/>
          </a:prstGeom>
          <a:blipFill>
            <a:blip r:embed="rId7"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3" name="Content Placeholder 79">
            <a:extLst>
              <a:ext uri="{FF2B5EF4-FFF2-40B4-BE49-F238E27FC236}">
                <a16:creationId xmlns:a16="http://schemas.microsoft.com/office/drawing/2014/main" id="{369946CB-0637-4CF3-F149-CF7F63E4E2D0}"/>
              </a:ext>
            </a:extLst>
          </p:cNvPr>
          <p:cNvSpPr>
            <a:spLocks noGrp="1"/>
          </p:cNvSpPr>
          <p:nvPr>
            <p:ph sz="quarter" idx="26"/>
          </p:nvPr>
        </p:nvSpPr>
        <p:spPr>
          <a:xfrm>
            <a:off x="6181334" y="5310485"/>
            <a:ext cx="1497492" cy="352592"/>
          </a:xfrm>
          <a:prstGeom prst="roundRect">
            <a:avLst/>
          </a:prstGeom>
          <a:blipFill>
            <a:blip r:embed="rId7"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2" name="Text Placeholder 19">
            <a:extLst>
              <a:ext uri="{FF2B5EF4-FFF2-40B4-BE49-F238E27FC236}">
                <a16:creationId xmlns:a16="http://schemas.microsoft.com/office/drawing/2014/main" id="{EF6919F7-07CE-C436-CB9A-42FAAE9B817C}"/>
              </a:ext>
            </a:extLst>
          </p:cNvPr>
          <p:cNvSpPr>
            <a:spLocks noGrp="1"/>
          </p:cNvSpPr>
          <p:nvPr userDrawn="1">
            <p:ph type="body" sz="quarter" idx="17"/>
          </p:nvPr>
        </p:nvSpPr>
        <p:spPr>
          <a:xfrm>
            <a:off x="4454044"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
        <p:nvSpPr>
          <p:cNvPr id="65" name="Text Placeholder 19">
            <a:extLst>
              <a:ext uri="{FF2B5EF4-FFF2-40B4-BE49-F238E27FC236}">
                <a16:creationId xmlns:a16="http://schemas.microsoft.com/office/drawing/2014/main" id="{903A10FE-A006-7ED4-252B-244DC9C4CF8E}"/>
              </a:ext>
            </a:extLst>
          </p:cNvPr>
          <p:cNvSpPr>
            <a:spLocks noGrp="1"/>
          </p:cNvSpPr>
          <p:nvPr userDrawn="1">
            <p:ph type="body" sz="quarter" idx="12"/>
          </p:nvPr>
        </p:nvSpPr>
        <p:spPr>
          <a:xfrm>
            <a:off x="8157950"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99" name="Content Placeholder 79">
            <a:extLst>
              <a:ext uri="{FF2B5EF4-FFF2-40B4-BE49-F238E27FC236}">
                <a16:creationId xmlns:a16="http://schemas.microsoft.com/office/drawing/2014/main" id="{CCF1C177-A37E-50D5-EEAC-02CEAD2156FC}"/>
              </a:ext>
            </a:extLst>
          </p:cNvPr>
          <p:cNvSpPr>
            <a:spLocks noGrp="1"/>
          </p:cNvSpPr>
          <p:nvPr>
            <p:ph sz="quarter" idx="32"/>
          </p:nvPr>
        </p:nvSpPr>
        <p:spPr>
          <a:xfrm>
            <a:off x="8157950" y="1628136"/>
            <a:ext cx="3285498" cy="1988193"/>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69" name="Text Placeholder 19">
            <a:extLst>
              <a:ext uri="{FF2B5EF4-FFF2-40B4-BE49-F238E27FC236}">
                <a16:creationId xmlns:a16="http://schemas.microsoft.com/office/drawing/2014/main" id="{734EE56D-7C57-A9ED-4EEC-C18D8EAFCEB7}"/>
              </a:ext>
            </a:extLst>
          </p:cNvPr>
          <p:cNvSpPr>
            <a:spLocks noGrp="1"/>
          </p:cNvSpPr>
          <p:nvPr userDrawn="1">
            <p:ph type="body" sz="quarter" idx="14"/>
          </p:nvPr>
        </p:nvSpPr>
        <p:spPr>
          <a:xfrm>
            <a:off x="8157950" y="3930021"/>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70" name="Text Placeholder 19">
            <a:extLst>
              <a:ext uri="{FF2B5EF4-FFF2-40B4-BE49-F238E27FC236}">
                <a16:creationId xmlns:a16="http://schemas.microsoft.com/office/drawing/2014/main" id="{58A65D1C-52B7-197B-2FC4-43449ABFCABD}"/>
              </a:ext>
            </a:extLst>
          </p:cNvPr>
          <p:cNvSpPr>
            <a:spLocks noGrp="1"/>
          </p:cNvSpPr>
          <p:nvPr userDrawn="1">
            <p:ph type="body" sz="quarter" idx="15"/>
          </p:nvPr>
        </p:nvSpPr>
        <p:spPr>
          <a:xfrm>
            <a:off x="8157950" y="4246880"/>
            <a:ext cx="3285498" cy="184666"/>
          </a:xfrm>
        </p:spPr>
        <p:txBody>
          <a:bodyPr/>
          <a:lstStyle>
            <a:lvl1pPr marL="0" indent="0">
              <a:buNone/>
              <a:defRPr sz="1200">
                <a:solidFill>
                  <a:schemeClr val="bg1"/>
                </a:solidFill>
                <a:latin typeface="+mn-lt"/>
              </a:defRPr>
            </a:lvl1pPr>
            <a:lvl2pPr marL="228600" indent="0">
              <a:buNone/>
              <a:defRPr/>
            </a:lvl2pPr>
          </a:lstStyle>
          <a:p>
            <a:pPr lvl="0"/>
            <a:r>
              <a:rPr lang="en-US"/>
              <a:t>Click to edit Master text styles</a:t>
            </a:r>
          </a:p>
        </p:txBody>
      </p:sp>
      <p:sp>
        <p:nvSpPr>
          <p:cNvPr id="95" name="Content Placeholder 79">
            <a:extLst>
              <a:ext uri="{FF2B5EF4-FFF2-40B4-BE49-F238E27FC236}">
                <a16:creationId xmlns:a16="http://schemas.microsoft.com/office/drawing/2014/main" id="{9503EABA-20B8-6893-82CD-1962B3CC6E14}"/>
              </a:ext>
            </a:extLst>
          </p:cNvPr>
          <p:cNvSpPr>
            <a:spLocks noGrp="1"/>
          </p:cNvSpPr>
          <p:nvPr>
            <p:ph sz="quarter" idx="28"/>
          </p:nvPr>
        </p:nvSpPr>
        <p:spPr>
          <a:xfrm>
            <a:off x="8157950"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6" name="Content Placeholder 79">
            <a:extLst>
              <a:ext uri="{FF2B5EF4-FFF2-40B4-BE49-F238E27FC236}">
                <a16:creationId xmlns:a16="http://schemas.microsoft.com/office/drawing/2014/main" id="{1CABCBCD-9387-E209-85CA-937B674F8FC4}"/>
              </a:ext>
            </a:extLst>
          </p:cNvPr>
          <p:cNvSpPr>
            <a:spLocks noGrp="1"/>
          </p:cNvSpPr>
          <p:nvPr>
            <p:ph sz="quarter" idx="29"/>
          </p:nvPr>
        </p:nvSpPr>
        <p:spPr>
          <a:xfrm>
            <a:off x="9006228"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7" name="Content Placeholder 79">
            <a:extLst>
              <a:ext uri="{FF2B5EF4-FFF2-40B4-BE49-F238E27FC236}">
                <a16:creationId xmlns:a16="http://schemas.microsoft.com/office/drawing/2014/main" id="{10E00F9F-0569-9CBD-F3AC-54BBEBA42B4D}"/>
              </a:ext>
            </a:extLst>
          </p:cNvPr>
          <p:cNvSpPr>
            <a:spLocks noGrp="1"/>
          </p:cNvSpPr>
          <p:nvPr>
            <p:ph sz="quarter" idx="30"/>
          </p:nvPr>
        </p:nvSpPr>
        <p:spPr>
          <a:xfrm>
            <a:off x="9854506"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8" name="Content Placeholder 79">
            <a:extLst>
              <a:ext uri="{FF2B5EF4-FFF2-40B4-BE49-F238E27FC236}">
                <a16:creationId xmlns:a16="http://schemas.microsoft.com/office/drawing/2014/main" id="{DF233606-C006-5D80-AAB4-16F601FEF40F}"/>
              </a:ext>
            </a:extLst>
          </p:cNvPr>
          <p:cNvSpPr>
            <a:spLocks noGrp="1"/>
          </p:cNvSpPr>
          <p:nvPr>
            <p:ph sz="quarter" idx="31"/>
          </p:nvPr>
        </p:nvSpPr>
        <p:spPr>
          <a:xfrm>
            <a:off x="10702784"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3" name="Text Placeholder 19">
            <a:extLst>
              <a:ext uri="{FF2B5EF4-FFF2-40B4-BE49-F238E27FC236}">
                <a16:creationId xmlns:a16="http://schemas.microsoft.com/office/drawing/2014/main" id="{6EA99964-67CF-9C1F-2BFD-7F45BC1262A0}"/>
              </a:ext>
            </a:extLst>
          </p:cNvPr>
          <p:cNvSpPr>
            <a:spLocks noGrp="1"/>
          </p:cNvSpPr>
          <p:nvPr userDrawn="1">
            <p:ph type="body" sz="quarter" idx="18"/>
          </p:nvPr>
        </p:nvSpPr>
        <p:spPr>
          <a:xfrm>
            <a:off x="8182665"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1129106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A94FF7-6B2E-5C2E-0E2B-846362E82128}"/>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F2D0BB09-2351-E676-8A1D-2F1C28C0D6D7}"/>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081C2E0E-3E34-7218-1C87-1EF42C5D503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0" name="Picture 29">
                <a:extLst>
                  <a:ext uri="{FF2B5EF4-FFF2-40B4-BE49-F238E27FC236}">
                    <a16:creationId xmlns:a16="http://schemas.microsoft.com/office/drawing/2014/main" id="{ACEF907B-1B8F-A25A-F438-240366220AE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B47F9C50-732B-4A38-A680-27EFEB0BC624}"/>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A88403D9-6B62-1217-7A2E-E1F523F8E203}"/>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3D8C0B2B-4DD1-0624-B5E3-E6A312E81C43}"/>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55BDB177-BF73-E27D-84B4-1F31B29C5FD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F7FC364C-275E-1A3F-761D-3E23DE86E0E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415FDA10-549D-E979-D5F4-14E3D6D3A1E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5E4C9152-6CE6-2C07-BACA-C94905FDA69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a:spLocks/>
          </p:cNvSpPr>
          <p:nvPr userDrawn="1"/>
        </p:nvSpPr>
        <p:spPr bwMode="auto">
          <a:xfrm>
            <a:off x="617359"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a:spLocks/>
          </p:cNvSpPr>
          <p:nvPr userDrawn="1"/>
        </p:nvSpPr>
        <p:spPr bwMode="auto">
          <a:xfrm>
            <a:off x="6209713"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95"/>
            <a:ext cx="2603499" cy="1240994"/>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3413536" y="3649695"/>
            <a:ext cx="2603499" cy="1240994"/>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209713" y="3649695"/>
            <a:ext cx="2603499" cy="1240994"/>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9005889" y="3649695"/>
            <a:ext cx="2603499" cy="1240994"/>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7359" y="5028044"/>
            <a:ext cx="2603499" cy="1240994"/>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3413536" y="5028044"/>
            <a:ext cx="2603499" cy="1240994"/>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6209713" y="5028044"/>
            <a:ext cx="2603499" cy="1240994"/>
          </a:xfrm>
          <a:prstGeom prst="roundRect">
            <a:avLst>
              <a:gd name="adj" fmla="val 7500"/>
            </a:avLst>
          </a:prstGeom>
          <a:blipFill>
            <a:blip r:embed="rId10"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9005889" y="5028044"/>
            <a:ext cx="2603499" cy="1240994"/>
          </a:xfrm>
          <a:prstGeom prst="roundRect">
            <a:avLst>
              <a:gd name="adj" fmla="val 7500"/>
            </a:avLst>
          </a:prstGeom>
          <a:blipFill>
            <a:blip r:embed="rId11"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188781152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1C5818-8246-5D4C-6B14-69B580B8DBE2}"/>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76FC413A-5F6C-C9CE-73D3-A1805FD0A221}"/>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48CFACFE-5CEB-17E9-5E76-53A9D559E7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0" name="Picture 29">
                <a:extLst>
                  <a:ext uri="{FF2B5EF4-FFF2-40B4-BE49-F238E27FC236}">
                    <a16:creationId xmlns:a16="http://schemas.microsoft.com/office/drawing/2014/main" id="{DADE7190-F3B8-E4B4-18AC-C90E3C8C1B0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0DDAF38B-990C-E8A3-B8B9-4D6A9353F437}"/>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B542E32-3DD6-2073-EBB5-DFB17B21B67A}"/>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E8C20715-C736-3995-2B33-4A8DE92F6CB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6ACE0056-6541-1FB4-15A0-574C636E726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7042D2C8-6931-9309-51C5-D1DF514A90D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A3F83673-77F1-BDDE-6077-A5C41FC2E449}"/>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B4B99E7D-E8B3-C46A-37A2-15D715706BD6}"/>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a:spLocks/>
          </p:cNvSpPr>
          <p:nvPr userDrawn="1"/>
        </p:nvSpPr>
        <p:spPr bwMode="auto">
          <a:xfrm>
            <a:off x="617359"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a:spLocks/>
          </p:cNvSpPr>
          <p:nvPr userDrawn="1"/>
        </p:nvSpPr>
        <p:spPr bwMode="auto">
          <a:xfrm>
            <a:off x="6209713"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63"/>
            <a:ext cx="2289208" cy="2619375"/>
          </a:xfrm>
          <a:prstGeom prst="roundRect">
            <a:avLst>
              <a:gd name="adj" fmla="val 4005"/>
            </a:avLst>
          </a:prstGeom>
          <a:blipFill>
            <a:blip r:embed="rId4"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2963215" y="3649663"/>
            <a:ext cx="2395436" cy="1318577"/>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5415299" y="3649663"/>
            <a:ext cx="2395436" cy="1318577"/>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7867383" y="3649663"/>
            <a:ext cx="2257937" cy="1318577"/>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2963215" y="5050762"/>
            <a:ext cx="1723353" cy="1218277"/>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4759470" y="5050762"/>
            <a:ext cx="2661059" cy="121827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7493431" y="5050762"/>
            <a:ext cx="2631889" cy="1218276"/>
          </a:xfrm>
          <a:prstGeom prst="roundRect">
            <a:avLst>
              <a:gd name="adj" fmla="val 7500"/>
            </a:avLst>
          </a:prstGeom>
          <a:blipFill>
            <a:blip r:embed="rId10"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10181968" y="3649663"/>
            <a:ext cx="1420812" cy="2619375"/>
          </a:xfrm>
          <a:prstGeom prst="roundRect">
            <a:avLst>
              <a:gd name="adj" fmla="val 5891"/>
            </a:avLst>
          </a:prstGeom>
          <a:blipFill>
            <a:blip r:embed="rId11" cstate="screen">
              <a:extLst>
                <a:ext uri="{28A0092B-C50C-407E-A947-70E740481C1C}">
                  <a14:useLocalDpi xmlns:a14="http://schemas.microsoft.com/office/drawing/2010/main"/>
                </a:ext>
              </a:extLst>
            </a:blip>
            <a:stretch>
              <a:fillRect/>
            </a:stretch>
          </a:blipFill>
        </p:spPr>
        <p:txBody>
          <a:bodyPr wrap="none" lIns="0" tIns="0" rIns="0" anchor="ctr">
            <a:noAutofit/>
          </a:bodyPr>
          <a:lstStyle>
            <a:lvl1pPr marL="0" indent="0" algn="ctr">
              <a:buNone/>
              <a:defRPr sz="1000"/>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2274211433"/>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6AC4BFF-D196-AA96-37E7-FACDA804E47D}"/>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A8753585-20B0-509A-BF2F-2A4BDF1B0D47}"/>
                </a:ext>
              </a:extLst>
            </p:cNvPr>
            <p:cNvGrpSpPr/>
            <p:nvPr userDrawn="1"/>
          </p:nvGrpSpPr>
          <p:grpSpPr>
            <a:xfrm>
              <a:off x="0" y="0"/>
              <a:ext cx="12192000" cy="6858000"/>
              <a:chOff x="0" y="0"/>
              <a:chExt cx="12192000" cy="6858000"/>
            </a:xfrm>
          </p:grpSpPr>
          <p:pic>
            <p:nvPicPr>
              <p:cNvPr id="22" name="Picture 21" descr="A picture containing blue, electric blue, majorelle blue, blur&#10;&#10;Description automatically generated">
                <a:extLst>
                  <a:ext uri="{FF2B5EF4-FFF2-40B4-BE49-F238E27FC236}">
                    <a16:creationId xmlns:a16="http://schemas.microsoft.com/office/drawing/2014/main" id="{857A9451-4E49-FB87-AB57-37A71E07DDE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3" name="Picture 22">
                <a:extLst>
                  <a:ext uri="{FF2B5EF4-FFF2-40B4-BE49-F238E27FC236}">
                    <a16:creationId xmlns:a16="http://schemas.microsoft.com/office/drawing/2014/main" id="{5CB8EC1E-01BA-5969-F891-60D401DFA778}"/>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06029611-386E-3A07-DCF9-334F2CB4F508}"/>
                </a:ext>
              </a:extLst>
            </p:cNvPr>
            <p:cNvGrpSpPr/>
            <p:nvPr userDrawn="1"/>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B4846701-D33E-6881-7C5B-9D82CCC65586}"/>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86F9F051-F65C-6C52-8B73-31D47BF72B71}"/>
                    </a:ext>
                  </a:extLst>
                </p:cNvPr>
                <p:cNvGrpSpPr/>
                <p:nvPr/>
              </p:nvGrpSpPr>
              <p:grpSpPr>
                <a:xfrm>
                  <a:off x="9486900" y="0"/>
                  <a:ext cx="2705100" cy="694583"/>
                  <a:chOff x="9486900" y="0"/>
                  <a:chExt cx="2705100" cy="694583"/>
                </a:xfrm>
              </p:grpSpPr>
              <p:sp>
                <p:nvSpPr>
                  <p:cNvPr id="20" name="Freeform: Shape 19">
                    <a:extLst>
                      <a:ext uri="{FF2B5EF4-FFF2-40B4-BE49-F238E27FC236}">
                        <a16:creationId xmlns:a16="http://schemas.microsoft.com/office/drawing/2014/main" id="{17F0C1ED-787F-505A-788B-D3BB7CD9A95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1" name="Freeform: Shape 20">
                    <a:extLst>
                      <a:ext uri="{FF2B5EF4-FFF2-40B4-BE49-F238E27FC236}">
                        <a16:creationId xmlns:a16="http://schemas.microsoft.com/office/drawing/2014/main" id="{6B4E8660-0895-8571-96CA-55492C83915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6581E848-2F42-4DC9-1314-54E994400C87}"/>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6" name="Freeform: Shape 15">
                <a:extLst>
                  <a:ext uri="{FF2B5EF4-FFF2-40B4-BE49-F238E27FC236}">
                    <a16:creationId xmlns:a16="http://schemas.microsoft.com/office/drawing/2014/main" id="{376CC51D-1A32-0B08-7B62-53B4F16DA7E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391868592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custom layout (Dark)">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AB1B588-019F-D8E8-AA86-20AB78635F21}"/>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6" name="Group 15">
              <a:extLst>
                <a:ext uri="{FF2B5EF4-FFF2-40B4-BE49-F238E27FC236}">
                  <a16:creationId xmlns:a16="http://schemas.microsoft.com/office/drawing/2014/main" id="{D283474C-FF50-0168-1AD7-3EAF501F4A7C}"/>
                </a:ext>
              </a:extLst>
            </p:cNvPr>
            <p:cNvGrpSpPr/>
            <p:nvPr userDrawn="1"/>
          </p:nvGrpSpPr>
          <p:grpSpPr>
            <a:xfrm>
              <a:off x="0" y="0"/>
              <a:ext cx="12192000" cy="6858000"/>
              <a:chOff x="0" y="0"/>
              <a:chExt cx="12192000" cy="6858000"/>
            </a:xfrm>
          </p:grpSpPr>
          <p:pic>
            <p:nvPicPr>
              <p:cNvPr id="25" name="Picture 24" descr="A picture containing blue, electric blue, majorelle blue, blur&#10;&#10;Description automatically generated">
                <a:extLst>
                  <a:ext uri="{FF2B5EF4-FFF2-40B4-BE49-F238E27FC236}">
                    <a16:creationId xmlns:a16="http://schemas.microsoft.com/office/drawing/2014/main" id="{3F32EADD-96F4-8DD3-231D-9363795DC0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6" name="Picture 25">
                <a:extLst>
                  <a:ext uri="{FF2B5EF4-FFF2-40B4-BE49-F238E27FC236}">
                    <a16:creationId xmlns:a16="http://schemas.microsoft.com/office/drawing/2014/main" id="{B1F60262-8DAA-A45F-2BAE-07AC4B7FE7E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7" name="Group 16">
              <a:extLst>
                <a:ext uri="{FF2B5EF4-FFF2-40B4-BE49-F238E27FC236}">
                  <a16:creationId xmlns:a16="http://schemas.microsoft.com/office/drawing/2014/main" id="{F538E670-EBF1-4700-5CD4-AF99378A5644}"/>
                </a:ext>
              </a:extLst>
            </p:cNvPr>
            <p:cNvGrpSpPr/>
            <p:nvPr userDrawn="1"/>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98266262-6041-2029-BB81-D6CD5C8BE206}"/>
                  </a:ext>
                </a:extLst>
              </p:cNvPr>
              <p:cNvGrpSpPr/>
              <p:nvPr/>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4E982DEA-7C02-2A6F-34F7-AD71B9D5921F}"/>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7ADE6BAB-F577-C4FF-8C4E-BAC3496B459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4" name="Freeform: Shape 23">
                    <a:extLst>
                      <a:ext uri="{FF2B5EF4-FFF2-40B4-BE49-F238E27FC236}">
                        <a16:creationId xmlns:a16="http://schemas.microsoft.com/office/drawing/2014/main" id="{815ED668-E611-E10D-D10C-8C81E1A4EA9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2" name="Freeform: Shape 21">
                  <a:extLst>
                    <a:ext uri="{FF2B5EF4-FFF2-40B4-BE49-F238E27FC236}">
                      <a16:creationId xmlns:a16="http://schemas.microsoft.com/office/drawing/2014/main" id="{5367C23A-D60D-4A4B-EFA0-EB86357CD86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20" name="Freeform: Shape 19">
                <a:extLst>
                  <a:ext uri="{FF2B5EF4-FFF2-40B4-BE49-F238E27FC236}">
                    <a16:creationId xmlns:a16="http://schemas.microsoft.com/office/drawing/2014/main" id="{8707C726-89E4-7E99-F8C1-95DCD90CD22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14" name="Content Placeholder 13">
            <a:extLst>
              <a:ext uri="{FF2B5EF4-FFF2-40B4-BE49-F238E27FC236}">
                <a16:creationId xmlns:a16="http://schemas.microsoft.com/office/drawing/2014/main" id="{7F8F9E11-9FFE-8DED-8300-7CEBEBC6E92D}"/>
              </a:ext>
            </a:extLst>
          </p:cNvPr>
          <p:cNvSpPr>
            <a:spLocks noGrp="1"/>
          </p:cNvSpPr>
          <p:nvPr>
            <p:ph sz="quarter" idx="10"/>
          </p:nvPr>
        </p:nvSpPr>
        <p:spPr>
          <a:xfrm>
            <a:off x="9218613" y="1458034"/>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 name="Content Placeholder 13">
            <a:extLst>
              <a:ext uri="{FF2B5EF4-FFF2-40B4-BE49-F238E27FC236}">
                <a16:creationId xmlns:a16="http://schemas.microsoft.com/office/drawing/2014/main" id="{5685F1A3-7033-0357-7B06-541F7248BF98}"/>
              </a:ext>
            </a:extLst>
          </p:cNvPr>
          <p:cNvSpPr>
            <a:spLocks noGrp="1"/>
          </p:cNvSpPr>
          <p:nvPr>
            <p:ph sz="quarter" idx="11"/>
          </p:nvPr>
        </p:nvSpPr>
        <p:spPr>
          <a:xfrm>
            <a:off x="9218613" y="3088169"/>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4718304"/>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66492721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E7CC29-FE38-4290-A208-32194EEDC427}"/>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E251E90E-713A-A492-5290-E8F9A78BD6E8}"/>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7BA7B53F-4076-7FFB-4948-F42DEB2BE98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5" name="Picture 24">
                <a:extLst>
                  <a:ext uri="{FF2B5EF4-FFF2-40B4-BE49-F238E27FC236}">
                    <a16:creationId xmlns:a16="http://schemas.microsoft.com/office/drawing/2014/main" id="{8AD260E3-8A63-5903-3392-44E41CAA95A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DC782711-7603-8F1F-4F8C-6B1ABB2F42DC}"/>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08DD60DB-476B-E31F-A917-C056E20F639F}"/>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09546DB9-EC4F-BFC9-E54B-CFE21EE98454}"/>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1B0C4405-2AD2-56D1-2EA5-B3965C7995C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0002F5AE-145A-D5E7-9224-647F449134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4D7E432D-5C10-8F9D-934F-E4AFBC16072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DA2162B8-E286-D926-6E13-6CF62B53EB0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16" name="Text Placeholder 15">
            <a:extLst>
              <a:ext uri="{FF2B5EF4-FFF2-40B4-BE49-F238E27FC236}">
                <a16:creationId xmlns:a16="http://schemas.microsoft.com/office/drawing/2014/main" id="{33015405-CC0A-A610-6702-C8C57D162D56}"/>
              </a:ext>
            </a:extLst>
          </p:cNvPr>
          <p:cNvSpPr>
            <a:spLocks noGrp="1"/>
          </p:cNvSpPr>
          <p:nvPr>
            <p:ph type="body" sz="quarter" idx="13"/>
          </p:nvPr>
        </p:nvSpPr>
        <p:spPr>
          <a:xfrm>
            <a:off x="9218613" y="1749233"/>
            <a:ext cx="2390775" cy="276999"/>
          </a:xfrm>
        </p:spPr>
        <p:txBody>
          <a:bodyPr anchor="b"/>
          <a:lstStyle>
            <a:lvl1pPr marL="0" indent="0" algn="ctr">
              <a:buNone/>
              <a:defRPr sz="1800">
                <a:solidFill>
                  <a:schemeClr val="bg1"/>
                </a:solidFill>
                <a:latin typeface="+mj-lt"/>
              </a:defRPr>
            </a:lvl1pPr>
            <a:lvl2pPr marL="228600" indent="0">
              <a:buNone/>
              <a:defRPr/>
            </a:lvl2pPr>
          </a:lstStyle>
          <a:p>
            <a:pPr lvl="0"/>
            <a:r>
              <a:rPr lang="en-US"/>
              <a:t>Click to edit</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2212848"/>
            <a:ext cx="2390775" cy="4050675"/>
          </a:xfrm>
          <a:prstGeom prst="roundRect">
            <a:avLst>
              <a:gd name="adj" fmla="val 5830"/>
            </a:avLst>
          </a:prstGeom>
          <a:blipFill>
            <a:blip r:embed="rId4" cstate="screen">
              <a:extLst>
                <a:ext uri="{28A0092B-C50C-407E-A947-70E740481C1C}">
                  <a14:useLocalDpi xmlns:a14="http://schemas.microsoft.com/office/drawing/2010/main"/>
                </a:ext>
              </a:extLst>
            </a:blip>
            <a:stretch>
              <a:fillRect/>
            </a:stretch>
          </a:blipFill>
        </p:spPr>
        <p:txBody>
          <a:bodyPr lIns="0" tIns="914400" rIns="0" bIns="0">
            <a:noAutofit/>
          </a:bodyPr>
          <a:lstStyle>
            <a:lvl1pPr marL="0" indent="0" algn="ctr">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05196893"/>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6552534"/>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Tree>
    <p:extLst>
      <p:ext uri="{BB962C8B-B14F-4D97-AF65-F5344CB8AC3E}">
        <p14:creationId xmlns:p14="http://schemas.microsoft.com/office/powerpoint/2010/main" val="1148457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_IPS_Energy">
    <p:bg>
      <p:bgPr>
        <a:solidFill>
          <a:schemeClr val="tx1"/>
        </a:solidFill>
        <a:effectLst/>
      </p:bgPr>
    </p:bg>
    <p:spTree>
      <p:nvGrpSpPr>
        <p:cNvPr id="1" name=""/>
        <p:cNvGrpSpPr/>
        <p:nvPr/>
      </p:nvGrpSpPr>
      <p:grpSpPr>
        <a:xfrm>
          <a:off x="0" y="0"/>
          <a:ext cx="0" cy="0"/>
          <a:chOff x="0" y="0"/>
          <a:chExt cx="0" cy="0"/>
        </a:xfrm>
      </p:grpSpPr>
      <p:pic>
        <p:nvPicPr>
          <p:cNvPr id="4" name="Picture 3" descr="A blue planet with lights&#10;&#10;Description automatically generated">
            <a:extLst>
              <a:ext uri="{FF2B5EF4-FFF2-40B4-BE49-F238E27FC236}">
                <a16:creationId xmlns:a16="http://schemas.microsoft.com/office/drawing/2014/main" id="{88F962BF-04BD-0C97-EED5-F89AFF4F53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Freeform: Shape 16">
            <a:extLst>
              <a:ext uri="{FF2B5EF4-FFF2-40B4-BE49-F238E27FC236}">
                <a16:creationId xmlns:a16="http://schemas.microsoft.com/office/drawing/2014/main" id="{50F0A597-5712-CB94-356B-400C5AD79203}"/>
              </a:ext>
            </a:extLst>
          </p:cNvPr>
          <p:cNvSpPr/>
          <p:nvPr userDrawn="1"/>
        </p:nvSpPr>
        <p:spPr bwMode="auto">
          <a:xfrm>
            <a:off x="5830987" y="0"/>
            <a:ext cx="6361013" cy="6857997"/>
          </a:xfrm>
          <a:custGeom>
            <a:avLst/>
            <a:gdLst>
              <a:gd name="connsiteX0" fmla="*/ 2161533 w 6361013"/>
              <a:gd name="connsiteY0" fmla="*/ 0 h 6857997"/>
              <a:gd name="connsiteX1" fmla="*/ 6361013 w 6361013"/>
              <a:gd name="connsiteY1" fmla="*/ 0 h 6857997"/>
              <a:gd name="connsiteX2" fmla="*/ 6361013 w 6361013"/>
              <a:gd name="connsiteY2" fmla="*/ 140415 h 6857997"/>
              <a:gd name="connsiteX3" fmla="*/ 6361013 w 6361013"/>
              <a:gd name="connsiteY3" fmla="*/ 3980616 h 6857997"/>
              <a:gd name="connsiteX4" fmla="*/ 6323101 w 6361013"/>
              <a:gd name="connsiteY4" fmla="*/ 4125401 h 6857997"/>
              <a:gd name="connsiteX5" fmla="*/ 5963546 w 6361013"/>
              <a:gd name="connsiteY5" fmla="*/ 6857996 h 6857997"/>
              <a:gd name="connsiteX6" fmla="*/ 5688886 w 6361013"/>
              <a:gd name="connsiteY6" fmla="*/ 6857996 h 6857997"/>
              <a:gd name="connsiteX7" fmla="*/ 5688886 w 6361013"/>
              <a:gd name="connsiteY7" fmla="*/ 6857997 h 6857997"/>
              <a:gd name="connsiteX8" fmla="*/ 795515 w 6361013"/>
              <a:gd name="connsiteY8" fmla="*/ 6857996 h 6857997"/>
              <a:gd name="connsiteX9" fmla="*/ 795516 w 6361013"/>
              <a:gd name="connsiteY9" fmla="*/ 6857995 h 6857997"/>
              <a:gd name="connsiteX10" fmla="*/ 0 w 6361013"/>
              <a:gd name="connsiteY10" fmla="*/ 6857995 h 6857997"/>
              <a:gd name="connsiteX11" fmla="*/ 1836200 w 6361013"/>
              <a:gd name="connsiteY11" fmla="*/ 925859 h 6857997"/>
              <a:gd name="connsiteX12" fmla="*/ 1886873 w 6361013"/>
              <a:gd name="connsiteY12" fmla="*/ 1 h 6857997"/>
              <a:gd name="connsiteX13" fmla="*/ 2161533 w 6361013"/>
              <a:gd name="connsiteY13"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61013" h="6857997">
                <a:moveTo>
                  <a:pt x="2161533" y="0"/>
                </a:moveTo>
                <a:lnTo>
                  <a:pt x="6361013" y="0"/>
                </a:lnTo>
                <a:lnTo>
                  <a:pt x="6361013" y="140415"/>
                </a:lnTo>
                <a:lnTo>
                  <a:pt x="6361013" y="3980616"/>
                </a:lnTo>
                <a:lnTo>
                  <a:pt x="6323101" y="4125401"/>
                </a:lnTo>
                <a:cubicBezTo>
                  <a:pt x="6120865" y="5008527"/>
                  <a:pt x="5998351" y="5922049"/>
                  <a:pt x="5963546" y="6857996"/>
                </a:cubicBezTo>
                <a:lnTo>
                  <a:pt x="5688886" y="6857996"/>
                </a:lnTo>
                <a:lnTo>
                  <a:pt x="5688886" y="6857997"/>
                </a:lnTo>
                <a:lnTo>
                  <a:pt x="795515" y="6857996"/>
                </a:lnTo>
                <a:lnTo>
                  <a:pt x="795516" y="6857995"/>
                </a:lnTo>
                <a:lnTo>
                  <a:pt x="0" y="6857995"/>
                </a:lnTo>
                <a:cubicBezTo>
                  <a:pt x="1006258" y="5078618"/>
                  <a:pt x="1651495" y="3068069"/>
                  <a:pt x="1836200" y="925859"/>
                </a:cubicBezTo>
                <a:lnTo>
                  <a:pt x="1886873" y="1"/>
                </a:lnTo>
                <a:lnTo>
                  <a:pt x="2161533" y="1"/>
                </a:lnTo>
                <a:close/>
              </a:path>
            </a:pathLst>
          </a:custGeom>
          <a:gradFill flip="none" rotWithShape="1">
            <a:gsLst>
              <a:gs pos="0">
                <a:srgbClr val="D59DFF"/>
              </a:gs>
              <a:gs pos="80000">
                <a:schemeClr val="accent1"/>
              </a:gs>
              <a:gs pos="46000">
                <a:schemeClr val="accent1">
                  <a:lumMod val="60000"/>
                  <a:lumOff val="40000"/>
                </a:schemeClr>
              </a:gs>
            </a:gsLst>
            <a:path path="circle">
              <a:fillToRect t="100000" r="100000"/>
            </a:path>
            <a:tileRect l="-100000" b="-100000"/>
          </a:gradFill>
          <a:ln w="19050" cap="rnd">
            <a:noFill/>
            <a:headEnd type="none" w="med" len="med"/>
            <a:tailEnd type="none" w="med" len="med"/>
          </a:ln>
          <a:effectLst>
            <a:outerShdw blurRad="127000" dist="63500" dir="2400000" algn="tl"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lvl="0" algn="ctr" defTabSz="932449">
              <a:spcBef>
                <a:spcPts val="200"/>
              </a:spcBef>
            </a:pPr>
            <a:endParaRPr lang="en-US" err="1">
              <a:solidFill>
                <a:schemeClr val="bg1"/>
              </a:solidFill>
              <a:latin typeface="+mj-lt"/>
              <a:cs typeface="Segoe Sans Display ExtraBold" pitchFamily="2"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737800" cy="1107996"/>
          </a:xfrm>
        </p:spPr>
        <p:txBody>
          <a:bodyPr wrap="square" anchor="b" anchorCtr="0">
            <a:spAutoFit/>
          </a:bodyPr>
          <a:lstStyle>
            <a:lvl1pPr>
              <a:defRPr>
                <a:solidFill>
                  <a:schemeClr val="tx1"/>
                </a:solidFill>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2042" y="4782281"/>
            <a:ext cx="473404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Picture Placeholder 13">
            <a:extLst>
              <a:ext uri="{FF2B5EF4-FFF2-40B4-BE49-F238E27FC236}">
                <a16:creationId xmlns:a16="http://schemas.microsoft.com/office/drawing/2014/main" id="{81271761-C604-221D-B424-8CBEF4F99A9A}"/>
              </a:ext>
            </a:extLst>
          </p:cNvPr>
          <p:cNvSpPr>
            <a:spLocks noGrp="1"/>
          </p:cNvSpPr>
          <p:nvPr>
            <p:ph type="pic" sz="quarter" idx="14" hasCustomPrompt="1"/>
          </p:nvPr>
        </p:nvSpPr>
        <p:spPr>
          <a:xfrm>
            <a:off x="5978012" y="0"/>
            <a:ext cx="6213988" cy="6857998"/>
          </a:xfrm>
          <a:custGeom>
            <a:avLst/>
            <a:gdLst>
              <a:gd name="connsiteX0" fmla="*/ 1886874 w 6213988"/>
              <a:gd name="connsiteY0" fmla="*/ 0 h 6857998"/>
              <a:gd name="connsiteX1" fmla="*/ 6213988 w 6213988"/>
              <a:gd name="connsiteY1" fmla="*/ 0 h 6857998"/>
              <a:gd name="connsiteX2" fmla="*/ 6213988 w 6213988"/>
              <a:gd name="connsiteY2" fmla="*/ 140414 h 6857998"/>
              <a:gd name="connsiteX3" fmla="*/ 6213988 w 6213988"/>
              <a:gd name="connsiteY3" fmla="*/ 3472644 h 6857998"/>
              <a:gd name="connsiteX4" fmla="*/ 6048441 w 6213988"/>
              <a:gd name="connsiteY4" fmla="*/ 4125403 h 6857998"/>
              <a:gd name="connsiteX5" fmla="*/ 5688887 w 6213988"/>
              <a:gd name="connsiteY5" fmla="*/ 6857998 h 6857998"/>
              <a:gd name="connsiteX6" fmla="*/ 795515 w 6213988"/>
              <a:gd name="connsiteY6" fmla="*/ 6857998 h 6857998"/>
              <a:gd name="connsiteX7" fmla="*/ 795516 w 6213988"/>
              <a:gd name="connsiteY7" fmla="*/ 6857997 h 6857998"/>
              <a:gd name="connsiteX8" fmla="*/ 0 w 6213988"/>
              <a:gd name="connsiteY8" fmla="*/ 6857997 h 6857998"/>
              <a:gd name="connsiteX9" fmla="*/ 1868695 w 6213988"/>
              <a:gd name="connsiteY9" fmla="*/ 46483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3988" h="6857998">
                <a:moveTo>
                  <a:pt x="1886874" y="0"/>
                </a:moveTo>
                <a:lnTo>
                  <a:pt x="6213988" y="0"/>
                </a:lnTo>
                <a:lnTo>
                  <a:pt x="6213988" y="140414"/>
                </a:lnTo>
                <a:lnTo>
                  <a:pt x="6213988" y="3472644"/>
                </a:lnTo>
                <a:lnTo>
                  <a:pt x="6048441" y="4125403"/>
                </a:lnTo>
                <a:cubicBezTo>
                  <a:pt x="5846205" y="5008529"/>
                  <a:pt x="5723692" y="5922052"/>
                  <a:pt x="5688887" y="6857998"/>
                </a:cubicBezTo>
                <a:lnTo>
                  <a:pt x="795515" y="6857998"/>
                </a:lnTo>
                <a:lnTo>
                  <a:pt x="795516" y="6857997"/>
                </a:lnTo>
                <a:lnTo>
                  <a:pt x="0" y="6857997"/>
                </a:lnTo>
                <a:cubicBezTo>
                  <a:pt x="1078134" y="4951521"/>
                  <a:pt x="1741830" y="2779670"/>
                  <a:pt x="1868695" y="464835"/>
                </a:cubicBezTo>
                <a:close/>
              </a:path>
            </a:pathLst>
          </a:custGeom>
          <a:blipFill dpi="0" rotWithShape="1">
            <a:blip r:embed="rId4" cstate="print">
              <a:extLst>
                <a:ext uri="{28A0092B-C50C-407E-A947-70E740481C1C}">
                  <a14:useLocalDpi xmlns:a14="http://schemas.microsoft.com/office/drawing/2010/main"/>
                </a:ext>
              </a:extLst>
            </a:blip>
            <a:srcRect/>
            <a:stretch>
              <a:fillRect/>
            </a:stretch>
          </a:blipFill>
        </p:spPr>
        <p:txBody>
          <a:bodyPr wrap="square" tIns="3931920">
            <a:noAutofit/>
          </a:bodyPr>
          <a:lstStyle>
            <a:lvl1pPr marL="0" indent="0" algn="ctr">
              <a:buNone/>
              <a:defRPr lang="en-US" sz="1600" kern="1200" spc="0" baseline="0" dirty="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above</a:t>
            </a:r>
            <a:br>
              <a:rPr lang="en-US"/>
            </a:br>
            <a:r>
              <a:rPr lang="en-US"/>
              <a:t>to insert</a:t>
            </a:r>
          </a:p>
        </p:txBody>
      </p:sp>
    </p:spTree>
    <p:extLst>
      <p:ext uri="{BB962C8B-B14F-4D97-AF65-F5344CB8AC3E}">
        <p14:creationId xmlns:p14="http://schemas.microsoft.com/office/powerpoint/2010/main" val="3184967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only (Dark)">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28B455-FECB-B7D6-8FDE-2BD26324B127}"/>
              </a:ext>
            </a:extLst>
          </p:cNvPr>
          <p:cNvPicPr>
            <a:picLocks noChangeAspect="1"/>
          </p:cNvPicPr>
          <p:nvPr/>
        </p:nvPicPr>
        <p:blipFill>
          <a:blip r:embed="rId2"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descr="A picture containing blue, electric blue, majorelle blue, blur&#10;&#10;Description automatically generated">
            <a:extLst>
              <a:ext uri="{FF2B5EF4-FFF2-40B4-BE49-F238E27FC236}">
                <a16:creationId xmlns:a16="http://schemas.microsoft.com/office/drawing/2014/main" id="{3600F912-90CC-925B-6278-FC1727358D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8" name="Group 7">
            <a:extLst>
              <a:ext uri="{FF2B5EF4-FFF2-40B4-BE49-F238E27FC236}">
                <a16:creationId xmlns:a16="http://schemas.microsoft.com/office/drawing/2014/main" id="{D0B02FFC-A32A-F3BE-3E95-79CE346B4955}"/>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898A0F8A-0B9B-58F2-2FE7-B8E7B354319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1" name="Freeform: Shape 10">
              <a:extLst>
                <a:ext uri="{FF2B5EF4-FFF2-40B4-BE49-F238E27FC236}">
                  <a16:creationId xmlns:a16="http://schemas.microsoft.com/office/drawing/2014/main" id="{6D747D3C-2451-FA89-28AD-1469BA113F4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9" name="Freeform: Shape 8">
            <a:extLst>
              <a:ext uri="{FF2B5EF4-FFF2-40B4-BE49-F238E27FC236}">
                <a16:creationId xmlns:a16="http://schemas.microsoft.com/office/drawing/2014/main" id="{831EEA3D-EDA2-D0AE-B040-3D77052A4E93}"/>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sp>
        <p:nvSpPr>
          <p:cNvPr id="7" name="Freeform: Shape 6">
            <a:extLst>
              <a:ext uri="{FF2B5EF4-FFF2-40B4-BE49-F238E27FC236}">
                <a16:creationId xmlns:a16="http://schemas.microsoft.com/office/drawing/2014/main" id="{DCB8B348-739B-0B41-0AEF-A96A3E004DC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3758670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59642E-DAE4-3CDB-B869-A1EB3385AC04}"/>
              </a:ext>
            </a:extLst>
          </p:cNvPr>
          <p:cNvPicPr>
            <a:picLocks noChangeAspect="1"/>
          </p:cNvPicPr>
          <p:nvPr userDrawn="1"/>
        </p:nvPicPr>
        <p:blipFill>
          <a:blip r:embed="rId2"/>
          <a:srcRect/>
          <a:stretch/>
        </p:blipFill>
        <p:spPr>
          <a:xfrm>
            <a:off x="3009" y="1693"/>
            <a:ext cx="12185982" cy="6854614"/>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E498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399"/>
            <a:ext cx="4480560" cy="548640"/>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34603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ustomer story slide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5216DB-886C-1209-F59E-1FF3A711566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B0DF6C4-49F2-30D1-69C3-45FFD14CEDBF}"/>
                </a:ext>
              </a:extLst>
            </p:cNvPr>
            <p:cNvGrpSpPr/>
            <p:nvPr userDrawn="1"/>
          </p:nvGrpSpPr>
          <p:grpSpPr>
            <a:xfrm>
              <a:off x="0" y="0"/>
              <a:ext cx="12192000" cy="6858000"/>
              <a:chOff x="0" y="0"/>
              <a:chExt cx="12192000" cy="6858000"/>
            </a:xfrm>
          </p:grpSpPr>
          <p:pic>
            <p:nvPicPr>
              <p:cNvPr id="32" name="Picture 31" descr="A picture containing blue, electric blue, majorelle blue, blur&#10;&#10;Description automatically generated">
                <a:extLst>
                  <a:ext uri="{FF2B5EF4-FFF2-40B4-BE49-F238E27FC236}">
                    <a16:creationId xmlns:a16="http://schemas.microsoft.com/office/drawing/2014/main" id="{4CC43BD4-1985-F9B3-44AE-6C68FB362A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B4C10C80-D9BE-482B-B12F-DD0965C834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FF627A0-12F6-F460-B544-FBB2F7D2A318}"/>
                </a:ext>
              </a:extLst>
            </p:cNvPr>
            <p:cNvGrpSpPr/>
            <p:nvPr userDrawn="1"/>
          </p:nvGrpSpPr>
          <p:grpSpPr>
            <a:xfrm>
              <a:off x="0" y="0"/>
              <a:ext cx="12192000" cy="6858002"/>
              <a:chOff x="0" y="0"/>
              <a:chExt cx="12192000" cy="6858002"/>
            </a:xfrm>
          </p:grpSpPr>
          <p:grpSp>
            <p:nvGrpSpPr>
              <p:cNvPr id="11" name="Group 10">
                <a:extLst>
                  <a:ext uri="{FF2B5EF4-FFF2-40B4-BE49-F238E27FC236}">
                    <a16:creationId xmlns:a16="http://schemas.microsoft.com/office/drawing/2014/main" id="{450D8E45-35B6-B4E2-FDC3-4DF308DB27BA}"/>
                  </a:ext>
                </a:extLst>
              </p:cNvPr>
              <p:cNvGrpSpPr/>
              <p:nvPr/>
            </p:nvGrpSpPr>
            <p:grpSpPr>
              <a:xfrm>
                <a:off x="0" y="0"/>
                <a:ext cx="12192000" cy="6858002"/>
                <a:chOff x="0" y="0"/>
                <a:chExt cx="12192000" cy="6858002"/>
              </a:xfrm>
            </p:grpSpPr>
            <p:grpSp>
              <p:nvGrpSpPr>
                <p:cNvPr id="13" name="Group 12">
                  <a:extLst>
                    <a:ext uri="{FF2B5EF4-FFF2-40B4-BE49-F238E27FC236}">
                      <a16:creationId xmlns:a16="http://schemas.microsoft.com/office/drawing/2014/main" id="{8252B64A-D78A-9FE3-C7E3-3A2E5492F12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3A2A68B5-18BF-DCBE-D545-1F1EEE60858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31" name="Freeform: Shape 30">
                    <a:extLst>
                      <a:ext uri="{FF2B5EF4-FFF2-40B4-BE49-F238E27FC236}">
                        <a16:creationId xmlns:a16="http://schemas.microsoft.com/office/drawing/2014/main" id="{EC3BC400-28E0-DFD7-A22F-962FB51CAA6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8" name="Freeform: Shape 17">
                  <a:extLst>
                    <a:ext uri="{FF2B5EF4-FFF2-40B4-BE49-F238E27FC236}">
                      <a16:creationId xmlns:a16="http://schemas.microsoft.com/office/drawing/2014/main" id="{86938314-582E-2943-CC2F-39AC385C3C1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2" name="Freeform: Shape 11">
                <a:extLst>
                  <a:ext uri="{FF2B5EF4-FFF2-40B4-BE49-F238E27FC236}">
                    <a16:creationId xmlns:a16="http://schemas.microsoft.com/office/drawing/2014/main" id="{750AE3A2-F49C-48CF-5346-988DA98C4B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7" name="Rectangle: Top Corners Rounded 6">
            <a:extLst>
              <a:ext uri="{FF2B5EF4-FFF2-40B4-BE49-F238E27FC236}">
                <a16:creationId xmlns:a16="http://schemas.microsoft.com/office/drawing/2014/main" id="{CB0B2AFE-795D-9F81-C2DA-BE6BA5909955}"/>
              </a:ext>
              <a:ext uri="{C183D7F6-B498-43B3-948B-1728B52AA6E4}">
                <adec:decorative xmlns:adec="http://schemas.microsoft.com/office/drawing/2017/decorative" val="1"/>
              </a:ext>
            </a:extLst>
          </p:cNvPr>
          <p:cNvSpPr/>
          <p:nvPr userDrawn="1"/>
        </p:nvSpPr>
        <p:spPr bwMode="auto">
          <a:xfrm flipH="1">
            <a:off x="2994654" y="4151782"/>
            <a:ext cx="9211883" cy="2706217"/>
          </a:xfrm>
          <a:prstGeom prst="round2SameRect">
            <a:avLst>
              <a:gd name="adj1" fmla="val 0"/>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 uri="{C183D7F6-B498-43B3-948B-1728B52AA6E4}">
                <adec:decorative xmlns:adec="http://schemas.microsoft.com/office/drawing/2017/decorative" val="1"/>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no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 uri="{C183D7F6-B498-43B3-948B-1728B52AA6E4}">
                <adec:decorative xmlns:adec="http://schemas.microsoft.com/office/drawing/2017/decorative" val="1"/>
              </a:ext>
            </a:extLst>
          </p:cNvPr>
          <p:cNvSpPr/>
          <p:nvPr userDrawn="1"/>
        </p:nvSpPr>
        <p:spPr bwMode="auto">
          <a:xfrm>
            <a:off x="-1" y="0"/>
            <a:ext cx="2994654" cy="685800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a:solidFill>
                <a:schemeClr val="lt1"/>
              </a:solidFill>
            </a:endParaRPr>
          </a:p>
        </p:txBody>
      </p:sp>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37" name="Group 36">
            <a:extLst>
              <a:ext uri="{FF2B5EF4-FFF2-40B4-BE49-F238E27FC236}">
                <a16:creationId xmlns:a16="http://schemas.microsoft.com/office/drawing/2014/main" id="{E4776AAC-9A32-F029-8160-C8B636AF5080}"/>
              </a:ext>
              <a:ext uri="{C183D7F6-B498-43B3-948B-1728B52AA6E4}">
                <adec:decorative xmlns:adec="http://schemas.microsoft.com/office/drawing/2017/decorative" val="1"/>
              </a:ext>
            </a:extLst>
          </p:cNvPr>
          <p:cNvGrpSpPr/>
          <p:nvPr userDrawn="1"/>
        </p:nvGrpSpPr>
        <p:grpSpPr>
          <a:xfrm>
            <a:off x="327695" y="6180906"/>
            <a:ext cx="1554479" cy="343989"/>
            <a:chOff x="327695" y="6180906"/>
            <a:chExt cx="1554479" cy="343989"/>
          </a:xfrm>
        </p:grpSpPr>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268" r="76718"/>
            <a:stretch/>
          </p:blipFill>
          <p:spPr>
            <a:xfrm>
              <a:off x="327695" y="6180906"/>
              <a:ext cx="361915" cy="343989"/>
            </a:xfrm>
            <a:prstGeom prst="rect">
              <a:avLst/>
            </a:prstGeom>
          </p:spPr>
        </p:pic>
        <p:pic>
          <p:nvPicPr>
            <p:cNvPr id="36" name="Graphic 35">
              <a:extLst>
                <a:ext uri="{FF2B5EF4-FFF2-40B4-BE49-F238E27FC236}">
                  <a16:creationId xmlns:a16="http://schemas.microsoft.com/office/drawing/2014/main" id="{90BB7AFC-1C37-439A-40FD-08922295A1B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5488" t="-3268"/>
            <a:stretch/>
          </p:blipFill>
          <p:spPr>
            <a:xfrm>
              <a:off x="723899" y="6180906"/>
              <a:ext cx="1158275" cy="343989"/>
            </a:xfrm>
            <a:prstGeom prst="rect">
              <a:avLst/>
            </a:prstGeom>
          </p:spPr>
        </p:pic>
      </p:grpSp>
      <p:sp>
        <p:nvSpPr>
          <p:cNvPr id="38" name="Text Placeholder 35">
            <a:extLst>
              <a:ext uri="{FF2B5EF4-FFF2-40B4-BE49-F238E27FC236}">
                <a16:creationId xmlns:a16="http://schemas.microsoft.com/office/drawing/2014/main" id="{8FD5FFDC-A6EB-3C87-986F-196C59661E0C}"/>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54DFE48E-8FCA-F310-ED49-531C1EC2F6C4}"/>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820F9AEF-BAC6-1441-BB7B-65BCFBABC58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6098366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ectangle 15">
            <a:extLst>
              <a:ext uri="{FF2B5EF4-FFF2-40B4-BE49-F238E27FC236}">
                <a16:creationId xmlns:a16="http://schemas.microsoft.com/office/drawing/2014/main" id="{E2FC0965-4144-7B0E-916F-401B71853545}"/>
              </a:ext>
              <a:ext uri="{C183D7F6-B498-43B3-948B-1728B52AA6E4}">
                <adec:decorative xmlns:adec="http://schemas.microsoft.com/office/drawing/2017/decorative" val="1"/>
              </a:ext>
            </a:extLst>
          </p:cNvPr>
          <p:cNvSpPr>
            <a:spLocks/>
          </p:cNvSpPr>
          <p:nvPr userDrawn="1"/>
        </p:nvSpPr>
        <p:spPr bwMode="auto">
          <a:xfrm>
            <a:off x="0" y="2264229"/>
            <a:ext cx="10043886" cy="2329544"/>
          </a:xfrm>
          <a:prstGeom prst="rect">
            <a:avLst/>
          </a:pr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21224"/>
            <a:ext cx="10043886" cy="615553"/>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4000" b="0" kern="1200" cap="none" spc="-50" baseline="0" dirty="0">
                <a:ln w="3175">
                  <a:noFill/>
                </a:ln>
                <a:solidFill>
                  <a:schemeClr val="bg1"/>
                </a:solidFill>
                <a:effectLst/>
                <a:latin typeface="+mj-lt"/>
                <a:ea typeface="+mn-ea"/>
                <a:cs typeface="Segoe UI" pitchFamily="34" charset="0"/>
              </a:defRPr>
            </a:lvl1pPr>
          </a:lstStyle>
          <a:p>
            <a:pPr marL="0" lvl="0"/>
            <a:r>
              <a:rPr lang="en-US"/>
              <a:t>Section Title</a:t>
            </a:r>
            <a:endParaRPr lang="en-IN"/>
          </a:p>
        </p:txBody>
      </p:sp>
    </p:spTree>
    <p:extLst>
      <p:ext uri="{BB962C8B-B14F-4D97-AF65-F5344CB8AC3E}">
        <p14:creationId xmlns:p14="http://schemas.microsoft.com/office/powerpoint/2010/main" val="50025769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5E2C5-CAD8-11B0-7FA6-5A3024032E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10241D-C2EB-52E9-BC4A-2F8D532E917E}"/>
              </a:ext>
            </a:extLst>
          </p:cNvPr>
          <p:cNvSpPr>
            <a:spLocks noGrp="1"/>
          </p:cNvSpPr>
          <p:nvPr>
            <p:ph type="dt" sz="half" idx="10"/>
          </p:nvPr>
        </p:nvSpPr>
        <p:spPr/>
        <p:txBody>
          <a:bodyPr/>
          <a:lstStyle/>
          <a:p>
            <a:fld id="{6D3E97F7-2170-473C-BEEF-0B515EBB9FB9}" type="datetimeFigureOut">
              <a:rPr lang="en-US" smtClean="0"/>
              <a:t>10/28/2025</a:t>
            </a:fld>
            <a:endParaRPr lang="en-US"/>
          </a:p>
        </p:txBody>
      </p:sp>
      <p:sp>
        <p:nvSpPr>
          <p:cNvPr id="4" name="Footer Placeholder 3">
            <a:extLst>
              <a:ext uri="{FF2B5EF4-FFF2-40B4-BE49-F238E27FC236}">
                <a16:creationId xmlns:a16="http://schemas.microsoft.com/office/drawing/2014/main" id="{122577A3-7A34-48FD-F9A7-E7E11DF1C7E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062640-A84A-498C-02AE-90D579CA3377}"/>
              </a:ext>
            </a:extLst>
          </p:cNvPr>
          <p:cNvSpPr>
            <a:spLocks noGrp="1"/>
          </p:cNvSpPr>
          <p:nvPr>
            <p:ph type="sldNum" sz="quarter" idx="12"/>
          </p:nvPr>
        </p:nvSpPr>
        <p:spPr/>
        <p:txBody>
          <a:bodyPr/>
          <a:lstStyle/>
          <a:p>
            <a:fld id="{E0BEC598-C168-4676-BA74-FB734B37A675}" type="slidenum">
              <a:rPr lang="en-US" smtClean="0"/>
              <a:t>‹#›</a:t>
            </a:fld>
            <a:endParaRPr lang="en-US"/>
          </a:p>
        </p:txBody>
      </p:sp>
    </p:spTree>
    <p:extLst>
      <p:ext uri="{BB962C8B-B14F-4D97-AF65-F5344CB8AC3E}">
        <p14:creationId xmlns:p14="http://schemas.microsoft.com/office/powerpoint/2010/main" val="33421636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_Photo_Full page_1">
    <p:bg>
      <p:bgPr>
        <a:solidFill>
          <a:srgbClr val="0978D4"/>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a:xfrm>
            <a:off x="569911" y="2765699"/>
            <a:ext cx="6949440"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44D44FA1-EE52-F9BC-B63E-D105CB6DE1C9}"/>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Date</a:t>
            </a:r>
          </a:p>
        </p:txBody>
      </p:sp>
      <p:sp>
        <p:nvSpPr>
          <p:cNvPr id="7" name="Text Placeholder 4">
            <a:extLst>
              <a:ext uri="{FF2B5EF4-FFF2-40B4-BE49-F238E27FC236}">
                <a16:creationId xmlns:a16="http://schemas.microsoft.com/office/drawing/2014/main" id="{5B4C53E4-E0E2-0DBC-1E21-DE54E6739E88}"/>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7653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38334-D6BB-48D0-D719-8B3A3569BB34}"/>
              </a:ext>
            </a:extLst>
          </p:cNvPr>
          <p:cNvSpPr>
            <a:spLocks noGrp="1"/>
          </p:cNvSpPr>
          <p:nvPr>
            <p:ph type="title"/>
          </p:nvPr>
        </p:nvSpPr>
        <p:spPr>
          <a:xfrm>
            <a:off x="588263" y="603102"/>
            <a:ext cx="11018520" cy="430887"/>
          </a:xfrm>
        </p:spPr>
        <p:txBody>
          <a:bodyPr/>
          <a:lstStyle>
            <a:lvl1pPr>
              <a:defRPr sz="2800"/>
            </a:lvl1pPr>
          </a:lstStyle>
          <a:p>
            <a:r>
              <a:rPr lang="en-US"/>
              <a:t>Click to edit Master title style</a:t>
            </a:r>
          </a:p>
        </p:txBody>
      </p:sp>
      <p:sp>
        <p:nvSpPr>
          <p:cNvPr id="6" name="Text Placeholder 5">
            <a:extLst>
              <a:ext uri="{FF2B5EF4-FFF2-40B4-BE49-F238E27FC236}">
                <a16:creationId xmlns:a16="http://schemas.microsoft.com/office/drawing/2014/main" id="{AD94EECB-7323-9E33-6EF6-300B8254FA24}"/>
              </a:ext>
            </a:extLst>
          </p:cNvPr>
          <p:cNvSpPr>
            <a:spLocks noGrp="1"/>
          </p:cNvSpPr>
          <p:nvPr>
            <p:ph type="body" sz="quarter" idx="10"/>
          </p:nvPr>
        </p:nvSpPr>
        <p:spPr>
          <a:xfrm>
            <a:off x="588262" y="1216908"/>
            <a:ext cx="11018519" cy="307777"/>
          </a:xfrm>
        </p:spPr>
        <p:txBody>
          <a:bodyPr/>
          <a:lstStyle>
            <a:lvl1pPr marL="0" indent="0">
              <a:buNone/>
              <a:defRPr sz="2000">
                <a:latin typeface="Segoe Pro Light" panose="020B0302040504020203" pitchFamily="34" charset="0"/>
              </a:defRPr>
            </a:lvl1pPr>
          </a:lstStyle>
          <a:p>
            <a:pPr lvl="0"/>
            <a:r>
              <a:rPr lang="en-US"/>
              <a:t>Click to edit Master text styles</a:t>
            </a:r>
          </a:p>
        </p:txBody>
      </p:sp>
    </p:spTree>
    <p:extLst>
      <p:ext uri="{BB962C8B-B14F-4D97-AF65-F5344CB8AC3E}">
        <p14:creationId xmlns:p14="http://schemas.microsoft.com/office/powerpoint/2010/main" val="125603307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38334-D6BB-48D0-D719-8B3A3569BB34}"/>
              </a:ext>
            </a:extLst>
          </p:cNvPr>
          <p:cNvSpPr>
            <a:spLocks noGrp="1"/>
          </p:cNvSpPr>
          <p:nvPr>
            <p:ph type="title"/>
          </p:nvPr>
        </p:nvSpPr>
        <p:spPr>
          <a:xfrm>
            <a:off x="588263" y="603102"/>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133085852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 Highlights Title">
    <p:spTree>
      <p:nvGrpSpPr>
        <p:cNvPr id="1" name=""/>
        <p:cNvGrpSpPr/>
        <p:nvPr/>
      </p:nvGrpSpPr>
      <p:grpSpPr>
        <a:xfrm>
          <a:off x="0" y="0"/>
          <a:ext cx="0" cy="0"/>
          <a:chOff x="0" y="0"/>
          <a:chExt cx="0" cy="0"/>
        </a:xfrm>
      </p:grpSpPr>
      <p:sp>
        <p:nvSpPr>
          <p:cNvPr id="7" name="Rounded Rectangle" hidden="1">
            <a:extLst>
              <a:ext uri="{FF2B5EF4-FFF2-40B4-BE49-F238E27FC236}">
                <a16:creationId xmlns:a16="http://schemas.microsoft.com/office/drawing/2014/main" id="{DD949B60-9C4A-ADEB-0F1D-186941216830}"/>
              </a:ext>
            </a:extLst>
          </p:cNvPr>
          <p:cNvSpPr/>
          <p:nvPr userDrawn="1"/>
        </p:nvSpPr>
        <p:spPr bwMode="auto">
          <a:xfrm>
            <a:off x="8156392" y="2321713"/>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4" name="Rounded Rectangle" hidden="1">
            <a:extLst>
              <a:ext uri="{FF2B5EF4-FFF2-40B4-BE49-F238E27FC236}">
                <a16:creationId xmlns:a16="http://schemas.microsoft.com/office/drawing/2014/main" id="{58A1D930-BCB9-4668-ADE2-631AFEA437B4}"/>
              </a:ext>
            </a:extLst>
          </p:cNvPr>
          <p:cNvSpPr/>
          <p:nvPr userDrawn="1"/>
        </p:nvSpPr>
        <p:spPr bwMode="auto">
          <a:xfrm>
            <a:off x="4372326" y="2321714"/>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5" name="Rounded Rectangle" hidden="1">
            <a:extLst>
              <a:ext uri="{FF2B5EF4-FFF2-40B4-BE49-F238E27FC236}">
                <a16:creationId xmlns:a16="http://schemas.microsoft.com/office/drawing/2014/main" id="{B6F1DD47-3E30-5E2D-1722-671E3AA2D23C}"/>
              </a:ext>
            </a:extLst>
          </p:cNvPr>
          <p:cNvSpPr/>
          <p:nvPr/>
        </p:nvSpPr>
        <p:spPr bwMode="auto">
          <a:xfrm>
            <a:off x="588263" y="2321715"/>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8" name="Oval" hidden="1">
            <a:extLst>
              <a:ext uri="{FF2B5EF4-FFF2-40B4-BE49-F238E27FC236}">
                <a16:creationId xmlns:a16="http://schemas.microsoft.com/office/drawing/2014/main" id="{C199A838-AC22-016F-8A24-50E55A0BCF7E}"/>
              </a:ext>
            </a:extLst>
          </p:cNvPr>
          <p:cNvSpPr/>
          <p:nvPr/>
        </p:nvSpPr>
        <p:spPr bwMode="auto">
          <a:xfrm>
            <a:off x="1957172" y="2883045"/>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1</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0" name="Oval" hidden="1">
            <a:extLst>
              <a:ext uri="{FF2B5EF4-FFF2-40B4-BE49-F238E27FC236}">
                <a16:creationId xmlns:a16="http://schemas.microsoft.com/office/drawing/2014/main" id="{5FBC23B9-2AA4-FDC5-72AE-BB55B1C67F50}"/>
              </a:ext>
            </a:extLst>
          </p:cNvPr>
          <p:cNvSpPr/>
          <p:nvPr userDrawn="1"/>
        </p:nvSpPr>
        <p:spPr bwMode="auto">
          <a:xfrm>
            <a:off x="5718148" y="2878528"/>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2</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3" name="Oval" hidden="1">
            <a:extLst>
              <a:ext uri="{FF2B5EF4-FFF2-40B4-BE49-F238E27FC236}">
                <a16:creationId xmlns:a16="http://schemas.microsoft.com/office/drawing/2014/main" id="{A51107D1-832D-683E-04BA-944689F10965}"/>
              </a:ext>
            </a:extLst>
          </p:cNvPr>
          <p:cNvSpPr/>
          <p:nvPr userDrawn="1"/>
        </p:nvSpPr>
        <p:spPr bwMode="auto">
          <a:xfrm>
            <a:off x="9479124" y="2874011"/>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3</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 name="Title 1">
            <a:extLst>
              <a:ext uri="{FF2B5EF4-FFF2-40B4-BE49-F238E27FC236}">
                <a16:creationId xmlns:a16="http://schemas.microsoft.com/office/drawing/2014/main" id="{06638334-D6BB-48D0-D719-8B3A3569BB34}"/>
              </a:ext>
            </a:extLst>
          </p:cNvPr>
          <p:cNvSpPr>
            <a:spLocks noGrp="1"/>
          </p:cNvSpPr>
          <p:nvPr>
            <p:ph type="title"/>
          </p:nvPr>
        </p:nvSpPr>
        <p:spPr>
          <a:xfrm>
            <a:off x="588263" y="1108786"/>
            <a:ext cx="11018520" cy="677108"/>
          </a:xfrm>
        </p:spPr>
        <p:txBody>
          <a:bodyPr/>
          <a:lstStyle>
            <a:lvl1pPr algn="ctr">
              <a:defRPr sz="4400"/>
            </a:lvl1pPr>
          </a:lstStyle>
          <a:p>
            <a:r>
              <a:rPr lang="en-US"/>
              <a:t>Click to edit Master title style</a:t>
            </a:r>
          </a:p>
        </p:txBody>
      </p:sp>
    </p:spTree>
    <p:extLst>
      <p:ext uri="{BB962C8B-B14F-4D97-AF65-F5344CB8AC3E}">
        <p14:creationId xmlns:p14="http://schemas.microsoft.com/office/powerpoint/2010/main" val="31103834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Highlights">
    <p:spTree>
      <p:nvGrpSpPr>
        <p:cNvPr id="1" name=""/>
        <p:cNvGrpSpPr/>
        <p:nvPr/>
      </p:nvGrpSpPr>
      <p:grpSpPr>
        <a:xfrm>
          <a:off x="0" y="0"/>
          <a:ext cx="0" cy="0"/>
          <a:chOff x="0" y="0"/>
          <a:chExt cx="0" cy="0"/>
        </a:xfrm>
      </p:grpSpPr>
      <p:sp>
        <p:nvSpPr>
          <p:cNvPr id="7" name="Rounded Rectangle" hidden="1">
            <a:extLst>
              <a:ext uri="{FF2B5EF4-FFF2-40B4-BE49-F238E27FC236}">
                <a16:creationId xmlns:a16="http://schemas.microsoft.com/office/drawing/2014/main" id="{DD949B60-9C4A-ADEB-0F1D-186941216830}"/>
              </a:ext>
            </a:extLst>
          </p:cNvPr>
          <p:cNvSpPr/>
          <p:nvPr userDrawn="1"/>
        </p:nvSpPr>
        <p:spPr bwMode="auto">
          <a:xfrm>
            <a:off x="8156392" y="2321713"/>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4" name="Rounded Rectangle" hidden="1">
            <a:extLst>
              <a:ext uri="{FF2B5EF4-FFF2-40B4-BE49-F238E27FC236}">
                <a16:creationId xmlns:a16="http://schemas.microsoft.com/office/drawing/2014/main" id="{58A1D930-BCB9-4668-ADE2-631AFEA437B4}"/>
              </a:ext>
            </a:extLst>
          </p:cNvPr>
          <p:cNvSpPr/>
          <p:nvPr userDrawn="1"/>
        </p:nvSpPr>
        <p:spPr bwMode="auto">
          <a:xfrm>
            <a:off x="4372326" y="2321714"/>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5" name="Rounded Rectangle" hidden="1">
            <a:extLst>
              <a:ext uri="{FF2B5EF4-FFF2-40B4-BE49-F238E27FC236}">
                <a16:creationId xmlns:a16="http://schemas.microsoft.com/office/drawing/2014/main" id="{B6F1DD47-3E30-5E2D-1722-671E3AA2D23C}"/>
              </a:ext>
            </a:extLst>
          </p:cNvPr>
          <p:cNvSpPr/>
          <p:nvPr/>
        </p:nvSpPr>
        <p:spPr bwMode="auto">
          <a:xfrm>
            <a:off x="588263" y="2321715"/>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8" name="Oval" hidden="1">
            <a:extLst>
              <a:ext uri="{FF2B5EF4-FFF2-40B4-BE49-F238E27FC236}">
                <a16:creationId xmlns:a16="http://schemas.microsoft.com/office/drawing/2014/main" id="{C199A838-AC22-016F-8A24-50E55A0BCF7E}"/>
              </a:ext>
            </a:extLst>
          </p:cNvPr>
          <p:cNvSpPr/>
          <p:nvPr/>
        </p:nvSpPr>
        <p:spPr bwMode="auto">
          <a:xfrm>
            <a:off x="1957172" y="2883045"/>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1</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0" name="Oval" hidden="1">
            <a:extLst>
              <a:ext uri="{FF2B5EF4-FFF2-40B4-BE49-F238E27FC236}">
                <a16:creationId xmlns:a16="http://schemas.microsoft.com/office/drawing/2014/main" id="{5FBC23B9-2AA4-FDC5-72AE-BB55B1C67F50}"/>
              </a:ext>
            </a:extLst>
          </p:cNvPr>
          <p:cNvSpPr/>
          <p:nvPr userDrawn="1"/>
        </p:nvSpPr>
        <p:spPr bwMode="auto">
          <a:xfrm>
            <a:off x="5718148" y="2878528"/>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2</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3" name="Oval" hidden="1">
            <a:extLst>
              <a:ext uri="{FF2B5EF4-FFF2-40B4-BE49-F238E27FC236}">
                <a16:creationId xmlns:a16="http://schemas.microsoft.com/office/drawing/2014/main" id="{A51107D1-832D-683E-04BA-944689F10965}"/>
              </a:ext>
            </a:extLst>
          </p:cNvPr>
          <p:cNvSpPr/>
          <p:nvPr userDrawn="1"/>
        </p:nvSpPr>
        <p:spPr bwMode="auto">
          <a:xfrm>
            <a:off x="9479124" y="2874011"/>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3</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6" name="Text Placeholder">
            <a:extLst>
              <a:ext uri="{FF2B5EF4-FFF2-40B4-BE49-F238E27FC236}">
                <a16:creationId xmlns:a16="http://schemas.microsoft.com/office/drawing/2014/main" id="{AD94EECB-7323-9E33-6EF6-300B8254FA24}"/>
              </a:ext>
            </a:extLst>
          </p:cNvPr>
          <p:cNvSpPr>
            <a:spLocks noGrp="1"/>
          </p:cNvSpPr>
          <p:nvPr>
            <p:ph type="body" sz="quarter" idx="10"/>
          </p:nvPr>
        </p:nvSpPr>
        <p:spPr>
          <a:xfrm>
            <a:off x="774882" y="4028440"/>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18" name="Text Placeholder">
            <a:extLst>
              <a:ext uri="{FF2B5EF4-FFF2-40B4-BE49-F238E27FC236}">
                <a16:creationId xmlns:a16="http://schemas.microsoft.com/office/drawing/2014/main" id="{EA2B5FA4-D1D2-526F-C82F-0EA8445D19C1}"/>
              </a:ext>
            </a:extLst>
          </p:cNvPr>
          <p:cNvSpPr>
            <a:spLocks noGrp="1"/>
          </p:cNvSpPr>
          <p:nvPr>
            <p:ph type="body" sz="quarter" idx="11"/>
          </p:nvPr>
        </p:nvSpPr>
        <p:spPr>
          <a:xfrm>
            <a:off x="4535858" y="4023923"/>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21" name="Text Placeholder">
            <a:extLst>
              <a:ext uri="{FF2B5EF4-FFF2-40B4-BE49-F238E27FC236}">
                <a16:creationId xmlns:a16="http://schemas.microsoft.com/office/drawing/2014/main" id="{7C2F0C31-45AA-E2CA-CE99-B356237D727B}"/>
              </a:ext>
            </a:extLst>
          </p:cNvPr>
          <p:cNvSpPr>
            <a:spLocks noGrp="1"/>
          </p:cNvSpPr>
          <p:nvPr>
            <p:ph type="body" sz="quarter" idx="12"/>
          </p:nvPr>
        </p:nvSpPr>
        <p:spPr>
          <a:xfrm>
            <a:off x="8296834" y="4019406"/>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06638334-D6BB-48D0-D719-8B3A3569BB34}"/>
              </a:ext>
            </a:extLst>
          </p:cNvPr>
          <p:cNvSpPr>
            <a:spLocks noGrp="1"/>
          </p:cNvSpPr>
          <p:nvPr>
            <p:ph type="title"/>
          </p:nvPr>
        </p:nvSpPr>
        <p:spPr>
          <a:xfrm>
            <a:off x="588263" y="1108786"/>
            <a:ext cx="11018520" cy="677108"/>
          </a:xfrm>
        </p:spPr>
        <p:txBody>
          <a:bodyPr/>
          <a:lstStyle>
            <a:lvl1pPr algn="ctr">
              <a:defRPr sz="4400"/>
            </a:lvl1pPr>
          </a:lstStyle>
          <a:p>
            <a:r>
              <a:rPr lang="en-US"/>
              <a:t>Click to edit Master title style</a:t>
            </a:r>
          </a:p>
        </p:txBody>
      </p:sp>
    </p:spTree>
    <p:extLst>
      <p:ext uri="{BB962C8B-B14F-4D97-AF65-F5344CB8AC3E}">
        <p14:creationId xmlns:p14="http://schemas.microsoft.com/office/powerpoint/2010/main" val="284668682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 Highlights Boxes">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DD949B60-9C4A-ADEB-0F1D-186941216830}"/>
              </a:ext>
            </a:extLst>
          </p:cNvPr>
          <p:cNvSpPr/>
          <p:nvPr userDrawn="1"/>
        </p:nvSpPr>
        <p:spPr bwMode="auto">
          <a:xfrm>
            <a:off x="8156392" y="2321713"/>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4" name="Rounded Rectangle">
            <a:extLst>
              <a:ext uri="{FF2B5EF4-FFF2-40B4-BE49-F238E27FC236}">
                <a16:creationId xmlns:a16="http://schemas.microsoft.com/office/drawing/2014/main" id="{58A1D930-BCB9-4668-ADE2-631AFEA437B4}"/>
              </a:ext>
            </a:extLst>
          </p:cNvPr>
          <p:cNvSpPr/>
          <p:nvPr userDrawn="1"/>
        </p:nvSpPr>
        <p:spPr bwMode="auto">
          <a:xfrm>
            <a:off x="4372326" y="2321714"/>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5" name="Rounded Rectangle">
            <a:extLst>
              <a:ext uri="{FF2B5EF4-FFF2-40B4-BE49-F238E27FC236}">
                <a16:creationId xmlns:a16="http://schemas.microsoft.com/office/drawing/2014/main" id="{B6F1DD47-3E30-5E2D-1722-671E3AA2D23C}"/>
              </a:ext>
            </a:extLst>
          </p:cNvPr>
          <p:cNvSpPr/>
          <p:nvPr/>
        </p:nvSpPr>
        <p:spPr bwMode="auto">
          <a:xfrm>
            <a:off x="588263" y="2321715"/>
            <a:ext cx="3447345" cy="3249351"/>
          </a:xfrm>
          <a:prstGeom prst="roundRect">
            <a:avLst>
              <a:gd name="adj" fmla="val 0"/>
            </a:avLst>
          </a:prstGeom>
          <a:solidFill>
            <a:schemeClr val="bg2">
              <a:lumMod val="75000"/>
              <a:lumOff val="25000"/>
              <a:alpha val="50000"/>
            </a:schemeClr>
          </a:solidFill>
          <a:ln w="15875">
            <a:solidFill>
              <a:schemeClr val="tx1"/>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a:p>
        </p:txBody>
      </p:sp>
      <p:sp>
        <p:nvSpPr>
          <p:cNvPr id="6" name="Text Placeholder">
            <a:extLst>
              <a:ext uri="{FF2B5EF4-FFF2-40B4-BE49-F238E27FC236}">
                <a16:creationId xmlns:a16="http://schemas.microsoft.com/office/drawing/2014/main" id="{AD94EECB-7323-9E33-6EF6-300B8254FA24}"/>
              </a:ext>
            </a:extLst>
          </p:cNvPr>
          <p:cNvSpPr>
            <a:spLocks noGrp="1"/>
          </p:cNvSpPr>
          <p:nvPr>
            <p:ph type="body" sz="quarter" idx="10"/>
          </p:nvPr>
        </p:nvSpPr>
        <p:spPr>
          <a:xfrm>
            <a:off x="774882" y="4028440"/>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8" name="Oval">
            <a:extLst>
              <a:ext uri="{FF2B5EF4-FFF2-40B4-BE49-F238E27FC236}">
                <a16:creationId xmlns:a16="http://schemas.microsoft.com/office/drawing/2014/main" id="{C199A838-AC22-016F-8A24-50E55A0BCF7E}"/>
              </a:ext>
            </a:extLst>
          </p:cNvPr>
          <p:cNvSpPr/>
          <p:nvPr/>
        </p:nvSpPr>
        <p:spPr bwMode="auto">
          <a:xfrm>
            <a:off x="1957172" y="2883045"/>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1</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18" name="Text Placeholder">
            <a:extLst>
              <a:ext uri="{FF2B5EF4-FFF2-40B4-BE49-F238E27FC236}">
                <a16:creationId xmlns:a16="http://schemas.microsoft.com/office/drawing/2014/main" id="{EA2B5FA4-D1D2-526F-C82F-0EA8445D19C1}"/>
              </a:ext>
            </a:extLst>
          </p:cNvPr>
          <p:cNvSpPr>
            <a:spLocks noGrp="1"/>
          </p:cNvSpPr>
          <p:nvPr>
            <p:ph type="body" sz="quarter" idx="11"/>
          </p:nvPr>
        </p:nvSpPr>
        <p:spPr>
          <a:xfrm>
            <a:off x="4535858" y="4023923"/>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20" name="Oval">
            <a:extLst>
              <a:ext uri="{FF2B5EF4-FFF2-40B4-BE49-F238E27FC236}">
                <a16:creationId xmlns:a16="http://schemas.microsoft.com/office/drawing/2014/main" id="{5FBC23B9-2AA4-FDC5-72AE-BB55B1C67F50}"/>
              </a:ext>
            </a:extLst>
          </p:cNvPr>
          <p:cNvSpPr/>
          <p:nvPr userDrawn="1"/>
        </p:nvSpPr>
        <p:spPr bwMode="auto">
          <a:xfrm>
            <a:off x="5718148" y="2878528"/>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2</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1" name="Text Placeholder">
            <a:extLst>
              <a:ext uri="{FF2B5EF4-FFF2-40B4-BE49-F238E27FC236}">
                <a16:creationId xmlns:a16="http://schemas.microsoft.com/office/drawing/2014/main" id="{7C2F0C31-45AA-E2CA-CE99-B356237D727B}"/>
              </a:ext>
            </a:extLst>
          </p:cNvPr>
          <p:cNvSpPr>
            <a:spLocks noGrp="1"/>
          </p:cNvSpPr>
          <p:nvPr>
            <p:ph type="body" sz="quarter" idx="12"/>
          </p:nvPr>
        </p:nvSpPr>
        <p:spPr>
          <a:xfrm>
            <a:off x="8296834" y="4019406"/>
            <a:ext cx="3120282" cy="923330"/>
          </a:xfrm>
        </p:spPr>
        <p:txBody>
          <a:bodyPr wrap="square" tIns="91440" bIns="91440">
            <a:spAutoFit/>
          </a:bodyPr>
          <a:lstStyle>
            <a:lvl1pPr marL="0" indent="0" algn="ctr">
              <a:lnSpc>
                <a:spcPct val="100000"/>
              </a:lnSpc>
              <a:buNone/>
              <a:defRPr sz="2400">
                <a:latin typeface="Segoe Pro Light" panose="020B0302040504020203" pitchFamily="34" charset="0"/>
              </a:defRPr>
            </a:lvl1pPr>
          </a:lstStyle>
          <a:p>
            <a:pPr lvl="0"/>
            <a:r>
              <a:rPr lang="en-US"/>
              <a:t>Click to edit Master text styles</a:t>
            </a:r>
          </a:p>
        </p:txBody>
      </p:sp>
      <p:sp>
        <p:nvSpPr>
          <p:cNvPr id="23" name="Oval">
            <a:extLst>
              <a:ext uri="{FF2B5EF4-FFF2-40B4-BE49-F238E27FC236}">
                <a16:creationId xmlns:a16="http://schemas.microsoft.com/office/drawing/2014/main" id="{A51107D1-832D-683E-04BA-944689F10965}"/>
              </a:ext>
            </a:extLst>
          </p:cNvPr>
          <p:cNvSpPr/>
          <p:nvPr userDrawn="1"/>
        </p:nvSpPr>
        <p:spPr bwMode="auto">
          <a:xfrm>
            <a:off x="9479124" y="2874011"/>
            <a:ext cx="755703" cy="755703"/>
          </a:xfrm>
          <a:prstGeom prst="ellipse">
            <a:avLst/>
          </a:prstGeom>
          <a:solidFill>
            <a:schemeClr val="bg2">
              <a:lumMod val="90000"/>
              <a:lumOff val="10000"/>
            </a:schemeClr>
          </a:solidFill>
          <a:ln w="19050">
            <a:solidFill>
              <a:schemeClr val="bg2">
                <a:lumMod val="25000"/>
                <a:lumOff val="75000"/>
              </a:schemeClr>
            </a:solidFill>
            <a:headEnd type="none" w="med" len="med"/>
            <a:tailEnd type="none" w="med" len="med"/>
          </a:ln>
          <a:effectLst>
            <a:outerShdw blurRad="214029" dist="43797" dir="2700000" algn="tl" rotWithShape="0">
              <a:prstClr val="black">
                <a:alpha val="1488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r>
              <a:rPr lang="en-US" sz="3200" b="1">
                <a:ln w="3175">
                  <a:noFill/>
                </a:ln>
                <a:gradFill>
                  <a:gsLst>
                    <a:gs pos="17416">
                      <a:srgbClr val="FFFFFF"/>
                    </a:gs>
                    <a:gs pos="42135">
                      <a:srgbClr val="FFFFFF"/>
                    </a:gs>
                  </a:gsLst>
                  <a:path path="circle">
                    <a:fillToRect l="100000" b="100000"/>
                  </a:path>
                </a:gradFill>
                <a:latin typeface="+mj-lt"/>
                <a:cs typeface="Segoe UI" pitchFamily="34" charset="0"/>
              </a:rPr>
              <a:t>3</a:t>
            </a:r>
            <a:endParaRPr lang="en-CA" sz="3200" b="1">
              <a:ln w="3175">
                <a:noFill/>
              </a:ln>
              <a:gradFill>
                <a:gsLst>
                  <a:gs pos="17416">
                    <a:srgbClr val="FFFFFF"/>
                  </a:gs>
                  <a:gs pos="42135">
                    <a:srgbClr val="FFFFFF"/>
                  </a:gs>
                </a:gsLst>
                <a:path path="circle">
                  <a:fillToRect l="100000" b="100000"/>
                </a:path>
              </a:gradFill>
              <a:latin typeface="+mj-lt"/>
              <a:cs typeface="Segoe UI" pitchFamily="34" charset="0"/>
            </a:endParaRPr>
          </a:p>
        </p:txBody>
      </p:sp>
      <p:sp>
        <p:nvSpPr>
          <p:cNvPr id="2" name="Title 1">
            <a:extLst>
              <a:ext uri="{FF2B5EF4-FFF2-40B4-BE49-F238E27FC236}">
                <a16:creationId xmlns:a16="http://schemas.microsoft.com/office/drawing/2014/main" id="{06638334-D6BB-48D0-D719-8B3A3569BB34}"/>
              </a:ext>
            </a:extLst>
          </p:cNvPr>
          <p:cNvSpPr>
            <a:spLocks noGrp="1"/>
          </p:cNvSpPr>
          <p:nvPr>
            <p:ph type="title"/>
          </p:nvPr>
        </p:nvSpPr>
        <p:spPr>
          <a:xfrm>
            <a:off x="588263" y="1108786"/>
            <a:ext cx="11018520" cy="677108"/>
          </a:xfrm>
        </p:spPr>
        <p:txBody>
          <a:bodyPr/>
          <a:lstStyle>
            <a:lvl1pPr algn="ctr">
              <a:defRPr sz="4400"/>
            </a:lvl1pPr>
          </a:lstStyle>
          <a:p>
            <a:r>
              <a:rPr lang="en-US"/>
              <a:t>Click to edit Master title style</a:t>
            </a:r>
          </a:p>
        </p:txBody>
      </p:sp>
    </p:spTree>
    <p:extLst>
      <p:ext uri="{BB962C8B-B14F-4D97-AF65-F5344CB8AC3E}">
        <p14:creationId xmlns:p14="http://schemas.microsoft.com/office/powerpoint/2010/main" val="73933160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38334-D6BB-48D0-D719-8B3A3569BB34}"/>
              </a:ext>
            </a:extLst>
          </p:cNvPr>
          <p:cNvSpPr>
            <a:spLocks noGrp="1"/>
          </p:cNvSpPr>
          <p:nvPr>
            <p:ph type="title" hasCustomPrompt="1"/>
          </p:nvPr>
        </p:nvSpPr>
        <p:spPr>
          <a:xfrm>
            <a:off x="588262" y="2148000"/>
            <a:ext cx="4154335" cy="1846659"/>
          </a:xfrm>
        </p:spPr>
        <p:txBody>
          <a:bodyPr>
            <a:spAutoFit/>
          </a:bodyPr>
          <a:lstStyle>
            <a:lvl1pPr>
              <a:defRPr sz="4000"/>
            </a:lvl1pPr>
          </a:lstStyle>
          <a:p>
            <a:r>
              <a:rPr lang="en-US"/>
              <a:t>Click to edit Master title </a:t>
            </a:r>
            <a:br>
              <a:rPr lang="en-US"/>
            </a:br>
            <a:r>
              <a:rPr lang="en-US"/>
              <a:t>style</a:t>
            </a:r>
          </a:p>
        </p:txBody>
      </p:sp>
      <p:sp>
        <p:nvSpPr>
          <p:cNvPr id="6" name="Text Placeholder 5">
            <a:extLst>
              <a:ext uri="{FF2B5EF4-FFF2-40B4-BE49-F238E27FC236}">
                <a16:creationId xmlns:a16="http://schemas.microsoft.com/office/drawing/2014/main" id="{AD94EECB-7323-9E33-6EF6-300B8254FA24}"/>
              </a:ext>
            </a:extLst>
          </p:cNvPr>
          <p:cNvSpPr>
            <a:spLocks noGrp="1"/>
          </p:cNvSpPr>
          <p:nvPr>
            <p:ph type="body" sz="quarter" idx="10"/>
          </p:nvPr>
        </p:nvSpPr>
        <p:spPr>
          <a:xfrm>
            <a:off x="588262" y="4383456"/>
            <a:ext cx="4154335" cy="276999"/>
          </a:xfrm>
        </p:spPr>
        <p:txBody>
          <a:bodyPr/>
          <a:lstStyle>
            <a:lvl1pPr marL="0" indent="0">
              <a:buNone/>
              <a:defRPr sz="1800">
                <a:latin typeface="Segoe Pro Light" panose="020B0302040504020203" pitchFamily="34" charset="0"/>
              </a:defRPr>
            </a:lvl1pPr>
          </a:lstStyle>
          <a:p>
            <a:pPr lvl="0"/>
            <a:r>
              <a:rPr lang="en-US"/>
              <a:t>Click to edit Master text styles</a:t>
            </a:r>
          </a:p>
        </p:txBody>
      </p:sp>
    </p:spTree>
    <p:extLst>
      <p:ext uri="{BB962C8B-B14F-4D97-AF65-F5344CB8AC3E}">
        <p14:creationId xmlns:p14="http://schemas.microsoft.com/office/powerpoint/2010/main" val="17684743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E1D3C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192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_1-column_Large type">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2" name="Text Placeholder 3">
            <a:extLst>
              <a:ext uri="{FF2B5EF4-FFF2-40B4-BE49-F238E27FC236}">
                <a16:creationId xmlns:a16="http://schemas.microsoft.com/office/drawing/2014/main" id="{79614968-3494-E366-3F5D-AD4C362B9029}"/>
              </a:ext>
            </a:extLst>
          </p:cNvPr>
          <p:cNvSpPr>
            <a:spLocks noGrp="1"/>
          </p:cNvSpPr>
          <p:nvPr>
            <p:ph type="body" sz="quarter" idx="12" hasCustomPrompt="1"/>
          </p:nvPr>
        </p:nvSpPr>
        <p:spPr>
          <a:xfrm>
            <a:off x="584199" y="1589670"/>
            <a:ext cx="8193024" cy="646908"/>
          </a:xfrm>
          <a:prstGeom prst="rect">
            <a:avLst/>
          </a:prstGeom>
        </p:spPr>
        <p:txBody>
          <a:bodyPr/>
          <a:lstStyle>
            <a:lvl1pPr marL="514350" indent="-514350">
              <a:lnSpc>
                <a:spcPct val="150000"/>
              </a:lnSpc>
              <a:spcBef>
                <a:spcPts val="0"/>
              </a:spcBef>
              <a:buSzPct val="100000"/>
              <a:buFont typeface="+mj-lt"/>
              <a:buAutoNum type="arabicPeriod"/>
              <a:defRPr sz="3200" spc="-20" baseline="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agenda items</a:t>
            </a:r>
          </a:p>
        </p:txBody>
      </p:sp>
    </p:spTree>
    <p:extLst>
      <p:ext uri="{BB962C8B-B14F-4D97-AF65-F5344CB8AC3E}">
        <p14:creationId xmlns:p14="http://schemas.microsoft.com/office/powerpoint/2010/main" val="352070941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44">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am roster_5 member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Picture 1" descr="This photo is a 'placeholder' only. Drag or drop your photo here, or click and tap the center to insert a photo.">
            <a:extLst>
              <a:ext uri="{FF2B5EF4-FFF2-40B4-BE49-F238E27FC236}">
                <a16:creationId xmlns:a16="http://schemas.microsoft.com/office/drawing/2014/main" id="{2095A92D-6FC0-30E2-84FD-749200CFDD2F}"/>
              </a:ext>
            </a:extLst>
          </p:cNvPr>
          <p:cNvSpPr>
            <a:spLocks noGrp="1" noChangeAspect="1"/>
          </p:cNvSpPr>
          <p:nvPr>
            <p:ph type="pic" sz="quarter" idx="21" hasCustomPrompt="1"/>
          </p:nvPr>
        </p:nvSpPr>
        <p:spPr bwMode="ltGray">
          <a:xfrm>
            <a:off x="597395"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 name="Text Placeholder 58">
            <a:extLst>
              <a:ext uri="{FF2B5EF4-FFF2-40B4-BE49-F238E27FC236}">
                <a16:creationId xmlns:a16="http://schemas.microsoft.com/office/drawing/2014/main" id="{8E28FB90-1F0C-96B6-ED65-6403818CBD82}"/>
              </a:ext>
            </a:extLst>
          </p:cNvPr>
          <p:cNvSpPr>
            <a:spLocks noGrp="1"/>
          </p:cNvSpPr>
          <p:nvPr>
            <p:ph type="body" sz="quarter" idx="36" hasCustomPrompt="1"/>
          </p:nvPr>
        </p:nvSpPr>
        <p:spPr>
          <a:xfrm>
            <a:off x="5842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 name="Text Placeholder 58">
            <a:extLst>
              <a:ext uri="{FF2B5EF4-FFF2-40B4-BE49-F238E27FC236}">
                <a16:creationId xmlns:a16="http://schemas.microsoft.com/office/drawing/2014/main" id="{39EC624B-C018-EA8F-FC34-7FA84C7312AC}"/>
              </a:ext>
            </a:extLst>
          </p:cNvPr>
          <p:cNvSpPr>
            <a:spLocks noGrp="1"/>
          </p:cNvSpPr>
          <p:nvPr>
            <p:ph type="body" sz="quarter" idx="37" hasCustomPrompt="1"/>
          </p:nvPr>
        </p:nvSpPr>
        <p:spPr>
          <a:xfrm>
            <a:off x="5842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7" name="Text Placeholder 2A sub">
            <a:extLst>
              <a:ext uri="{FF2B5EF4-FFF2-40B4-BE49-F238E27FC236}">
                <a16:creationId xmlns:a16="http://schemas.microsoft.com/office/drawing/2014/main" id="{7F9D57BE-5CDF-C75E-2546-01FDA84338EC}"/>
              </a:ext>
            </a:extLst>
          </p:cNvPr>
          <p:cNvSpPr>
            <a:spLocks noGrp="1"/>
          </p:cNvSpPr>
          <p:nvPr>
            <p:ph type="body" sz="quarter" idx="48" hasCustomPrompt="1"/>
          </p:nvPr>
        </p:nvSpPr>
        <p:spPr>
          <a:xfrm>
            <a:off x="597395"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7" name="Picture 2" descr="This photo is a 'placeholder' only. Drag or drop your photo here, or click and tap the center to insert a photo.">
            <a:extLst>
              <a:ext uri="{FF2B5EF4-FFF2-40B4-BE49-F238E27FC236}">
                <a16:creationId xmlns:a16="http://schemas.microsoft.com/office/drawing/2014/main" id="{E080675F-DF49-FC49-81AB-E8C058EE4972}"/>
              </a:ext>
            </a:extLst>
          </p:cNvPr>
          <p:cNvSpPr>
            <a:spLocks noGrp="1" noChangeAspect="1"/>
          </p:cNvSpPr>
          <p:nvPr>
            <p:ph type="pic" sz="quarter" idx="32" hasCustomPrompt="1"/>
          </p:nvPr>
        </p:nvSpPr>
        <p:spPr bwMode="ltGray">
          <a:xfrm>
            <a:off x="2885660"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58">
            <a:extLst>
              <a:ext uri="{FF2B5EF4-FFF2-40B4-BE49-F238E27FC236}">
                <a16:creationId xmlns:a16="http://schemas.microsoft.com/office/drawing/2014/main" id="{3928C68D-DAC5-11B4-3C12-6C91DE377400}"/>
              </a:ext>
            </a:extLst>
          </p:cNvPr>
          <p:cNvSpPr>
            <a:spLocks noGrp="1"/>
          </p:cNvSpPr>
          <p:nvPr>
            <p:ph type="body" sz="quarter" idx="38" hasCustomPrompt="1"/>
          </p:nvPr>
        </p:nvSpPr>
        <p:spPr>
          <a:xfrm>
            <a:off x="28956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4" name="Text Placeholder 58">
            <a:extLst>
              <a:ext uri="{FF2B5EF4-FFF2-40B4-BE49-F238E27FC236}">
                <a16:creationId xmlns:a16="http://schemas.microsoft.com/office/drawing/2014/main" id="{0B56EBDC-A427-27E1-3FEB-F0FD4E7B82C2}"/>
              </a:ext>
            </a:extLst>
          </p:cNvPr>
          <p:cNvSpPr>
            <a:spLocks noGrp="1"/>
          </p:cNvSpPr>
          <p:nvPr>
            <p:ph type="body" sz="quarter" idx="39" hasCustomPrompt="1"/>
          </p:nvPr>
        </p:nvSpPr>
        <p:spPr>
          <a:xfrm>
            <a:off x="28956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8" name="Text Placeholder 2A sub">
            <a:extLst>
              <a:ext uri="{FF2B5EF4-FFF2-40B4-BE49-F238E27FC236}">
                <a16:creationId xmlns:a16="http://schemas.microsoft.com/office/drawing/2014/main" id="{A7056ACE-B611-E42B-9345-C0B20848C942}"/>
              </a:ext>
            </a:extLst>
          </p:cNvPr>
          <p:cNvSpPr>
            <a:spLocks noGrp="1"/>
          </p:cNvSpPr>
          <p:nvPr>
            <p:ph type="body" sz="quarter" idx="56" hasCustomPrompt="1"/>
          </p:nvPr>
        </p:nvSpPr>
        <p:spPr>
          <a:xfrm>
            <a:off x="2900758"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8" name="Picture 3" descr="This photo is a 'placeholder' only. Drag or drop your photo here, or click and tap the center to insert a photo.">
            <a:extLst>
              <a:ext uri="{FF2B5EF4-FFF2-40B4-BE49-F238E27FC236}">
                <a16:creationId xmlns:a16="http://schemas.microsoft.com/office/drawing/2014/main" id="{05FE9E54-AB2C-EF3D-275C-52775C5B1213}"/>
              </a:ext>
            </a:extLst>
          </p:cNvPr>
          <p:cNvSpPr>
            <a:spLocks noGrp="1" noChangeAspect="1"/>
          </p:cNvSpPr>
          <p:nvPr>
            <p:ph type="pic" sz="quarter" idx="33" hasCustomPrompt="1"/>
          </p:nvPr>
        </p:nvSpPr>
        <p:spPr bwMode="ltGray">
          <a:xfrm>
            <a:off x="5206586"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58">
            <a:extLst>
              <a:ext uri="{FF2B5EF4-FFF2-40B4-BE49-F238E27FC236}">
                <a16:creationId xmlns:a16="http://schemas.microsoft.com/office/drawing/2014/main" id="{E6A26C49-73B1-32C2-15C5-764A1E43D37A}"/>
              </a:ext>
            </a:extLst>
          </p:cNvPr>
          <p:cNvSpPr>
            <a:spLocks noGrp="1"/>
          </p:cNvSpPr>
          <p:nvPr>
            <p:ph type="body" sz="quarter" idx="40" hasCustomPrompt="1"/>
          </p:nvPr>
        </p:nvSpPr>
        <p:spPr>
          <a:xfrm>
            <a:off x="51816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6" name="Text Placeholder 58">
            <a:extLst>
              <a:ext uri="{FF2B5EF4-FFF2-40B4-BE49-F238E27FC236}">
                <a16:creationId xmlns:a16="http://schemas.microsoft.com/office/drawing/2014/main" id="{69292DB0-E395-2E0C-8AD4-5A478E223D83}"/>
              </a:ext>
            </a:extLst>
          </p:cNvPr>
          <p:cNvSpPr>
            <a:spLocks noGrp="1"/>
          </p:cNvSpPr>
          <p:nvPr>
            <p:ph type="body" sz="quarter" idx="41" hasCustomPrompt="1"/>
          </p:nvPr>
        </p:nvSpPr>
        <p:spPr>
          <a:xfrm>
            <a:off x="51816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9" name="Text Placeholder 2A sub">
            <a:extLst>
              <a:ext uri="{FF2B5EF4-FFF2-40B4-BE49-F238E27FC236}">
                <a16:creationId xmlns:a16="http://schemas.microsoft.com/office/drawing/2014/main" id="{18235FB3-0388-BC57-E46C-852B620BD36A}"/>
              </a:ext>
            </a:extLst>
          </p:cNvPr>
          <p:cNvSpPr>
            <a:spLocks noGrp="1"/>
          </p:cNvSpPr>
          <p:nvPr>
            <p:ph type="body" sz="quarter" idx="57" hasCustomPrompt="1"/>
          </p:nvPr>
        </p:nvSpPr>
        <p:spPr>
          <a:xfrm>
            <a:off x="5180970"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9" name="Picture 4" descr="This photo is a 'placeholder' only. Drag or drop your photo here, or click and tap the center to insert a photo.">
            <a:extLst>
              <a:ext uri="{FF2B5EF4-FFF2-40B4-BE49-F238E27FC236}">
                <a16:creationId xmlns:a16="http://schemas.microsoft.com/office/drawing/2014/main" id="{96F26384-C43A-EEAD-9B70-92910BADFBBF}"/>
              </a:ext>
            </a:extLst>
          </p:cNvPr>
          <p:cNvSpPr>
            <a:spLocks noGrp="1" noChangeAspect="1"/>
          </p:cNvSpPr>
          <p:nvPr>
            <p:ph type="pic" sz="quarter" idx="34" hasCustomPrompt="1"/>
          </p:nvPr>
        </p:nvSpPr>
        <p:spPr bwMode="ltGray">
          <a:xfrm>
            <a:off x="7444409"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7" name="Text Placeholder 58">
            <a:extLst>
              <a:ext uri="{FF2B5EF4-FFF2-40B4-BE49-F238E27FC236}">
                <a16:creationId xmlns:a16="http://schemas.microsoft.com/office/drawing/2014/main" id="{5C9A1883-6DFC-99E3-6521-481114322E5A}"/>
              </a:ext>
            </a:extLst>
          </p:cNvPr>
          <p:cNvSpPr>
            <a:spLocks noGrp="1"/>
          </p:cNvSpPr>
          <p:nvPr>
            <p:ph type="body" sz="quarter" idx="42" hasCustomPrompt="1"/>
          </p:nvPr>
        </p:nvSpPr>
        <p:spPr>
          <a:xfrm>
            <a:off x="7453312"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8" name="Text Placeholder 58">
            <a:extLst>
              <a:ext uri="{FF2B5EF4-FFF2-40B4-BE49-F238E27FC236}">
                <a16:creationId xmlns:a16="http://schemas.microsoft.com/office/drawing/2014/main" id="{77F88679-0849-BCE4-E48F-9011B09625AA}"/>
              </a:ext>
            </a:extLst>
          </p:cNvPr>
          <p:cNvSpPr>
            <a:spLocks noGrp="1"/>
          </p:cNvSpPr>
          <p:nvPr>
            <p:ph type="body" sz="quarter" idx="43" hasCustomPrompt="1"/>
          </p:nvPr>
        </p:nvSpPr>
        <p:spPr>
          <a:xfrm>
            <a:off x="7453312"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0" name="Text Placeholder 2A sub">
            <a:extLst>
              <a:ext uri="{FF2B5EF4-FFF2-40B4-BE49-F238E27FC236}">
                <a16:creationId xmlns:a16="http://schemas.microsoft.com/office/drawing/2014/main" id="{46C9B654-FF71-96F3-9D65-FAFDCC542B23}"/>
              </a:ext>
            </a:extLst>
          </p:cNvPr>
          <p:cNvSpPr>
            <a:spLocks noGrp="1"/>
          </p:cNvSpPr>
          <p:nvPr>
            <p:ph type="body" sz="quarter" idx="58" hasCustomPrompt="1"/>
          </p:nvPr>
        </p:nvSpPr>
        <p:spPr>
          <a:xfrm>
            <a:off x="7426459"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0" name="Picture 5" descr="This photo is a 'placeholder' only. Drag or drop your photo here, or click and tap the center to insert a photo.">
            <a:extLst>
              <a:ext uri="{FF2B5EF4-FFF2-40B4-BE49-F238E27FC236}">
                <a16:creationId xmlns:a16="http://schemas.microsoft.com/office/drawing/2014/main" id="{3B9166C7-9DC6-A91A-ED39-661EF0FD1414}"/>
              </a:ext>
            </a:extLst>
          </p:cNvPr>
          <p:cNvSpPr>
            <a:spLocks noGrp="1" noChangeAspect="1"/>
          </p:cNvSpPr>
          <p:nvPr>
            <p:ph type="pic" sz="quarter" idx="35" hasCustomPrompt="1"/>
          </p:nvPr>
        </p:nvSpPr>
        <p:spPr bwMode="ltGray">
          <a:xfrm>
            <a:off x="9732820"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9" name="Text Placeholder 58">
            <a:extLst>
              <a:ext uri="{FF2B5EF4-FFF2-40B4-BE49-F238E27FC236}">
                <a16:creationId xmlns:a16="http://schemas.microsoft.com/office/drawing/2014/main" id="{F3664A74-3BF2-EBBD-0A32-D91D7E18D712}"/>
              </a:ext>
            </a:extLst>
          </p:cNvPr>
          <p:cNvSpPr>
            <a:spLocks noGrp="1"/>
          </p:cNvSpPr>
          <p:nvPr>
            <p:ph type="body" sz="quarter" idx="44" hasCustomPrompt="1"/>
          </p:nvPr>
        </p:nvSpPr>
        <p:spPr>
          <a:xfrm>
            <a:off x="9725024"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0" name="Text Placeholder 58">
            <a:extLst>
              <a:ext uri="{FF2B5EF4-FFF2-40B4-BE49-F238E27FC236}">
                <a16:creationId xmlns:a16="http://schemas.microsoft.com/office/drawing/2014/main" id="{1EA6E3E7-9522-FBDA-5AA8-9B02637C3DED}"/>
              </a:ext>
            </a:extLst>
          </p:cNvPr>
          <p:cNvSpPr>
            <a:spLocks noGrp="1"/>
          </p:cNvSpPr>
          <p:nvPr>
            <p:ph type="body" sz="quarter" idx="45" hasCustomPrompt="1"/>
          </p:nvPr>
        </p:nvSpPr>
        <p:spPr>
          <a:xfrm>
            <a:off x="9725024"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Text Placeholder 2A sub">
            <a:extLst>
              <a:ext uri="{FF2B5EF4-FFF2-40B4-BE49-F238E27FC236}">
                <a16:creationId xmlns:a16="http://schemas.microsoft.com/office/drawing/2014/main" id="{C58F8C8D-221D-B55E-D329-5A72E24F04B1}"/>
              </a:ext>
            </a:extLst>
          </p:cNvPr>
          <p:cNvSpPr>
            <a:spLocks noGrp="1"/>
          </p:cNvSpPr>
          <p:nvPr>
            <p:ph type="body" sz="quarter" idx="59" hasCustomPrompt="1"/>
          </p:nvPr>
        </p:nvSpPr>
        <p:spPr>
          <a:xfrm>
            <a:off x="9729821"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Tree>
    <p:extLst>
      <p:ext uri="{BB962C8B-B14F-4D97-AF65-F5344CB8AC3E}">
        <p14:creationId xmlns:p14="http://schemas.microsoft.com/office/powerpoint/2010/main" val="286860418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 roster_Multiple team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3" name="Team 1">
            <a:extLst>
              <a:ext uri="{FF2B5EF4-FFF2-40B4-BE49-F238E27FC236}">
                <a16:creationId xmlns:a16="http://schemas.microsoft.com/office/drawing/2014/main" id="{1788A81D-F91F-4B63-B86B-E5FF44CB3797}"/>
              </a:ext>
            </a:extLst>
          </p:cNvPr>
          <p:cNvSpPr>
            <a:spLocks noGrp="1"/>
          </p:cNvSpPr>
          <p:nvPr>
            <p:ph type="body" sz="quarter" idx="41" hasCustomPrompt="1"/>
          </p:nvPr>
        </p:nvSpPr>
        <p:spPr>
          <a:xfrm>
            <a:off x="584200" y="2038192"/>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1</a:t>
            </a:r>
          </a:p>
        </p:txBody>
      </p:sp>
      <p:sp>
        <p:nvSpPr>
          <p:cNvPr id="30" name="Picture Placeholder 1A" descr="This photo is a 'placeholder' only. Drag or drop your photo here, or click and tap the center to insert a photo.">
            <a:extLst>
              <a:ext uri="{FF2B5EF4-FFF2-40B4-BE49-F238E27FC236}">
                <a16:creationId xmlns:a16="http://schemas.microsoft.com/office/drawing/2014/main" id="{7A1858DE-4EF1-DF37-6E54-4CDDA8BE4810}"/>
              </a:ext>
            </a:extLst>
          </p:cNvPr>
          <p:cNvSpPr>
            <a:spLocks noGrp="1" noChangeAspect="1"/>
          </p:cNvSpPr>
          <p:nvPr>
            <p:ph type="pic" sz="quarter" idx="28"/>
          </p:nvPr>
        </p:nvSpPr>
        <p:spPr bwMode="ltGray">
          <a:xfrm>
            <a:off x="2179638"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47" name="Text Placeholder 58">
            <a:extLst>
              <a:ext uri="{FF2B5EF4-FFF2-40B4-BE49-F238E27FC236}">
                <a16:creationId xmlns:a16="http://schemas.microsoft.com/office/drawing/2014/main" id="{44D0620A-EDE4-7447-2DB5-3E62FDFEF2AE}"/>
              </a:ext>
            </a:extLst>
          </p:cNvPr>
          <p:cNvSpPr>
            <a:spLocks noGrp="1"/>
          </p:cNvSpPr>
          <p:nvPr>
            <p:ph type="body" sz="quarter" idx="45" hasCustomPrompt="1"/>
          </p:nvPr>
        </p:nvSpPr>
        <p:spPr>
          <a:xfrm>
            <a:off x="3193643"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48" name="Text Placeholder 58">
            <a:extLst>
              <a:ext uri="{FF2B5EF4-FFF2-40B4-BE49-F238E27FC236}">
                <a16:creationId xmlns:a16="http://schemas.microsoft.com/office/drawing/2014/main" id="{01C010F4-F640-8A60-84DB-3A2F8B87A5DD}"/>
              </a:ext>
            </a:extLst>
          </p:cNvPr>
          <p:cNvSpPr>
            <a:spLocks noGrp="1"/>
          </p:cNvSpPr>
          <p:nvPr>
            <p:ph type="body" sz="quarter" idx="46" hasCustomPrompt="1"/>
          </p:nvPr>
        </p:nvSpPr>
        <p:spPr>
          <a:xfrm>
            <a:off x="3193643"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4" name="Picture Placeholder 1B" descr="This photo is a 'placeholder' only. Drag or drop your photo here, or click and tap the center to insert a photo.">
            <a:extLst>
              <a:ext uri="{FF2B5EF4-FFF2-40B4-BE49-F238E27FC236}">
                <a16:creationId xmlns:a16="http://schemas.microsoft.com/office/drawing/2014/main" id="{8DC67249-5F90-20FE-642D-92B8A7AA4725}"/>
              </a:ext>
            </a:extLst>
          </p:cNvPr>
          <p:cNvSpPr>
            <a:spLocks noGrp="1" noChangeAspect="1"/>
          </p:cNvSpPr>
          <p:nvPr>
            <p:ph type="pic" sz="quarter" idx="32"/>
          </p:nvPr>
        </p:nvSpPr>
        <p:spPr bwMode="ltGray">
          <a:xfrm>
            <a:off x="4609587"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5" name="Text Placeholder 58">
            <a:extLst>
              <a:ext uri="{FF2B5EF4-FFF2-40B4-BE49-F238E27FC236}">
                <a16:creationId xmlns:a16="http://schemas.microsoft.com/office/drawing/2014/main" id="{922227CE-29CC-7715-08E4-905343CC4668}"/>
              </a:ext>
            </a:extLst>
          </p:cNvPr>
          <p:cNvSpPr>
            <a:spLocks noGrp="1"/>
          </p:cNvSpPr>
          <p:nvPr>
            <p:ph type="body" sz="quarter" idx="53" hasCustomPrompt="1"/>
          </p:nvPr>
        </p:nvSpPr>
        <p:spPr>
          <a:xfrm>
            <a:off x="5627448"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6" name="Text Placeholder 58">
            <a:extLst>
              <a:ext uri="{FF2B5EF4-FFF2-40B4-BE49-F238E27FC236}">
                <a16:creationId xmlns:a16="http://schemas.microsoft.com/office/drawing/2014/main" id="{20F30418-EB83-FF1F-ECF0-A40BD6D8CBC0}"/>
              </a:ext>
            </a:extLst>
          </p:cNvPr>
          <p:cNvSpPr>
            <a:spLocks noGrp="1"/>
          </p:cNvSpPr>
          <p:nvPr>
            <p:ph type="body" sz="quarter" idx="54" hasCustomPrompt="1"/>
          </p:nvPr>
        </p:nvSpPr>
        <p:spPr>
          <a:xfrm>
            <a:off x="5627448"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8" name="Picture Placeholder 1C" descr="This photo is a 'placeholder' only. Drag or drop your photo here, or click and tap the center to insert a photo.">
            <a:extLst>
              <a:ext uri="{FF2B5EF4-FFF2-40B4-BE49-F238E27FC236}">
                <a16:creationId xmlns:a16="http://schemas.microsoft.com/office/drawing/2014/main" id="{1B8D2A36-064C-FE3B-CEAF-48281FAD4185}"/>
              </a:ext>
            </a:extLst>
          </p:cNvPr>
          <p:cNvSpPr>
            <a:spLocks noGrp="1" noChangeAspect="1"/>
          </p:cNvSpPr>
          <p:nvPr>
            <p:ph type="pic" sz="quarter" idx="36"/>
          </p:nvPr>
        </p:nvSpPr>
        <p:spPr bwMode="ltGray">
          <a:xfrm>
            <a:off x="7049911"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3" name="Text Placeholder 58">
            <a:extLst>
              <a:ext uri="{FF2B5EF4-FFF2-40B4-BE49-F238E27FC236}">
                <a16:creationId xmlns:a16="http://schemas.microsoft.com/office/drawing/2014/main" id="{8AD370F1-6139-1223-018A-16C75055E068}"/>
              </a:ext>
            </a:extLst>
          </p:cNvPr>
          <p:cNvSpPr>
            <a:spLocks noGrp="1"/>
          </p:cNvSpPr>
          <p:nvPr>
            <p:ph type="body" sz="quarter" idx="61" hasCustomPrompt="1"/>
          </p:nvPr>
        </p:nvSpPr>
        <p:spPr>
          <a:xfrm>
            <a:off x="8057744"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4" name="Text Placeholder 58">
            <a:extLst>
              <a:ext uri="{FF2B5EF4-FFF2-40B4-BE49-F238E27FC236}">
                <a16:creationId xmlns:a16="http://schemas.microsoft.com/office/drawing/2014/main" id="{BFCE70D8-4F10-E678-F1BB-75AEBFBE09D5}"/>
              </a:ext>
            </a:extLst>
          </p:cNvPr>
          <p:cNvSpPr>
            <a:spLocks noGrp="1"/>
          </p:cNvSpPr>
          <p:nvPr>
            <p:ph type="body" sz="quarter" idx="62" hasCustomPrompt="1"/>
          </p:nvPr>
        </p:nvSpPr>
        <p:spPr>
          <a:xfrm>
            <a:off x="8057744"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2" name="Picture Placeholder 1D" descr="This photo is a 'placeholder' only. Drag or drop your photo here, or click and tap the center to insert a photo.">
            <a:extLst>
              <a:ext uri="{FF2B5EF4-FFF2-40B4-BE49-F238E27FC236}">
                <a16:creationId xmlns:a16="http://schemas.microsoft.com/office/drawing/2014/main" id="{8E2E6F0B-8050-0919-E8CB-AC11968F627C}"/>
              </a:ext>
            </a:extLst>
          </p:cNvPr>
          <p:cNvSpPr>
            <a:spLocks noGrp="1" noChangeAspect="1"/>
          </p:cNvSpPr>
          <p:nvPr>
            <p:ph type="pic" sz="quarter" idx="40"/>
          </p:nvPr>
        </p:nvSpPr>
        <p:spPr bwMode="ltGray">
          <a:xfrm>
            <a:off x="9485490"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1" name="Text Placeholder 58">
            <a:extLst>
              <a:ext uri="{FF2B5EF4-FFF2-40B4-BE49-F238E27FC236}">
                <a16:creationId xmlns:a16="http://schemas.microsoft.com/office/drawing/2014/main" id="{0001AF27-6E88-CCE0-8660-7B99045D854D}"/>
              </a:ext>
            </a:extLst>
          </p:cNvPr>
          <p:cNvSpPr>
            <a:spLocks noGrp="1"/>
          </p:cNvSpPr>
          <p:nvPr>
            <p:ph type="body" sz="quarter" idx="69" hasCustomPrompt="1"/>
          </p:nvPr>
        </p:nvSpPr>
        <p:spPr>
          <a:xfrm>
            <a:off x="10478312"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2" name="Text Placeholder 58">
            <a:extLst>
              <a:ext uri="{FF2B5EF4-FFF2-40B4-BE49-F238E27FC236}">
                <a16:creationId xmlns:a16="http://schemas.microsoft.com/office/drawing/2014/main" id="{03C09D05-0CE3-7C80-1290-D97C4CA98852}"/>
              </a:ext>
            </a:extLst>
          </p:cNvPr>
          <p:cNvSpPr>
            <a:spLocks noGrp="1"/>
          </p:cNvSpPr>
          <p:nvPr>
            <p:ph type="body" sz="quarter" idx="70" hasCustomPrompt="1"/>
          </p:nvPr>
        </p:nvSpPr>
        <p:spPr>
          <a:xfrm>
            <a:off x="10478312"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2" name="Straight Connector 1">
            <a:extLst>
              <a:ext uri="{FF2B5EF4-FFF2-40B4-BE49-F238E27FC236}">
                <a16:creationId xmlns:a16="http://schemas.microsoft.com/office/drawing/2014/main" id="{8F445834-5147-BDA3-1A05-42FE03F26C3D}"/>
              </a:ext>
            </a:extLst>
          </p:cNvPr>
          <p:cNvCxnSpPr>
            <a:cxnSpLocks/>
          </p:cNvCxnSpPr>
          <p:nvPr userDrawn="1"/>
        </p:nvCxnSpPr>
        <p:spPr>
          <a:xfrm>
            <a:off x="588662" y="2796209"/>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am 2">
            <a:extLst>
              <a:ext uri="{FF2B5EF4-FFF2-40B4-BE49-F238E27FC236}">
                <a16:creationId xmlns:a16="http://schemas.microsoft.com/office/drawing/2014/main" id="{10A26582-C8F8-AC4A-9BCE-FF494FA099A6}"/>
              </a:ext>
            </a:extLst>
          </p:cNvPr>
          <p:cNvSpPr>
            <a:spLocks noGrp="1"/>
          </p:cNvSpPr>
          <p:nvPr>
            <p:ph type="body" sz="quarter" idx="42" hasCustomPrompt="1"/>
          </p:nvPr>
        </p:nvSpPr>
        <p:spPr>
          <a:xfrm>
            <a:off x="584200" y="327660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2</a:t>
            </a:r>
          </a:p>
        </p:txBody>
      </p:sp>
      <p:sp>
        <p:nvSpPr>
          <p:cNvPr id="29" name="Picture Placeholder 2A" descr="This photo is a 'placeholder' only. Drag or drop your photo here, or click and tap the center to insert a photo.">
            <a:extLst>
              <a:ext uri="{FF2B5EF4-FFF2-40B4-BE49-F238E27FC236}">
                <a16:creationId xmlns:a16="http://schemas.microsoft.com/office/drawing/2014/main" id="{B47D2B24-2319-9A35-2475-DEF9C8C68542}"/>
              </a:ext>
            </a:extLst>
          </p:cNvPr>
          <p:cNvSpPr>
            <a:spLocks noGrp="1" noChangeAspect="1"/>
          </p:cNvSpPr>
          <p:nvPr>
            <p:ph type="pic" sz="quarter" idx="27"/>
          </p:nvPr>
        </p:nvSpPr>
        <p:spPr bwMode="ltGray">
          <a:xfrm>
            <a:off x="2179638"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49" name="Text Placeholder 58">
            <a:extLst>
              <a:ext uri="{FF2B5EF4-FFF2-40B4-BE49-F238E27FC236}">
                <a16:creationId xmlns:a16="http://schemas.microsoft.com/office/drawing/2014/main" id="{FC01ED5E-F101-B2E3-BF92-D7282EDD9294}"/>
              </a:ext>
            </a:extLst>
          </p:cNvPr>
          <p:cNvSpPr>
            <a:spLocks noGrp="1"/>
          </p:cNvSpPr>
          <p:nvPr>
            <p:ph type="body" sz="quarter" idx="47" hasCustomPrompt="1"/>
          </p:nvPr>
        </p:nvSpPr>
        <p:spPr>
          <a:xfrm>
            <a:off x="3193643"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0" name="Text Placeholder 58">
            <a:extLst>
              <a:ext uri="{FF2B5EF4-FFF2-40B4-BE49-F238E27FC236}">
                <a16:creationId xmlns:a16="http://schemas.microsoft.com/office/drawing/2014/main" id="{5EFE1E18-263B-ADE2-5B97-3D3EC83D4FFD}"/>
              </a:ext>
            </a:extLst>
          </p:cNvPr>
          <p:cNvSpPr>
            <a:spLocks noGrp="1"/>
          </p:cNvSpPr>
          <p:nvPr>
            <p:ph type="body" sz="quarter" idx="48" hasCustomPrompt="1"/>
          </p:nvPr>
        </p:nvSpPr>
        <p:spPr>
          <a:xfrm>
            <a:off x="3193643"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3" name="Picture Placeholder 2B" descr="This photo is a 'placeholder' only. Drag or drop your photo here, or click and tap the center to insert a photo.">
            <a:extLst>
              <a:ext uri="{FF2B5EF4-FFF2-40B4-BE49-F238E27FC236}">
                <a16:creationId xmlns:a16="http://schemas.microsoft.com/office/drawing/2014/main" id="{E8083CB6-CCDA-255D-BC5C-0F5D411855D5}"/>
              </a:ext>
            </a:extLst>
          </p:cNvPr>
          <p:cNvSpPr>
            <a:spLocks noGrp="1" noChangeAspect="1"/>
          </p:cNvSpPr>
          <p:nvPr>
            <p:ph type="pic" sz="quarter" idx="31"/>
          </p:nvPr>
        </p:nvSpPr>
        <p:spPr bwMode="ltGray">
          <a:xfrm>
            <a:off x="4609587"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7" name="Text Placeholder 58">
            <a:extLst>
              <a:ext uri="{FF2B5EF4-FFF2-40B4-BE49-F238E27FC236}">
                <a16:creationId xmlns:a16="http://schemas.microsoft.com/office/drawing/2014/main" id="{F2AC0BEF-2B97-6CDB-7C63-7F2758C12D78}"/>
              </a:ext>
            </a:extLst>
          </p:cNvPr>
          <p:cNvSpPr>
            <a:spLocks noGrp="1"/>
          </p:cNvSpPr>
          <p:nvPr>
            <p:ph type="body" sz="quarter" idx="55" hasCustomPrompt="1"/>
          </p:nvPr>
        </p:nvSpPr>
        <p:spPr>
          <a:xfrm>
            <a:off x="5627448"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8" name="Text Placeholder 58">
            <a:extLst>
              <a:ext uri="{FF2B5EF4-FFF2-40B4-BE49-F238E27FC236}">
                <a16:creationId xmlns:a16="http://schemas.microsoft.com/office/drawing/2014/main" id="{74C1C912-D822-B1C0-3368-737311266008}"/>
              </a:ext>
            </a:extLst>
          </p:cNvPr>
          <p:cNvSpPr>
            <a:spLocks noGrp="1"/>
          </p:cNvSpPr>
          <p:nvPr>
            <p:ph type="body" sz="quarter" idx="56" hasCustomPrompt="1"/>
          </p:nvPr>
        </p:nvSpPr>
        <p:spPr>
          <a:xfrm>
            <a:off x="5627448"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7" name="Picture Placeholder 2C" descr="This photo is a 'placeholder' only. Drag or drop your photo here, or click and tap the center to insert a photo.">
            <a:extLst>
              <a:ext uri="{FF2B5EF4-FFF2-40B4-BE49-F238E27FC236}">
                <a16:creationId xmlns:a16="http://schemas.microsoft.com/office/drawing/2014/main" id="{164422E8-3E89-9441-E751-CAFDCD0F198A}"/>
              </a:ext>
            </a:extLst>
          </p:cNvPr>
          <p:cNvSpPr>
            <a:spLocks noGrp="1" noChangeAspect="1"/>
          </p:cNvSpPr>
          <p:nvPr>
            <p:ph type="pic" sz="quarter" idx="35"/>
          </p:nvPr>
        </p:nvSpPr>
        <p:spPr bwMode="ltGray">
          <a:xfrm>
            <a:off x="7049911"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5" name="Text Placeholder 58">
            <a:extLst>
              <a:ext uri="{FF2B5EF4-FFF2-40B4-BE49-F238E27FC236}">
                <a16:creationId xmlns:a16="http://schemas.microsoft.com/office/drawing/2014/main" id="{317C4FB7-C080-AFBA-6406-A20CF0407110}"/>
              </a:ext>
            </a:extLst>
          </p:cNvPr>
          <p:cNvSpPr>
            <a:spLocks noGrp="1"/>
          </p:cNvSpPr>
          <p:nvPr>
            <p:ph type="body" sz="quarter" idx="63" hasCustomPrompt="1"/>
          </p:nvPr>
        </p:nvSpPr>
        <p:spPr>
          <a:xfrm>
            <a:off x="8057744"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6" name="Text Placeholder 58">
            <a:extLst>
              <a:ext uri="{FF2B5EF4-FFF2-40B4-BE49-F238E27FC236}">
                <a16:creationId xmlns:a16="http://schemas.microsoft.com/office/drawing/2014/main" id="{0E6AE450-22D4-A89C-C840-1C35AC4C6789}"/>
              </a:ext>
            </a:extLst>
          </p:cNvPr>
          <p:cNvSpPr>
            <a:spLocks noGrp="1"/>
          </p:cNvSpPr>
          <p:nvPr>
            <p:ph type="body" sz="quarter" idx="64" hasCustomPrompt="1"/>
          </p:nvPr>
        </p:nvSpPr>
        <p:spPr>
          <a:xfrm>
            <a:off x="8057744"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1" name="Picture Placeholder 2D" descr="This photo is a 'placeholder' only. Drag or drop your photo here, or click and tap the center to insert a photo.">
            <a:extLst>
              <a:ext uri="{FF2B5EF4-FFF2-40B4-BE49-F238E27FC236}">
                <a16:creationId xmlns:a16="http://schemas.microsoft.com/office/drawing/2014/main" id="{E418AC83-800E-9972-CCF5-0D24DA9B04AC}"/>
              </a:ext>
            </a:extLst>
          </p:cNvPr>
          <p:cNvSpPr>
            <a:spLocks noGrp="1" noChangeAspect="1"/>
          </p:cNvSpPr>
          <p:nvPr>
            <p:ph type="pic" sz="quarter" idx="39"/>
          </p:nvPr>
        </p:nvSpPr>
        <p:spPr bwMode="ltGray">
          <a:xfrm>
            <a:off x="9485490"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3" name="Text Placeholder 58">
            <a:extLst>
              <a:ext uri="{FF2B5EF4-FFF2-40B4-BE49-F238E27FC236}">
                <a16:creationId xmlns:a16="http://schemas.microsoft.com/office/drawing/2014/main" id="{309D02C3-435E-CDD1-D82F-28B543F1B5A2}"/>
              </a:ext>
            </a:extLst>
          </p:cNvPr>
          <p:cNvSpPr>
            <a:spLocks noGrp="1"/>
          </p:cNvSpPr>
          <p:nvPr>
            <p:ph type="body" sz="quarter" idx="71" hasCustomPrompt="1"/>
          </p:nvPr>
        </p:nvSpPr>
        <p:spPr>
          <a:xfrm>
            <a:off x="10478312"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4" name="Text Placeholder 58">
            <a:extLst>
              <a:ext uri="{FF2B5EF4-FFF2-40B4-BE49-F238E27FC236}">
                <a16:creationId xmlns:a16="http://schemas.microsoft.com/office/drawing/2014/main" id="{D366B6F5-DEC3-1C48-DA3B-4397F337A269}"/>
              </a:ext>
            </a:extLst>
          </p:cNvPr>
          <p:cNvSpPr>
            <a:spLocks noGrp="1"/>
          </p:cNvSpPr>
          <p:nvPr>
            <p:ph type="body" sz="quarter" idx="72" hasCustomPrompt="1"/>
          </p:nvPr>
        </p:nvSpPr>
        <p:spPr>
          <a:xfrm>
            <a:off x="10478312"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4" name="Straight Connector 3">
            <a:extLst>
              <a:ext uri="{FF2B5EF4-FFF2-40B4-BE49-F238E27FC236}">
                <a16:creationId xmlns:a16="http://schemas.microsoft.com/office/drawing/2014/main" id="{9804F51A-1D45-8731-5DAA-2233599509CB}"/>
              </a:ext>
            </a:extLst>
          </p:cNvPr>
          <p:cNvCxnSpPr>
            <a:cxnSpLocks/>
          </p:cNvCxnSpPr>
          <p:nvPr userDrawn="1"/>
        </p:nvCxnSpPr>
        <p:spPr>
          <a:xfrm>
            <a:off x="588662" y="3962400"/>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am 3">
            <a:extLst>
              <a:ext uri="{FF2B5EF4-FFF2-40B4-BE49-F238E27FC236}">
                <a16:creationId xmlns:a16="http://schemas.microsoft.com/office/drawing/2014/main" id="{D3F608B4-ED44-5C07-5EFA-438FB513B7FB}"/>
              </a:ext>
            </a:extLst>
          </p:cNvPr>
          <p:cNvSpPr>
            <a:spLocks noGrp="1"/>
          </p:cNvSpPr>
          <p:nvPr>
            <p:ph type="body" sz="quarter" idx="43" hasCustomPrompt="1"/>
          </p:nvPr>
        </p:nvSpPr>
        <p:spPr>
          <a:xfrm>
            <a:off x="584200" y="441960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3</a:t>
            </a:r>
          </a:p>
        </p:txBody>
      </p:sp>
      <p:sp>
        <p:nvSpPr>
          <p:cNvPr id="28" name="Picture Placeholder 3A" descr="This photo is a 'placeholder' only. Drag or drop your photo here, or click and tap the center to insert a photo.">
            <a:extLst>
              <a:ext uri="{FF2B5EF4-FFF2-40B4-BE49-F238E27FC236}">
                <a16:creationId xmlns:a16="http://schemas.microsoft.com/office/drawing/2014/main" id="{EAECE39A-485D-E6EB-27F0-728F88CA6719}"/>
              </a:ext>
            </a:extLst>
          </p:cNvPr>
          <p:cNvSpPr>
            <a:spLocks noGrp="1" noChangeAspect="1"/>
          </p:cNvSpPr>
          <p:nvPr>
            <p:ph type="pic" sz="quarter" idx="26"/>
          </p:nvPr>
        </p:nvSpPr>
        <p:spPr bwMode="ltGray">
          <a:xfrm>
            <a:off x="2179638"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1" name="Text Placeholder 58">
            <a:extLst>
              <a:ext uri="{FF2B5EF4-FFF2-40B4-BE49-F238E27FC236}">
                <a16:creationId xmlns:a16="http://schemas.microsoft.com/office/drawing/2014/main" id="{3965190B-2799-9D0C-F8DD-6CC5158F1533}"/>
              </a:ext>
            </a:extLst>
          </p:cNvPr>
          <p:cNvSpPr>
            <a:spLocks noGrp="1"/>
          </p:cNvSpPr>
          <p:nvPr>
            <p:ph type="body" sz="quarter" idx="49" hasCustomPrompt="1"/>
          </p:nvPr>
        </p:nvSpPr>
        <p:spPr>
          <a:xfrm>
            <a:off x="3193643"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2" name="Text Placeholder 58">
            <a:extLst>
              <a:ext uri="{FF2B5EF4-FFF2-40B4-BE49-F238E27FC236}">
                <a16:creationId xmlns:a16="http://schemas.microsoft.com/office/drawing/2014/main" id="{736C02F1-87C7-951D-BE5A-0E2EE9F3DC1E}"/>
              </a:ext>
            </a:extLst>
          </p:cNvPr>
          <p:cNvSpPr>
            <a:spLocks noGrp="1"/>
          </p:cNvSpPr>
          <p:nvPr>
            <p:ph type="body" sz="quarter" idx="50" hasCustomPrompt="1"/>
          </p:nvPr>
        </p:nvSpPr>
        <p:spPr>
          <a:xfrm>
            <a:off x="3193643"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2" name="Picture Placeholder 3B" descr="This photo is a 'placeholder' only. Drag or drop your photo here, or click and tap the center to insert a photo.">
            <a:extLst>
              <a:ext uri="{FF2B5EF4-FFF2-40B4-BE49-F238E27FC236}">
                <a16:creationId xmlns:a16="http://schemas.microsoft.com/office/drawing/2014/main" id="{8BF4AC3C-2414-C0C9-D30B-1883D8FF07F9}"/>
              </a:ext>
            </a:extLst>
          </p:cNvPr>
          <p:cNvSpPr>
            <a:spLocks noGrp="1" noChangeAspect="1"/>
          </p:cNvSpPr>
          <p:nvPr>
            <p:ph type="pic" sz="quarter" idx="30"/>
          </p:nvPr>
        </p:nvSpPr>
        <p:spPr bwMode="ltGray">
          <a:xfrm>
            <a:off x="4609587"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9" name="Text Placeholder 58">
            <a:extLst>
              <a:ext uri="{FF2B5EF4-FFF2-40B4-BE49-F238E27FC236}">
                <a16:creationId xmlns:a16="http://schemas.microsoft.com/office/drawing/2014/main" id="{EF622325-4A31-0D34-F692-292C7A27B194}"/>
              </a:ext>
            </a:extLst>
          </p:cNvPr>
          <p:cNvSpPr>
            <a:spLocks noGrp="1"/>
          </p:cNvSpPr>
          <p:nvPr>
            <p:ph type="body" sz="quarter" idx="57" hasCustomPrompt="1"/>
          </p:nvPr>
        </p:nvSpPr>
        <p:spPr>
          <a:xfrm>
            <a:off x="5627448"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0" name="Text Placeholder 58">
            <a:extLst>
              <a:ext uri="{FF2B5EF4-FFF2-40B4-BE49-F238E27FC236}">
                <a16:creationId xmlns:a16="http://schemas.microsoft.com/office/drawing/2014/main" id="{4EA6AF6F-230F-CCBA-01CB-9F97E4A80419}"/>
              </a:ext>
            </a:extLst>
          </p:cNvPr>
          <p:cNvSpPr>
            <a:spLocks noGrp="1"/>
          </p:cNvSpPr>
          <p:nvPr>
            <p:ph type="body" sz="quarter" idx="58" hasCustomPrompt="1"/>
          </p:nvPr>
        </p:nvSpPr>
        <p:spPr>
          <a:xfrm>
            <a:off x="5627448"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6" name="Picture Placeholder 3C" descr="This photo is a 'placeholder' only. Drag or drop your photo here, or click and tap the center to insert a photo.">
            <a:extLst>
              <a:ext uri="{FF2B5EF4-FFF2-40B4-BE49-F238E27FC236}">
                <a16:creationId xmlns:a16="http://schemas.microsoft.com/office/drawing/2014/main" id="{A1EE5FC3-9D08-4309-3E1C-5300AC037DC4}"/>
              </a:ext>
            </a:extLst>
          </p:cNvPr>
          <p:cNvSpPr>
            <a:spLocks noGrp="1" noChangeAspect="1"/>
          </p:cNvSpPr>
          <p:nvPr>
            <p:ph type="pic" sz="quarter" idx="34"/>
          </p:nvPr>
        </p:nvSpPr>
        <p:spPr bwMode="ltGray">
          <a:xfrm>
            <a:off x="7049911"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7" name="Text Placeholder 58">
            <a:extLst>
              <a:ext uri="{FF2B5EF4-FFF2-40B4-BE49-F238E27FC236}">
                <a16:creationId xmlns:a16="http://schemas.microsoft.com/office/drawing/2014/main" id="{8F8EB56C-34C6-E5E1-1972-A071C8CB2ACF}"/>
              </a:ext>
            </a:extLst>
          </p:cNvPr>
          <p:cNvSpPr>
            <a:spLocks noGrp="1"/>
          </p:cNvSpPr>
          <p:nvPr>
            <p:ph type="body" sz="quarter" idx="65" hasCustomPrompt="1"/>
          </p:nvPr>
        </p:nvSpPr>
        <p:spPr>
          <a:xfrm>
            <a:off x="8057744"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8" name="Text Placeholder 58">
            <a:extLst>
              <a:ext uri="{FF2B5EF4-FFF2-40B4-BE49-F238E27FC236}">
                <a16:creationId xmlns:a16="http://schemas.microsoft.com/office/drawing/2014/main" id="{6070585B-81AF-32BA-0813-522DCAEFA40E}"/>
              </a:ext>
            </a:extLst>
          </p:cNvPr>
          <p:cNvSpPr>
            <a:spLocks noGrp="1"/>
          </p:cNvSpPr>
          <p:nvPr>
            <p:ph type="body" sz="quarter" idx="66" hasCustomPrompt="1"/>
          </p:nvPr>
        </p:nvSpPr>
        <p:spPr>
          <a:xfrm>
            <a:off x="8057744"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0" name="Picture Placeholder 3D" descr="This photo is a 'placeholder' only. Drag or drop your photo here, or click and tap the center to insert a photo.">
            <a:extLst>
              <a:ext uri="{FF2B5EF4-FFF2-40B4-BE49-F238E27FC236}">
                <a16:creationId xmlns:a16="http://schemas.microsoft.com/office/drawing/2014/main" id="{48D92F43-C340-0BDC-CD08-A5A2D0AFAA5A}"/>
              </a:ext>
            </a:extLst>
          </p:cNvPr>
          <p:cNvSpPr>
            <a:spLocks noGrp="1" noChangeAspect="1"/>
          </p:cNvSpPr>
          <p:nvPr>
            <p:ph type="pic" sz="quarter" idx="38"/>
          </p:nvPr>
        </p:nvSpPr>
        <p:spPr bwMode="ltGray">
          <a:xfrm>
            <a:off x="9485490"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5" name="Text Placeholder 58">
            <a:extLst>
              <a:ext uri="{FF2B5EF4-FFF2-40B4-BE49-F238E27FC236}">
                <a16:creationId xmlns:a16="http://schemas.microsoft.com/office/drawing/2014/main" id="{89E6A037-24C1-CAC2-A398-476119D3F25D}"/>
              </a:ext>
            </a:extLst>
          </p:cNvPr>
          <p:cNvSpPr>
            <a:spLocks noGrp="1"/>
          </p:cNvSpPr>
          <p:nvPr>
            <p:ph type="body" sz="quarter" idx="73" hasCustomPrompt="1"/>
          </p:nvPr>
        </p:nvSpPr>
        <p:spPr>
          <a:xfrm>
            <a:off x="10478312"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6" name="Text Placeholder 58">
            <a:extLst>
              <a:ext uri="{FF2B5EF4-FFF2-40B4-BE49-F238E27FC236}">
                <a16:creationId xmlns:a16="http://schemas.microsoft.com/office/drawing/2014/main" id="{876F2CA6-31AD-FFE7-FC90-15148A097830}"/>
              </a:ext>
            </a:extLst>
          </p:cNvPr>
          <p:cNvSpPr>
            <a:spLocks noGrp="1"/>
          </p:cNvSpPr>
          <p:nvPr>
            <p:ph type="body" sz="quarter" idx="74" hasCustomPrompt="1"/>
          </p:nvPr>
        </p:nvSpPr>
        <p:spPr>
          <a:xfrm>
            <a:off x="10478312"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26" name="Straight Connector 25">
            <a:extLst>
              <a:ext uri="{FF2B5EF4-FFF2-40B4-BE49-F238E27FC236}">
                <a16:creationId xmlns:a16="http://schemas.microsoft.com/office/drawing/2014/main" id="{372DE300-AF33-9F86-1E59-5008DFACF2FD}"/>
              </a:ext>
            </a:extLst>
          </p:cNvPr>
          <p:cNvCxnSpPr>
            <a:cxnSpLocks/>
          </p:cNvCxnSpPr>
          <p:nvPr userDrawn="1"/>
        </p:nvCxnSpPr>
        <p:spPr>
          <a:xfrm>
            <a:off x="588662" y="5128591"/>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am 4">
            <a:extLst>
              <a:ext uri="{FF2B5EF4-FFF2-40B4-BE49-F238E27FC236}">
                <a16:creationId xmlns:a16="http://schemas.microsoft.com/office/drawing/2014/main" id="{B1818782-B436-6129-67F3-553E6ADB8AE1}"/>
              </a:ext>
            </a:extLst>
          </p:cNvPr>
          <p:cNvSpPr>
            <a:spLocks noGrp="1"/>
          </p:cNvSpPr>
          <p:nvPr>
            <p:ph type="body" sz="quarter" idx="44" hasCustomPrompt="1"/>
          </p:nvPr>
        </p:nvSpPr>
        <p:spPr>
          <a:xfrm>
            <a:off x="569912" y="561975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4</a:t>
            </a:r>
          </a:p>
        </p:txBody>
      </p:sp>
      <p:sp>
        <p:nvSpPr>
          <p:cNvPr id="27" name="Picture Placeholder 4A" descr="This photo is a 'placeholder' only. Drag or drop your photo here, or click and tap the center to insert a photo.">
            <a:extLst>
              <a:ext uri="{FF2B5EF4-FFF2-40B4-BE49-F238E27FC236}">
                <a16:creationId xmlns:a16="http://schemas.microsoft.com/office/drawing/2014/main" id="{09D5AA92-B282-C1B4-798D-F0C0CE32DFED}"/>
              </a:ext>
            </a:extLst>
          </p:cNvPr>
          <p:cNvSpPr>
            <a:spLocks noGrp="1" noChangeAspect="1"/>
          </p:cNvSpPr>
          <p:nvPr>
            <p:ph type="pic" sz="quarter" idx="25"/>
          </p:nvPr>
        </p:nvSpPr>
        <p:spPr bwMode="ltGray">
          <a:xfrm>
            <a:off x="2179638"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3" name="Text Placeholder 58">
            <a:extLst>
              <a:ext uri="{FF2B5EF4-FFF2-40B4-BE49-F238E27FC236}">
                <a16:creationId xmlns:a16="http://schemas.microsoft.com/office/drawing/2014/main" id="{185A2984-DFE0-DB13-1B58-814E78BACB59}"/>
              </a:ext>
            </a:extLst>
          </p:cNvPr>
          <p:cNvSpPr>
            <a:spLocks noGrp="1"/>
          </p:cNvSpPr>
          <p:nvPr>
            <p:ph type="body" sz="quarter" idx="51" hasCustomPrompt="1"/>
          </p:nvPr>
        </p:nvSpPr>
        <p:spPr>
          <a:xfrm>
            <a:off x="3193643"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4" name="Text Placeholder 58">
            <a:extLst>
              <a:ext uri="{FF2B5EF4-FFF2-40B4-BE49-F238E27FC236}">
                <a16:creationId xmlns:a16="http://schemas.microsoft.com/office/drawing/2014/main" id="{8B90DB1C-DC86-BEED-6297-979686631FEC}"/>
              </a:ext>
            </a:extLst>
          </p:cNvPr>
          <p:cNvSpPr>
            <a:spLocks noGrp="1"/>
          </p:cNvSpPr>
          <p:nvPr>
            <p:ph type="body" sz="quarter" idx="52" hasCustomPrompt="1"/>
          </p:nvPr>
        </p:nvSpPr>
        <p:spPr>
          <a:xfrm>
            <a:off x="3193643"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Picture Placeholder 4B" descr="This photo is a 'placeholder' only. Drag or drop your photo here, or click and tap the center to insert a photo.">
            <a:extLst>
              <a:ext uri="{FF2B5EF4-FFF2-40B4-BE49-F238E27FC236}">
                <a16:creationId xmlns:a16="http://schemas.microsoft.com/office/drawing/2014/main" id="{1AACDD71-3F9F-FF96-80B7-B16ACB3DBDA0}"/>
              </a:ext>
            </a:extLst>
          </p:cNvPr>
          <p:cNvSpPr>
            <a:spLocks noGrp="1" noChangeAspect="1"/>
          </p:cNvSpPr>
          <p:nvPr>
            <p:ph type="pic" sz="quarter" idx="29"/>
          </p:nvPr>
        </p:nvSpPr>
        <p:spPr bwMode="ltGray">
          <a:xfrm>
            <a:off x="4609587"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1" name="Text Placeholder 58">
            <a:extLst>
              <a:ext uri="{FF2B5EF4-FFF2-40B4-BE49-F238E27FC236}">
                <a16:creationId xmlns:a16="http://schemas.microsoft.com/office/drawing/2014/main" id="{2B9A6BDF-B22A-1D52-4406-C9B2C30D5BE2}"/>
              </a:ext>
            </a:extLst>
          </p:cNvPr>
          <p:cNvSpPr>
            <a:spLocks noGrp="1"/>
          </p:cNvSpPr>
          <p:nvPr>
            <p:ph type="body" sz="quarter" idx="59" hasCustomPrompt="1"/>
          </p:nvPr>
        </p:nvSpPr>
        <p:spPr>
          <a:xfrm>
            <a:off x="5627448"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2" name="Text Placeholder 58">
            <a:extLst>
              <a:ext uri="{FF2B5EF4-FFF2-40B4-BE49-F238E27FC236}">
                <a16:creationId xmlns:a16="http://schemas.microsoft.com/office/drawing/2014/main" id="{798F9B24-6D32-FEF4-B4F7-221FA0383648}"/>
              </a:ext>
            </a:extLst>
          </p:cNvPr>
          <p:cNvSpPr>
            <a:spLocks noGrp="1"/>
          </p:cNvSpPr>
          <p:nvPr>
            <p:ph type="body" sz="quarter" idx="60" hasCustomPrompt="1"/>
          </p:nvPr>
        </p:nvSpPr>
        <p:spPr>
          <a:xfrm>
            <a:off x="5627448"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5" name="Picture Placeholder 4C" descr="This photo is a 'placeholder' only. Drag or drop your photo here, or click and tap the center to insert a photo.">
            <a:extLst>
              <a:ext uri="{FF2B5EF4-FFF2-40B4-BE49-F238E27FC236}">
                <a16:creationId xmlns:a16="http://schemas.microsoft.com/office/drawing/2014/main" id="{217FFE89-17B7-1648-33A1-D7100A36CE96}"/>
              </a:ext>
            </a:extLst>
          </p:cNvPr>
          <p:cNvSpPr>
            <a:spLocks noGrp="1" noChangeAspect="1"/>
          </p:cNvSpPr>
          <p:nvPr>
            <p:ph type="pic" sz="quarter" idx="33"/>
          </p:nvPr>
        </p:nvSpPr>
        <p:spPr bwMode="ltGray">
          <a:xfrm>
            <a:off x="7049911"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9" name="Text Placeholder 58">
            <a:extLst>
              <a:ext uri="{FF2B5EF4-FFF2-40B4-BE49-F238E27FC236}">
                <a16:creationId xmlns:a16="http://schemas.microsoft.com/office/drawing/2014/main" id="{4E67998A-56F2-636C-2397-FD35A6BAED5C}"/>
              </a:ext>
            </a:extLst>
          </p:cNvPr>
          <p:cNvSpPr>
            <a:spLocks noGrp="1"/>
          </p:cNvSpPr>
          <p:nvPr>
            <p:ph type="body" sz="quarter" idx="67" hasCustomPrompt="1"/>
          </p:nvPr>
        </p:nvSpPr>
        <p:spPr>
          <a:xfrm>
            <a:off x="8057744"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0" name="Text Placeholder 58">
            <a:extLst>
              <a:ext uri="{FF2B5EF4-FFF2-40B4-BE49-F238E27FC236}">
                <a16:creationId xmlns:a16="http://schemas.microsoft.com/office/drawing/2014/main" id="{98A4D675-E7C5-C94A-F613-39AE772372B3}"/>
              </a:ext>
            </a:extLst>
          </p:cNvPr>
          <p:cNvSpPr>
            <a:spLocks noGrp="1"/>
          </p:cNvSpPr>
          <p:nvPr>
            <p:ph type="body" sz="quarter" idx="68" hasCustomPrompt="1"/>
          </p:nvPr>
        </p:nvSpPr>
        <p:spPr>
          <a:xfrm>
            <a:off x="8057744"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9" name="Picture Placeholder 4D" descr="This photo is a 'placeholder' only. Drag or drop your photo here, or click and tap the center to insert a photo.">
            <a:extLst>
              <a:ext uri="{FF2B5EF4-FFF2-40B4-BE49-F238E27FC236}">
                <a16:creationId xmlns:a16="http://schemas.microsoft.com/office/drawing/2014/main" id="{BB3E99EB-92F7-AFDA-6F2F-8D5C275EECBF}"/>
              </a:ext>
            </a:extLst>
          </p:cNvPr>
          <p:cNvSpPr>
            <a:spLocks noGrp="1" noChangeAspect="1"/>
          </p:cNvSpPr>
          <p:nvPr>
            <p:ph type="pic" sz="quarter" idx="37"/>
          </p:nvPr>
        </p:nvSpPr>
        <p:spPr bwMode="ltGray">
          <a:xfrm>
            <a:off x="9485490"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7" name="Text Placeholder 58">
            <a:extLst>
              <a:ext uri="{FF2B5EF4-FFF2-40B4-BE49-F238E27FC236}">
                <a16:creationId xmlns:a16="http://schemas.microsoft.com/office/drawing/2014/main" id="{794D0FFB-0845-0A62-2ABA-9D32A8F6A11F}"/>
              </a:ext>
            </a:extLst>
          </p:cNvPr>
          <p:cNvSpPr>
            <a:spLocks noGrp="1"/>
          </p:cNvSpPr>
          <p:nvPr>
            <p:ph type="body" sz="quarter" idx="75" hasCustomPrompt="1"/>
          </p:nvPr>
        </p:nvSpPr>
        <p:spPr>
          <a:xfrm>
            <a:off x="10478312"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8" name="Text Placeholder 58">
            <a:extLst>
              <a:ext uri="{FF2B5EF4-FFF2-40B4-BE49-F238E27FC236}">
                <a16:creationId xmlns:a16="http://schemas.microsoft.com/office/drawing/2014/main" id="{EA2979B5-9049-F13E-01F6-96D99CFF4F5E}"/>
              </a:ext>
            </a:extLst>
          </p:cNvPr>
          <p:cNvSpPr>
            <a:spLocks noGrp="1"/>
          </p:cNvSpPr>
          <p:nvPr>
            <p:ph type="body" sz="quarter" idx="76" hasCustomPrompt="1"/>
          </p:nvPr>
        </p:nvSpPr>
        <p:spPr>
          <a:xfrm>
            <a:off x="10478312"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Tree>
    <p:extLst>
      <p:ext uri="{BB962C8B-B14F-4D97-AF65-F5344CB8AC3E}">
        <p14:creationId xmlns:p14="http://schemas.microsoft.com/office/powerpoint/2010/main" val="50287123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ummary page_Big headline">
    <p:bg>
      <p:bgPr>
        <a:solidFill>
          <a:srgbClr val="0978D4"/>
        </a:solidFill>
        <a:effectLst/>
      </p:bgPr>
    </p:bg>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9654F913-8C73-8154-339B-5F55F59D6479}"/>
              </a:ext>
            </a:extLst>
          </p:cNvPr>
          <p:cNvSpPr>
            <a:spLocks noGrp="1"/>
          </p:cNvSpPr>
          <p:nvPr>
            <p:ph type="title" hasCustomPrompt="1"/>
          </p:nvPr>
        </p:nvSpPr>
        <p:spPr>
          <a:xfrm>
            <a:off x="525081" y="2448062"/>
            <a:ext cx="10430257" cy="1015663"/>
          </a:xfrm>
        </p:spPr>
        <p:txBody>
          <a:bodyPr anchor="b" anchorCtr="0"/>
          <a:lstStyle>
            <a:lvl1pPr>
              <a:defRPr sz="6600" spc="-100" baseline="0">
                <a:solidFill>
                  <a:schemeClr val="tx1"/>
                </a:solidFill>
                <a:latin typeface="+mj-lt"/>
              </a:defRPr>
            </a:lvl1pPr>
          </a:lstStyle>
          <a:p>
            <a:r>
              <a:rPr lang="en-US"/>
              <a:t>Big headline</a:t>
            </a:r>
          </a:p>
        </p:txBody>
      </p:sp>
      <p:sp>
        <p:nvSpPr>
          <p:cNvPr id="12" name="Text Placeholder 3">
            <a:extLst>
              <a:ext uri="{FF2B5EF4-FFF2-40B4-BE49-F238E27FC236}">
                <a16:creationId xmlns:a16="http://schemas.microsoft.com/office/drawing/2014/main" id="{1AD7AFE0-BCF1-36FF-7EA7-BCB9808983BD}"/>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1290F352-B453-F362-EDD0-00B6F4E63D12}"/>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61551"/>
      </p:ext>
    </p:extLst>
  </p:cSld>
  <p:clrMapOvr>
    <a:masterClrMapping/>
  </p:clrMapOvr>
  <p:transition>
    <p:fade/>
  </p:transition>
  <p:extLst>
    <p:ext uri="{DCECCB84-F9BA-43D5-87BE-67443E8EF086}">
      <p15:sldGuideLst xmlns:p15="http://schemas.microsoft.com/office/powerpoint/2012/main">
        <p15:guide id="2" pos="7680">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Dark Purple">
    <p:bg>
      <p:bgPr>
        <a:solidFill>
          <a:srgbClr val="0978D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13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13000"/>
          </a:blip>
          <a:stretch>
            <a:fillRect/>
          </a:stretch>
        </p:blipFill>
        <p:spPr>
          <a:xfrm rot="10800000">
            <a:off x="8186352" y="3860767"/>
            <a:ext cx="4624669" cy="3379567"/>
          </a:xfrm>
          <a:prstGeom prst="rect">
            <a:avLst/>
          </a:prstGeom>
        </p:spPr>
      </p:pic>
      <p:sp>
        <p:nvSpPr>
          <p:cNvPr id="15" name="Text Placeholder 2">
            <a:extLst>
              <a:ext uri="{FF2B5EF4-FFF2-40B4-BE49-F238E27FC236}">
                <a16:creationId xmlns:a16="http://schemas.microsoft.com/office/drawing/2014/main" id="{E7E5487E-046B-12F4-5F50-B9A9DED92006}"/>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j-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6A38A572-BE21-AD6C-05B0-796EB24BADA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endParaRPr lang="en-US"/>
          </a:p>
        </p:txBody>
      </p:sp>
      <p:sp>
        <p:nvSpPr>
          <p:cNvPr id="8" name="Text Placeholder 14">
            <a:extLst>
              <a:ext uri="{FF2B5EF4-FFF2-40B4-BE49-F238E27FC236}">
                <a16:creationId xmlns:a16="http://schemas.microsoft.com/office/drawing/2014/main" id="{F35B74AA-BE69-DAC7-7B0A-BE5264EC2C3C}"/>
              </a:ext>
            </a:extLst>
          </p:cNvPr>
          <p:cNvSpPr>
            <a:spLocks noGrp="1"/>
          </p:cNvSpPr>
          <p:nvPr>
            <p:ph type="body" sz="quarter" idx="13"/>
          </p:nvPr>
        </p:nvSpPr>
        <p:spPr>
          <a:xfrm>
            <a:off x="1534883" y="5012194"/>
            <a:ext cx="9144000" cy="184666"/>
          </a:xfrm>
          <a:prstGeom prst="rect">
            <a:avLst/>
          </a:prstGeom>
        </p:spPr>
        <p:txBody>
          <a:bodyPr/>
          <a:lstStyle>
            <a:lvl1pPr marL="0" indent="0" algn="ctr">
              <a:buNone/>
              <a:defRPr sz="1200">
                <a:solidFill>
                  <a:schemeClr val="tx1"/>
                </a:solidFill>
              </a:defRPr>
            </a:lvl1pPr>
          </a:lstStyle>
          <a:p>
            <a:pPr lvl="0"/>
            <a:endParaRPr lang="en-US"/>
          </a:p>
        </p:txBody>
      </p:sp>
    </p:spTree>
    <p:extLst>
      <p:ext uri="{BB962C8B-B14F-4D97-AF65-F5344CB8AC3E}">
        <p14:creationId xmlns:p14="http://schemas.microsoft.com/office/powerpoint/2010/main" val="3847539070"/>
      </p:ext>
    </p:extLst>
  </p:cSld>
  <p:clrMapOvr>
    <a:masterClrMapping/>
  </p:clrMapOvr>
  <p:transition>
    <p:fade/>
  </p:transition>
  <p:extLst>
    <p:ext uri="{DCECCB84-F9BA-43D5-87BE-67443E8EF086}">
      <p15:sldGuideLst xmlns:p15="http://schemas.microsoft.com/office/powerpoint/2012/main">
        <p15:guide id="3" pos="368">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Dark Teal">
    <p:bg>
      <p:bgPr>
        <a:solidFill>
          <a:srgbClr val="0978D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13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13000"/>
          </a:blip>
          <a:stretch>
            <a:fillRect/>
          </a:stretch>
        </p:blipFill>
        <p:spPr>
          <a:xfrm rot="10800000">
            <a:off x="8186352" y="3860767"/>
            <a:ext cx="4624669" cy="3379567"/>
          </a:xfrm>
          <a:prstGeom prst="rect">
            <a:avLst/>
          </a:prstGeom>
        </p:spPr>
      </p:pic>
      <p:sp>
        <p:nvSpPr>
          <p:cNvPr id="15" name="Text Placeholder 2">
            <a:extLst>
              <a:ext uri="{FF2B5EF4-FFF2-40B4-BE49-F238E27FC236}">
                <a16:creationId xmlns:a16="http://schemas.microsoft.com/office/drawing/2014/main" id="{E7E5487E-046B-12F4-5F50-B9A9DED92006}"/>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6A38A572-BE21-AD6C-05B0-796EB24BADA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endParaRPr lang="en-US"/>
          </a:p>
        </p:txBody>
      </p:sp>
      <p:sp>
        <p:nvSpPr>
          <p:cNvPr id="8" name="Text Placeholder 14">
            <a:extLst>
              <a:ext uri="{FF2B5EF4-FFF2-40B4-BE49-F238E27FC236}">
                <a16:creationId xmlns:a16="http://schemas.microsoft.com/office/drawing/2014/main" id="{F35B74AA-BE69-DAC7-7B0A-BE5264EC2C3C}"/>
              </a:ext>
            </a:extLst>
          </p:cNvPr>
          <p:cNvSpPr>
            <a:spLocks noGrp="1"/>
          </p:cNvSpPr>
          <p:nvPr>
            <p:ph type="body" sz="quarter" idx="13"/>
          </p:nvPr>
        </p:nvSpPr>
        <p:spPr>
          <a:xfrm>
            <a:off x="1534883" y="5012194"/>
            <a:ext cx="9144000" cy="184666"/>
          </a:xfrm>
          <a:prstGeom prst="rect">
            <a:avLst/>
          </a:prstGeom>
        </p:spPr>
        <p:txBody>
          <a:bodyPr/>
          <a:lstStyle>
            <a:lvl1pPr marL="0" indent="0" algn="ctr">
              <a:buNone/>
              <a:defRPr sz="1200">
                <a:solidFill>
                  <a:schemeClr val="tx1"/>
                </a:solidFill>
              </a:defRPr>
            </a:lvl1pPr>
          </a:lstStyle>
          <a:p>
            <a:pPr lvl="0"/>
            <a:endParaRPr lang="en-US"/>
          </a:p>
        </p:txBody>
      </p:sp>
    </p:spTree>
    <p:extLst>
      <p:ext uri="{BB962C8B-B14F-4D97-AF65-F5344CB8AC3E}">
        <p14:creationId xmlns:p14="http://schemas.microsoft.com/office/powerpoint/2010/main" val="2762228997"/>
      </p:ext>
    </p:extLst>
  </p:cSld>
  <p:clrMapOvr>
    <a:masterClrMapping/>
  </p:clrMapOvr>
  <p:transition>
    <p:fade/>
  </p:transition>
  <p:extLst>
    <p:ext uri="{DCECCB84-F9BA-43D5-87BE-67443E8EF086}">
      <p15:sldGuideLst xmlns:p15="http://schemas.microsoft.com/office/powerpoint/2012/main">
        <p15:guide id="3" pos="368">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column_Text">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3">
            <a:extLst>
              <a:ext uri="{FF2B5EF4-FFF2-40B4-BE49-F238E27FC236}">
                <a16:creationId xmlns:a16="http://schemas.microsoft.com/office/drawing/2014/main" id="{2A76E6DB-43E3-9638-8EED-1A07351FE9B4}"/>
              </a:ext>
            </a:extLst>
          </p:cNvPr>
          <p:cNvSpPr>
            <a:spLocks noGrp="1"/>
          </p:cNvSpPr>
          <p:nvPr>
            <p:ph type="body" sz="quarter" idx="15"/>
          </p:nvPr>
        </p:nvSpPr>
        <p:spPr>
          <a:xfrm>
            <a:off x="586389" y="1614460"/>
            <a:ext cx="819302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922062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1008">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column_Text_with Subhead">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Text Placeholder 11">
            <a:extLst>
              <a:ext uri="{FF2B5EF4-FFF2-40B4-BE49-F238E27FC236}">
                <a16:creationId xmlns:a16="http://schemas.microsoft.com/office/drawing/2014/main" id="{0FD7F3A0-AE9E-F4D1-2FA8-3A1E9EA0E8B0}"/>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5" name="Text Placeholder 3">
            <a:extLst>
              <a:ext uri="{FF2B5EF4-FFF2-40B4-BE49-F238E27FC236}">
                <a16:creationId xmlns:a16="http://schemas.microsoft.com/office/drawing/2014/main" id="{9B285081-0F92-6C1C-3512-5B288A411FF8}"/>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556569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1008">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column_Text">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8E180A9F-A1A7-5DB6-E89E-76F228103C73}"/>
              </a:ext>
            </a:extLst>
          </p:cNvPr>
          <p:cNvSpPr>
            <a:spLocks noGrp="1"/>
          </p:cNvSpPr>
          <p:nvPr>
            <p:ph type="body" sz="quarter" idx="15" hasCustomPrompt="1"/>
          </p:nvPr>
        </p:nvSpPr>
        <p:spPr>
          <a:xfrm>
            <a:off x="586390" y="1591056"/>
            <a:ext cx="5365148"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736ED656-29AE-AA0B-2536-E6F40F331249}"/>
              </a:ext>
            </a:extLst>
          </p:cNvPr>
          <p:cNvSpPr>
            <a:spLocks noGrp="1"/>
          </p:cNvSpPr>
          <p:nvPr>
            <p:ph type="body" sz="quarter" idx="18" hasCustomPrompt="1"/>
          </p:nvPr>
        </p:nvSpPr>
        <p:spPr>
          <a:xfrm>
            <a:off x="6242050" y="1591310"/>
            <a:ext cx="5365148"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148150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08">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2" name="Text Placeholder 11">
            <a:extLst>
              <a:ext uri="{FF2B5EF4-FFF2-40B4-BE49-F238E27FC236}">
                <a16:creationId xmlns:a16="http://schemas.microsoft.com/office/drawing/2014/main" id="{A151F6C3-4C86-9BE0-3EF1-2A7F45C255BA}"/>
              </a:ext>
            </a:extLst>
          </p:cNvPr>
          <p:cNvSpPr>
            <a:spLocks noGrp="1"/>
          </p:cNvSpPr>
          <p:nvPr>
            <p:ph type="body" sz="quarter" idx="16"/>
          </p:nvPr>
        </p:nvSpPr>
        <p:spPr>
          <a:xfrm>
            <a:off x="58420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5" name="Text Placeholder 11">
            <a:extLst>
              <a:ext uri="{FF2B5EF4-FFF2-40B4-BE49-F238E27FC236}">
                <a16:creationId xmlns:a16="http://schemas.microsoft.com/office/drawing/2014/main" id="{115C830D-6AE0-FCBB-3BB9-EFF53999C9A1}"/>
              </a:ext>
            </a:extLst>
          </p:cNvPr>
          <p:cNvSpPr>
            <a:spLocks noGrp="1"/>
          </p:cNvSpPr>
          <p:nvPr>
            <p:ph type="body" sz="quarter" idx="19"/>
          </p:nvPr>
        </p:nvSpPr>
        <p:spPr>
          <a:xfrm>
            <a:off x="624422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CCAD7EC1-C7F9-87F1-55C3-BD621FEC89CF}"/>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3">
            <a:extLst>
              <a:ext uri="{FF2B5EF4-FFF2-40B4-BE49-F238E27FC236}">
                <a16:creationId xmlns:a16="http://schemas.microsoft.com/office/drawing/2014/main" id="{941FF17A-50FC-D446-28DE-E297FDBEBBCC}"/>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38679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78931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column_Text">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4" name="Text Placeholder 3">
            <a:extLst>
              <a:ext uri="{FF2B5EF4-FFF2-40B4-BE49-F238E27FC236}">
                <a16:creationId xmlns:a16="http://schemas.microsoft.com/office/drawing/2014/main" id="{908EA551-F10A-E84D-1885-84662B8E64D6}"/>
              </a:ext>
            </a:extLst>
          </p:cNvPr>
          <p:cNvSpPr>
            <a:spLocks noGrp="1"/>
          </p:cNvSpPr>
          <p:nvPr>
            <p:ph type="body" sz="quarter" idx="15"/>
          </p:nvPr>
        </p:nvSpPr>
        <p:spPr>
          <a:xfrm>
            <a:off x="586390"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A9AE509D-953D-DAFE-1CFA-CA884266E52F}"/>
              </a:ext>
            </a:extLst>
          </p:cNvPr>
          <p:cNvSpPr>
            <a:spLocks noGrp="1"/>
          </p:cNvSpPr>
          <p:nvPr>
            <p:ph type="body" sz="quarter" idx="23"/>
          </p:nvPr>
        </p:nvSpPr>
        <p:spPr>
          <a:xfrm>
            <a:off x="4359737"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8" name="Text Placeholder 3">
            <a:extLst>
              <a:ext uri="{FF2B5EF4-FFF2-40B4-BE49-F238E27FC236}">
                <a16:creationId xmlns:a16="http://schemas.microsoft.com/office/drawing/2014/main" id="{A859BF26-94A7-DE29-683E-3FF26324EB33}"/>
              </a:ext>
            </a:extLst>
          </p:cNvPr>
          <p:cNvSpPr>
            <a:spLocks noGrp="1"/>
          </p:cNvSpPr>
          <p:nvPr>
            <p:ph type="body" sz="quarter" idx="25"/>
          </p:nvPr>
        </p:nvSpPr>
        <p:spPr>
          <a:xfrm>
            <a:off x="8133084"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612428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3" name="Text Placeholder 11">
            <a:extLst>
              <a:ext uri="{FF2B5EF4-FFF2-40B4-BE49-F238E27FC236}">
                <a16:creationId xmlns:a16="http://schemas.microsoft.com/office/drawing/2014/main" id="{F5FC17DB-F369-FD60-F937-6D86368B55F8}"/>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908EA551-F10A-E84D-1885-84662B8E64D6}"/>
              </a:ext>
            </a:extLst>
          </p:cNvPr>
          <p:cNvSpPr>
            <a:spLocks noGrp="1"/>
          </p:cNvSpPr>
          <p:nvPr>
            <p:ph type="body" sz="quarter" idx="15"/>
          </p:nvPr>
        </p:nvSpPr>
        <p:spPr>
          <a:xfrm>
            <a:off x="586390"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5" name="Text Placeholder 11">
            <a:extLst>
              <a:ext uri="{FF2B5EF4-FFF2-40B4-BE49-F238E27FC236}">
                <a16:creationId xmlns:a16="http://schemas.microsoft.com/office/drawing/2014/main" id="{6C805E6F-C958-680B-B451-D60BC887347E}"/>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A9AE509D-953D-DAFE-1CFA-CA884266E52F}"/>
              </a:ext>
            </a:extLst>
          </p:cNvPr>
          <p:cNvSpPr>
            <a:spLocks noGrp="1"/>
          </p:cNvSpPr>
          <p:nvPr>
            <p:ph type="body" sz="quarter" idx="23"/>
          </p:nvPr>
        </p:nvSpPr>
        <p:spPr>
          <a:xfrm>
            <a:off x="4359737"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7" name="Text Placeholder 11">
            <a:extLst>
              <a:ext uri="{FF2B5EF4-FFF2-40B4-BE49-F238E27FC236}">
                <a16:creationId xmlns:a16="http://schemas.microsoft.com/office/drawing/2014/main" id="{3E1923A9-6862-5E39-000A-ADF4749943CF}"/>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A859BF26-94A7-DE29-683E-3FF26324EB33}"/>
              </a:ext>
            </a:extLst>
          </p:cNvPr>
          <p:cNvSpPr>
            <a:spLocks noGrp="1"/>
          </p:cNvSpPr>
          <p:nvPr>
            <p:ph type="body" sz="quarter" idx="25"/>
          </p:nvPr>
        </p:nvSpPr>
        <p:spPr>
          <a:xfrm>
            <a:off x="8133084"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039962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column_Text_with Image">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11">
            <a:extLst>
              <a:ext uri="{FF2B5EF4-FFF2-40B4-BE49-F238E27FC236}">
                <a16:creationId xmlns:a16="http://schemas.microsoft.com/office/drawing/2014/main" id="{4CE33728-F33A-8A85-4F59-E95CD991BB12}"/>
              </a:ext>
            </a:extLst>
          </p:cNvPr>
          <p:cNvSpPr>
            <a:spLocks noGrp="1"/>
          </p:cNvSpPr>
          <p:nvPr>
            <p:ph type="body" sz="quarter" idx="17"/>
          </p:nvPr>
        </p:nvSpPr>
        <p:spPr>
          <a:xfrm>
            <a:off x="584200" y="1594155"/>
            <a:ext cx="5269866"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D977E074-7BF3-AFBF-816A-6083687A21BC}"/>
              </a:ext>
            </a:extLst>
          </p:cNvPr>
          <p:cNvSpPr>
            <a:spLocks noGrp="1"/>
          </p:cNvSpPr>
          <p:nvPr>
            <p:ph type="body" sz="quarter" idx="15"/>
          </p:nvPr>
        </p:nvSpPr>
        <p:spPr>
          <a:xfrm>
            <a:off x="586390" y="2085764"/>
            <a:ext cx="5267655"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38839F2-C52C-C4AA-6F99-D918ABEA1233}"/>
              </a:ext>
            </a:extLst>
          </p:cNvPr>
          <p:cNvSpPr>
            <a:spLocks noGrp="1"/>
          </p:cNvSpPr>
          <p:nvPr>
            <p:ph type="pic" sz="quarter" idx="19" hasCustomPrompt="1"/>
          </p:nvPr>
        </p:nvSpPr>
        <p:spPr bwMode="ltGray">
          <a:xfrm>
            <a:off x="6096000" y="0"/>
            <a:ext cx="6892925"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20547411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08">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column_Text_with Image">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2A048E08-9484-4B49-59F4-E69B6910CB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10634B71-425C-AD5B-E93D-36901FD6392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2" name="Text Placeholder 11">
            <a:extLst>
              <a:ext uri="{FF2B5EF4-FFF2-40B4-BE49-F238E27FC236}">
                <a16:creationId xmlns:a16="http://schemas.microsoft.com/office/drawing/2014/main" id="{0480DC35-6D2B-3C04-ADAC-CA31374AD6C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0549035B-2CE7-2B6F-FC18-05B7AAD0608E}"/>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9A138B69-6378-4265-3E29-E8A0FAC055A8}"/>
              </a:ext>
            </a:extLst>
          </p:cNvPr>
          <p:cNvSpPr>
            <a:spLocks noGrp="1"/>
          </p:cNvSpPr>
          <p:nvPr>
            <p:ph type="pic" sz="quarter" idx="19" hasCustomPrompt="1"/>
          </p:nvPr>
        </p:nvSpPr>
        <p:spPr bwMode="ltGray">
          <a:xfrm>
            <a:off x="8074152"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4003406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photos_with Caption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C18FEBA7-9547-B47A-AC0B-1B507B9D0F6A}"/>
              </a:ext>
            </a:extLst>
          </p:cNvPr>
          <p:cNvSpPr>
            <a:spLocks noGrp="1"/>
          </p:cNvSpPr>
          <p:nvPr>
            <p:ph type="pic" sz="quarter" idx="19" hasCustomPrompt="1"/>
          </p:nvPr>
        </p:nvSpPr>
        <p:spPr bwMode="ltGray">
          <a:xfrm>
            <a:off x="584200" y="1591310"/>
            <a:ext cx="5365752"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5" name="Text Placeholder 11">
            <a:extLst>
              <a:ext uri="{FF2B5EF4-FFF2-40B4-BE49-F238E27FC236}">
                <a16:creationId xmlns:a16="http://schemas.microsoft.com/office/drawing/2014/main" id="{D497F6CD-19FA-ACAE-FB83-28330FA3C8FA}"/>
              </a:ext>
            </a:extLst>
          </p:cNvPr>
          <p:cNvSpPr>
            <a:spLocks noGrp="1"/>
          </p:cNvSpPr>
          <p:nvPr>
            <p:ph type="body" sz="quarter" idx="16"/>
          </p:nvPr>
        </p:nvSpPr>
        <p:spPr>
          <a:xfrm>
            <a:off x="584199" y="4575104"/>
            <a:ext cx="5364429" cy="184666"/>
          </a:xfrm>
          <a:prstGeom prst="rect">
            <a:avLst/>
          </a:prstGeom>
        </p:spPr>
        <p:txBody>
          <a:bodyPr anchor="t"/>
          <a:lstStyle>
            <a:lvl1pPr marL="0" indent="0">
              <a:spcBef>
                <a:spcPts val="0"/>
              </a:spcBef>
              <a:spcAft>
                <a:spcPts val="0"/>
              </a:spcAft>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A695C2F5-3147-3A26-A25D-F87321E20D95}"/>
              </a:ext>
            </a:extLst>
          </p:cNvPr>
          <p:cNvSpPr>
            <a:spLocks noGrp="1"/>
          </p:cNvSpPr>
          <p:nvPr>
            <p:ph type="body" sz="quarter" idx="15"/>
          </p:nvPr>
        </p:nvSpPr>
        <p:spPr>
          <a:xfrm>
            <a:off x="586390" y="4976443"/>
            <a:ext cx="5362178" cy="153888"/>
          </a:xfrm>
          <a:prstGeom prst="rect">
            <a:avLst/>
          </a:prstGeom>
        </p:spPr>
        <p:txBody>
          <a:bodyPr wrap="square">
            <a:spAutoFit/>
          </a:bodyPr>
          <a:lstStyle>
            <a:lvl1pPr marL="0" indent="0">
              <a:spcAft>
                <a:spcPts val="0"/>
              </a:spcAft>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A44C7803-8AA6-2FFC-B7E1-B37E6FDB6D88}"/>
              </a:ext>
            </a:extLst>
          </p:cNvPr>
          <p:cNvSpPr>
            <a:spLocks noGrp="1"/>
          </p:cNvSpPr>
          <p:nvPr>
            <p:ph type="pic" sz="quarter" idx="20" hasCustomPrompt="1"/>
          </p:nvPr>
        </p:nvSpPr>
        <p:spPr bwMode="ltGray">
          <a:xfrm>
            <a:off x="6242049" y="1591310"/>
            <a:ext cx="5357813"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2" name="Text Placeholder 11">
            <a:extLst>
              <a:ext uri="{FF2B5EF4-FFF2-40B4-BE49-F238E27FC236}">
                <a16:creationId xmlns:a16="http://schemas.microsoft.com/office/drawing/2014/main" id="{6A5A11E0-202D-5EFF-D35F-04E19FA1C6DA}"/>
              </a:ext>
            </a:extLst>
          </p:cNvPr>
          <p:cNvSpPr>
            <a:spLocks noGrp="1"/>
          </p:cNvSpPr>
          <p:nvPr>
            <p:ph type="body" sz="quarter" idx="22"/>
          </p:nvPr>
        </p:nvSpPr>
        <p:spPr>
          <a:xfrm>
            <a:off x="6243372" y="4575104"/>
            <a:ext cx="5356490" cy="184666"/>
          </a:xfrm>
          <a:prstGeom prst="rect">
            <a:avLst/>
          </a:prstGeom>
        </p:spPr>
        <p:txBody>
          <a:bodyPr anchor="t"/>
          <a:lstStyle>
            <a:lvl1pPr marL="0" indent="0">
              <a:spcBef>
                <a:spcPts val="0"/>
              </a:spcBef>
              <a:spcAft>
                <a:spcPts val="0"/>
              </a:spcAft>
              <a:buNone/>
              <a:defRPr sz="1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138DB0D6-B721-F4FA-3F65-792A7C512C87}"/>
              </a:ext>
            </a:extLst>
          </p:cNvPr>
          <p:cNvSpPr>
            <a:spLocks noGrp="1"/>
          </p:cNvSpPr>
          <p:nvPr>
            <p:ph type="body" sz="quarter" idx="33"/>
          </p:nvPr>
        </p:nvSpPr>
        <p:spPr>
          <a:xfrm>
            <a:off x="6252435" y="4976442"/>
            <a:ext cx="5357598" cy="153888"/>
          </a:xfrm>
          <a:prstGeom prst="rect">
            <a:avLst/>
          </a:prstGeom>
        </p:spPr>
        <p:txBody>
          <a:bodyPr wrap="square">
            <a:spAutoFit/>
          </a:bodyPr>
          <a:lstStyle>
            <a:lvl1pPr marL="0" indent="0">
              <a:spcAft>
                <a:spcPts val="0"/>
              </a:spcAft>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89816733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 photos_with Caption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27A95E-0357-5914-7010-1D2F6BA4EA61}"/>
              </a:ext>
            </a:extLst>
          </p:cNvPr>
          <p:cNvSpPr>
            <a:spLocks noGrp="1"/>
          </p:cNvSpPr>
          <p:nvPr>
            <p:ph type="pic" sz="quarter" idx="19" hasCustomPrompt="1"/>
          </p:nvPr>
        </p:nvSpPr>
        <p:spPr bwMode="ltGray">
          <a:xfrm>
            <a:off x="584200" y="1591310"/>
            <a:ext cx="3481388"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7" name="Text Placeholder 11">
            <a:extLst>
              <a:ext uri="{FF2B5EF4-FFF2-40B4-BE49-F238E27FC236}">
                <a16:creationId xmlns:a16="http://schemas.microsoft.com/office/drawing/2014/main" id="{60D57D22-3C15-2296-2295-B8638F485972}"/>
              </a:ext>
            </a:extLst>
          </p:cNvPr>
          <p:cNvSpPr>
            <a:spLocks noGrp="1"/>
          </p:cNvSpPr>
          <p:nvPr>
            <p:ph type="body" sz="quarter" idx="16"/>
          </p:nvPr>
        </p:nvSpPr>
        <p:spPr>
          <a:xfrm>
            <a:off x="584200" y="4575104"/>
            <a:ext cx="347907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E0C755E6-CA31-B10A-A01A-4CC68A1CF00F}"/>
              </a:ext>
            </a:extLst>
          </p:cNvPr>
          <p:cNvSpPr>
            <a:spLocks noGrp="1"/>
          </p:cNvSpPr>
          <p:nvPr>
            <p:ph type="body" sz="quarter" idx="15"/>
          </p:nvPr>
        </p:nvSpPr>
        <p:spPr>
          <a:xfrm>
            <a:off x="586390" y="4976443"/>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B64328BC-3456-8864-B2DC-59ACD6C43A9F}"/>
              </a:ext>
            </a:extLst>
          </p:cNvPr>
          <p:cNvSpPr>
            <a:spLocks noGrp="1"/>
          </p:cNvSpPr>
          <p:nvPr>
            <p:ph type="pic" sz="quarter" idx="20" hasCustomPrompt="1"/>
          </p:nvPr>
        </p:nvSpPr>
        <p:spPr bwMode="ltGray">
          <a:xfrm>
            <a:off x="4353560" y="1591310"/>
            <a:ext cx="3481388"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5" name="Text Placeholder 11">
            <a:extLst>
              <a:ext uri="{FF2B5EF4-FFF2-40B4-BE49-F238E27FC236}">
                <a16:creationId xmlns:a16="http://schemas.microsoft.com/office/drawing/2014/main" id="{7C6B95DC-E74B-5F90-37A2-A23E19F747E7}"/>
              </a:ext>
            </a:extLst>
          </p:cNvPr>
          <p:cNvSpPr>
            <a:spLocks noGrp="1"/>
          </p:cNvSpPr>
          <p:nvPr>
            <p:ph type="body" sz="quarter" idx="22"/>
          </p:nvPr>
        </p:nvSpPr>
        <p:spPr>
          <a:xfrm>
            <a:off x="4374792" y="4575104"/>
            <a:ext cx="347689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7" name="Text Placeholder 3">
            <a:extLst>
              <a:ext uri="{FF2B5EF4-FFF2-40B4-BE49-F238E27FC236}">
                <a16:creationId xmlns:a16="http://schemas.microsoft.com/office/drawing/2014/main" id="{D57AA38E-9101-D52F-C80E-7EE9B4310E73}"/>
              </a:ext>
            </a:extLst>
          </p:cNvPr>
          <p:cNvSpPr>
            <a:spLocks noGrp="1"/>
          </p:cNvSpPr>
          <p:nvPr>
            <p:ph type="body" sz="quarter" idx="33"/>
          </p:nvPr>
        </p:nvSpPr>
        <p:spPr>
          <a:xfrm>
            <a:off x="4383855" y="4976442"/>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21502E7B-F7B3-F184-CB49-466883FF4339}"/>
              </a:ext>
            </a:extLst>
          </p:cNvPr>
          <p:cNvSpPr>
            <a:spLocks noGrp="1"/>
          </p:cNvSpPr>
          <p:nvPr>
            <p:ph type="pic" sz="quarter" idx="21" hasCustomPrompt="1"/>
          </p:nvPr>
        </p:nvSpPr>
        <p:spPr bwMode="ltGray">
          <a:xfrm>
            <a:off x="8128000" y="1591309"/>
            <a:ext cx="3486092" cy="2684159"/>
          </a:xfrm>
          <a:prstGeom prst="rect">
            <a:avLst/>
          </a:prstGeom>
          <a:solidFill>
            <a:srgbClr val="D9D9D6"/>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6" name="Text Placeholder 11">
            <a:extLst>
              <a:ext uri="{FF2B5EF4-FFF2-40B4-BE49-F238E27FC236}">
                <a16:creationId xmlns:a16="http://schemas.microsoft.com/office/drawing/2014/main" id="{53CB91D2-DE94-3F1C-512B-574096C683E1}"/>
              </a:ext>
            </a:extLst>
          </p:cNvPr>
          <p:cNvSpPr>
            <a:spLocks noGrp="1"/>
          </p:cNvSpPr>
          <p:nvPr>
            <p:ph type="body" sz="quarter" idx="24"/>
          </p:nvPr>
        </p:nvSpPr>
        <p:spPr>
          <a:xfrm>
            <a:off x="8133626" y="4571913"/>
            <a:ext cx="3485371" cy="187857"/>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D2D1C074-4292-FC4F-0123-4B005665DC46}"/>
              </a:ext>
            </a:extLst>
          </p:cNvPr>
          <p:cNvSpPr>
            <a:spLocks noGrp="1"/>
          </p:cNvSpPr>
          <p:nvPr>
            <p:ph type="body" sz="quarter" idx="34"/>
          </p:nvPr>
        </p:nvSpPr>
        <p:spPr>
          <a:xfrm>
            <a:off x="8128000" y="4973784"/>
            <a:ext cx="3486092" cy="156547"/>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47859294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 photos_with Caption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C9AF824D-A137-44B4-E2CA-E6A4F7D7E2E7}"/>
              </a:ext>
            </a:extLst>
          </p:cNvPr>
          <p:cNvSpPr>
            <a:spLocks noGrp="1"/>
          </p:cNvSpPr>
          <p:nvPr>
            <p:ph type="pic" sz="quarter" idx="19"/>
          </p:nvPr>
        </p:nvSpPr>
        <p:spPr bwMode="ltGray">
          <a:xfrm>
            <a:off x="5842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5" name="Text Placeholder 11">
            <a:extLst>
              <a:ext uri="{FF2B5EF4-FFF2-40B4-BE49-F238E27FC236}">
                <a16:creationId xmlns:a16="http://schemas.microsoft.com/office/drawing/2014/main" id="{97137254-091E-FE51-D704-301D86D6DADB}"/>
              </a:ext>
            </a:extLst>
          </p:cNvPr>
          <p:cNvSpPr>
            <a:spLocks noGrp="1"/>
          </p:cNvSpPr>
          <p:nvPr>
            <p:ph type="body" sz="quarter" idx="16"/>
          </p:nvPr>
        </p:nvSpPr>
        <p:spPr>
          <a:xfrm>
            <a:off x="584200" y="4575104"/>
            <a:ext cx="253569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C985BDC9-D8AE-C203-7E02-1E71BAF2A6A8}"/>
              </a:ext>
            </a:extLst>
          </p:cNvPr>
          <p:cNvSpPr>
            <a:spLocks noGrp="1"/>
          </p:cNvSpPr>
          <p:nvPr>
            <p:ph type="body" sz="quarter" idx="15"/>
          </p:nvPr>
        </p:nvSpPr>
        <p:spPr>
          <a:xfrm>
            <a:off x="586390"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9072C48-B616-E414-86D7-6789DB4F2DD8}"/>
              </a:ext>
            </a:extLst>
          </p:cNvPr>
          <p:cNvSpPr>
            <a:spLocks noGrp="1"/>
          </p:cNvSpPr>
          <p:nvPr>
            <p:ph type="pic" sz="quarter" idx="29"/>
          </p:nvPr>
        </p:nvSpPr>
        <p:spPr bwMode="ltGray">
          <a:xfrm>
            <a:off x="34290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7" name="Text Placeholder 11">
            <a:extLst>
              <a:ext uri="{FF2B5EF4-FFF2-40B4-BE49-F238E27FC236}">
                <a16:creationId xmlns:a16="http://schemas.microsoft.com/office/drawing/2014/main" id="{107FA330-6530-342C-C20F-CA6643C71710}"/>
              </a:ext>
            </a:extLst>
          </p:cNvPr>
          <p:cNvSpPr>
            <a:spLocks noGrp="1"/>
          </p:cNvSpPr>
          <p:nvPr>
            <p:ph type="body" sz="quarter" idx="22"/>
          </p:nvPr>
        </p:nvSpPr>
        <p:spPr>
          <a:xfrm>
            <a:off x="3413125"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998D5136-EE55-6531-677C-D23BB9CCE338}"/>
              </a:ext>
            </a:extLst>
          </p:cNvPr>
          <p:cNvSpPr>
            <a:spLocks noGrp="1"/>
          </p:cNvSpPr>
          <p:nvPr>
            <p:ph type="body" sz="quarter" idx="33"/>
          </p:nvPr>
        </p:nvSpPr>
        <p:spPr>
          <a:xfrm>
            <a:off x="342218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DBE19309-8E58-3C03-D4B2-B2C22E93661C}"/>
              </a:ext>
            </a:extLst>
          </p:cNvPr>
          <p:cNvSpPr>
            <a:spLocks noGrp="1"/>
          </p:cNvSpPr>
          <p:nvPr>
            <p:ph type="pic" sz="quarter" idx="30"/>
          </p:nvPr>
        </p:nvSpPr>
        <p:spPr bwMode="ltGray">
          <a:xfrm>
            <a:off x="62484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8" name="Text Placeholder 11">
            <a:extLst>
              <a:ext uri="{FF2B5EF4-FFF2-40B4-BE49-F238E27FC236}">
                <a16:creationId xmlns:a16="http://schemas.microsoft.com/office/drawing/2014/main" id="{36583377-B32F-BF0C-0B94-FB474E44B5F9}"/>
              </a:ext>
            </a:extLst>
          </p:cNvPr>
          <p:cNvSpPr>
            <a:spLocks noGrp="1"/>
          </p:cNvSpPr>
          <p:nvPr>
            <p:ph type="body" sz="quarter" idx="24"/>
          </p:nvPr>
        </p:nvSpPr>
        <p:spPr>
          <a:xfrm>
            <a:off x="6240462"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25A66176-D93F-5509-F3FE-5C6810544D65}"/>
              </a:ext>
            </a:extLst>
          </p:cNvPr>
          <p:cNvSpPr>
            <a:spLocks noGrp="1"/>
          </p:cNvSpPr>
          <p:nvPr>
            <p:ph type="body" sz="quarter" idx="34"/>
          </p:nvPr>
        </p:nvSpPr>
        <p:spPr>
          <a:xfrm>
            <a:off x="6234836"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748FB811-5504-83F6-4CE0-40207C2062E0}"/>
              </a:ext>
            </a:extLst>
          </p:cNvPr>
          <p:cNvSpPr>
            <a:spLocks noGrp="1"/>
          </p:cNvSpPr>
          <p:nvPr>
            <p:ph type="pic" sz="quarter" idx="31"/>
          </p:nvPr>
        </p:nvSpPr>
        <p:spPr bwMode="ltGray">
          <a:xfrm>
            <a:off x="90678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9" name="Text Placeholder 11">
            <a:extLst>
              <a:ext uri="{FF2B5EF4-FFF2-40B4-BE49-F238E27FC236}">
                <a16:creationId xmlns:a16="http://schemas.microsoft.com/office/drawing/2014/main" id="{8BBF0BEC-1EF1-BA9A-4754-6AD84751C66A}"/>
              </a:ext>
            </a:extLst>
          </p:cNvPr>
          <p:cNvSpPr>
            <a:spLocks noGrp="1"/>
          </p:cNvSpPr>
          <p:nvPr>
            <p:ph type="body" sz="quarter" idx="26"/>
          </p:nvPr>
        </p:nvSpPr>
        <p:spPr>
          <a:xfrm>
            <a:off x="9076259"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9870FDAC-6F46-BD55-69F2-4B133ADFC6E8}"/>
              </a:ext>
            </a:extLst>
          </p:cNvPr>
          <p:cNvSpPr>
            <a:spLocks noGrp="1"/>
          </p:cNvSpPr>
          <p:nvPr>
            <p:ph type="body" sz="quarter" idx="35"/>
          </p:nvPr>
        </p:nvSpPr>
        <p:spPr>
          <a:xfrm>
            <a:off x="908220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64471154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_with Head">
    <p:bg>
      <p:bgPr>
        <a:solidFill>
          <a:srgbClr val="0978D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4757039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0978D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3">
            <a:extLst>
              <a:ext uri="{FF2B5EF4-FFF2-40B4-BE49-F238E27FC236}">
                <a16:creationId xmlns:a16="http://schemas.microsoft.com/office/drawing/2014/main" id="{F6CCD566-E45F-E226-9116-256A957FAABA}"/>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0"/>
            <a:endParaRPr lang="en-US"/>
          </a:p>
        </p:txBody>
      </p:sp>
      <p:sp>
        <p:nvSpPr>
          <p:cNvPr id="9" name="Text Placeholder 3">
            <a:extLst>
              <a:ext uri="{FF2B5EF4-FFF2-40B4-BE49-F238E27FC236}">
                <a16:creationId xmlns:a16="http://schemas.microsoft.com/office/drawing/2014/main" id="{C50B58E6-91E5-6853-3DEB-352D0E392679}"/>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p:txBody>
      </p:sp>
      <p:sp>
        <p:nvSpPr>
          <p:cNvPr id="10" name="Text Placeholder 3">
            <a:extLst>
              <a:ext uri="{FF2B5EF4-FFF2-40B4-BE49-F238E27FC236}">
                <a16:creationId xmlns:a16="http://schemas.microsoft.com/office/drawing/2014/main" id="{99CAD011-DB85-3385-A70F-737C4753C63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0"/>
            <a:endParaRPr lang="en-US"/>
          </a:p>
        </p:txBody>
      </p:sp>
      <p:sp>
        <p:nvSpPr>
          <p:cNvPr id="11" name="Text Placeholder 3">
            <a:extLst>
              <a:ext uri="{FF2B5EF4-FFF2-40B4-BE49-F238E27FC236}">
                <a16:creationId xmlns:a16="http://schemas.microsoft.com/office/drawing/2014/main" id="{A9D99E4D-B4BB-FECE-37BB-2C1BF989CAC9}"/>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p:txBody>
      </p:sp>
    </p:spTree>
    <p:extLst>
      <p:ext uri="{BB962C8B-B14F-4D97-AF65-F5344CB8AC3E}">
        <p14:creationId xmlns:p14="http://schemas.microsoft.com/office/powerpoint/2010/main" val="134576646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0978D4"/>
        </a:solidFill>
        <a:effectLst/>
      </p:bgPr>
    </p:bg>
    <p:spTree>
      <p:nvGrpSpPr>
        <p:cNvPr id="1" name=""/>
        <p:cNvGrpSpPr/>
        <p:nvPr/>
      </p:nvGrpSpPr>
      <p:grpSpPr>
        <a:xfrm>
          <a:off x="0" y="0"/>
          <a:ext cx="0" cy="0"/>
          <a:chOff x="0" y="0"/>
          <a:chExt cx="0" cy="0"/>
        </a:xfrm>
      </p:grpSpPr>
      <p:pic>
        <p:nvPicPr>
          <p:cNvPr id="4" name="MS logo white - EMF" hidden="1">
            <a:extLst>
              <a:ext uri="{FF2B5EF4-FFF2-40B4-BE49-F238E27FC236}">
                <a16:creationId xmlns:a16="http://schemas.microsoft.com/office/drawing/2014/main" id="{37E26AFE-DE6D-4BB8-BFA8-71844F8CF0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5323CAF5-239D-4BFD-FD54-42467A84A72B}"/>
              </a:ext>
            </a:extLst>
          </p:cNvPr>
          <p:cNvPicPr>
            <a:picLocks noChangeAspect="1"/>
          </p:cNvPicPr>
          <p:nvPr userDrawn="1"/>
        </p:nvPicPr>
        <p:blipFill>
          <a:blip r:embed="rId3">
            <a:biLevel thresh="25000"/>
          </a:blip>
          <a:srcRect/>
          <a:stretch/>
        </p:blipFill>
        <p:spPr>
          <a:xfrm>
            <a:off x="296751" y="296800"/>
            <a:ext cx="1939719" cy="869398"/>
          </a:xfrm>
          <a:prstGeom prst="rect">
            <a:avLst/>
          </a:prstGeom>
        </p:spPr>
      </p:pic>
      <p:sp>
        <p:nvSpPr>
          <p:cNvPr id="5" name="Text Box 3" hidden="1"/>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rgbClr val="FFFFFF"/>
                </a:solidFill>
                <a:cs typeface="Segoe UI" pitchFamily="34" charset="0"/>
              </a:rPr>
              <a:t>© Copyright Microsoft Corporation. All rights reserved. </a:t>
            </a:r>
          </a:p>
        </p:txBody>
      </p:sp>
      <p:sp>
        <p:nvSpPr>
          <p:cNvPr id="2" name="Title 1">
            <a:extLst>
              <a:ext uri="{FF2B5EF4-FFF2-40B4-BE49-F238E27FC236}">
                <a16:creationId xmlns:a16="http://schemas.microsoft.com/office/drawing/2014/main" id="{FB5CDB97-C98E-1E29-E646-7E1E2152341A}"/>
              </a:ext>
            </a:extLst>
          </p:cNvPr>
          <p:cNvSpPr>
            <a:spLocks noGrp="1"/>
          </p:cNvSpPr>
          <p:nvPr>
            <p:ph type="title" hasCustomPrompt="1"/>
          </p:nvPr>
        </p:nvSpPr>
        <p:spPr>
          <a:xfrm>
            <a:off x="588262" y="-326827"/>
            <a:ext cx="4416552" cy="307777"/>
          </a:xfrm>
        </p:spPr>
        <p:txBody>
          <a:bodyPr/>
          <a:lstStyle>
            <a:lvl1pPr>
              <a:defRPr sz="2000" b="0" i="0">
                <a:solidFill>
                  <a:schemeClr val="bg1"/>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53522811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16408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5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FC7D7B-0350-BA79-D462-EF61A11BD06F}"/>
              </a:ext>
            </a:extLst>
          </p:cNvPr>
          <p:cNvSpPr/>
          <p:nvPr userDrawn="1"/>
        </p:nvSpPr>
        <p:spPr>
          <a:xfrm>
            <a:off x="0" y="0"/>
            <a:ext cx="12192000" cy="1528762"/>
          </a:xfrm>
          <a:prstGeom prst="rect">
            <a:avLst/>
          </a:prstGeom>
          <a:solidFill>
            <a:srgbClr val="F5F3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F126F39-2D04-9779-8BAB-681B00E0EFF6}"/>
              </a:ext>
            </a:extLst>
          </p:cNvPr>
          <p:cNvSpPr txBox="1"/>
          <p:nvPr userDrawn="1"/>
        </p:nvSpPr>
        <p:spPr>
          <a:xfrm>
            <a:off x="214675" y="6434886"/>
            <a:ext cx="2892544" cy="176972"/>
          </a:xfrm>
          <a:prstGeom prst="rect">
            <a:avLst/>
          </a:prstGeom>
          <a:noFill/>
        </p:spPr>
        <p:txBody>
          <a:bodyPr wrap="square" rtlCol="0">
            <a:spAutoFit/>
          </a:bodyPr>
          <a:lstStyle/>
          <a:p>
            <a:r>
              <a:rPr lang="en-US" sz="550">
                <a:solidFill>
                  <a:srgbClr val="B1B3B3"/>
                </a:solidFill>
                <a:latin typeface="Segoe UI" panose="020B0502040204020203" pitchFamily="34" charset="0"/>
                <a:cs typeface="Segoe UI" panose="020B0502040204020203" pitchFamily="34" charset="0"/>
              </a:rPr>
              <a:t>Confidential: Do not distribute/duplicate</a:t>
            </a: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768E4512-7B44-9E46-DD68-C9AC1EA5C8D3}"/>
              </a:ext>
            </a:extLst>
          </p:cNvPr>
          <p:cNvPicPr>
            <a:picLocks noChangeAspect="1"/>
          </p:cNvPicPr>
          <p:nvPr userDrawn="1"/>
        </p:nvPicPr>
        <p:blipFill>
          <a:blip r:embed="rId2"/>
          <a:stretch>
            <a:fillRect/>
          </a:stretch>
        </p:blipFill>
        <p:spPr>
          <a:xfrm>
            <a:off x="10911840" y="6347512"/>
            <a:ext cx="971620" cy="207279"/>
          </a:xfrm>
          <a:prstGeom prst="rect">
            <a:avLst/>
          </a:prstGeom>
        </p:spPr>
      </p:pic>
    </p:spTree>
    <p:extLst>
      <p:ext uri="{BB962C8B-B14F-4D97-AF65-F5344CB8AC3E}">
        <p14:creationId xmlns:p14="http://schemas.microsoft.com/office/powerpoint/2010/main" val="34981153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1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a:extLst>
              <a:ext uri="{FF2B5EF4-FFF2-40B4-BE49-F238E27FC236}">
                <a16:creationId xmlns:a16="http://schemas.microsoft.com/office/drawing/2014/main" id="{E9D92374-2DCA-B63E-30A2-F9712B61012D}"/>
              </a:ext>
            </a:extLst>
          </p:cNvPr>
          <p:cNvPicPr>
            <a:picLocks noChangeAspect="1"/>
          </p:cNvPicPr>
          <p:nvPr userDrawn="1"/>
        </p:nvPicPr>
        <p:blipFill>
          <a:blip r:embed="rId4"/>
          <a:srcRect l="43021" t="3333"/>
          <a:stretch/>
        </p:blipFill>
        <p:spPr>
          <a:xfrm>
            <a:off x="6096000" y="1040610"/>
            <a:ext cx="6096000" cy="5817389"/>
          </a:xfrm>
          <a:prstGeom prst="rect">
            <a:avLst/>
          </a:prstGeom>
        </p:spPr>
      </p:pic>
    </p:spTree>
    <p:extLst>
      <p:ext uri="{BB962C8B-B14F-4D97-AF65-F5344CB8AC3E}">
        <p14:creationId xmlns:p14="http://schemas.microsoft.com/office/powerpoint/2010/main" val="955349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8" name="Picture 17" descr="A close up of a colorful object&#10;&#10;AI-generated content may be incorrect.">
            <a:extLst>
              <a:ext uri="{FF2B5EF4-FFF2-40B4-BE49-F238E27FC236}">
                <a16:creationId xmlns:a16="http://schemas.microsoft.com/office/drawing/2014/main" id="{71A858D6-B629-D40A-227D-D5482D0FBBAD}"/>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45208" r="22571"/>
          <a:stretch/>
        </p:blipFill>
        <p:spPr>
          <a:xfrm flipH="1">
            <a:off x="8263704" y="1"/>
            <a:ext cx="3928296" cy="6858000"/>
          </a:xfrm>
          <a:prstGeom prst="rect">
            <a:avLst/>
          </a:prstGeom>
        </p:spPr>
      </p:pic>
    </p:spTree>
    <p:extLst>
      <p:ext uri="{BB962C8B-B14F-4D97-AF65-F5344CB8AC3E}">
        <p14:creationId xmlns:p14="http://schemas.microsoft.com/office/powerpoint/2010/main" val="354231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3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49021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4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E80E06-15DE-DDB1-B4E4-52EEA260C719}"/>
              </a:ext>
            </a:extLst>
          </p:cNvPr>
          <p:cNvPicPr>
            <a:picLocks noChangeAspect="1"/>
          </p:cNvPicPr>
          <p:nvPr userDrawn="1"/>
        </p:nvPicPr>
        <p:blipFill rotWithShape="1">
          <a:blip r:embed="rId2"/>
          <a:srcRect t="273" b="273"/>
          <a:stretch/>
        </p:blipFill>
        <p:spPr>
          <a:xfrm>
            <a:off x="0" y="-1"/>
            <a:ext cx="12192000" cy="6858001"/>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08874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5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5A40D0-B5CF-0E8A-CFC7-1978F00B46A8}"/>
              </a:ext>
            </a:extLst>
          </p:cNvPr>
          <p:cNvPicPr>
            <a:picLocks noChangeAspect="1"/>
          </p:cNvPicPr>
          <p:nvPr userDrawn="1"/>
        </p:nvPicPr>
        <p:blipFill rotWithShape="1">
          <a:blip r:embed="rId2"/>
          <a:srcRect l="544" t="515" r="29"/>
          <a:stretch/>
        </p:blipFill>
        <p:spPr>
          <a:xfrm>
            <a:off x="0" y="0"/>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07347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6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806BF3-B7AC-803B-E086-77B486241445}"/>
              </a:ext>
            </a:extLst>
          </p:cNvPr>
          <p:cNvPicPr>
            <a:picLocks noChangeAspect="1"/>
          </p:cNvPicPr>
          <p:nvPr userDrawn="1"/>
        </p:nvPicPr>
        <p:blipFill rotWithShape="1">
          <a:blip r:embed="rId2"/>
          <a:srcRect l="278" r="278"/>
          <a:stretch/>
        </p:blipFill>
        <p:spPr>
          <a:xfrm>
            <a:off x="0" y="1"/>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90401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690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Only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774952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7736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Tree>
    <p:extLst>
      <p:ext uri="{BB962C8B-B14F-4D97-AF65-F5344CB8AC3E}">
        <p14:creationId xmlns:p14="http://schemas.microsoft.com/office/powerpoint/2010/main" val="2577531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3303421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our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251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023524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ve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t"/>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4119489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t"/>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38189843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ive text with icons and Titl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t"/>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0659341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4263455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674921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ep slide with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a:ln w="3175">
                <a:noFill/>
              </a:ln>
              <a:solidFill>
                <a:schemeClr val="bg1"/>
              </a:solidFill>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solidFill>
                <a:schemeClr val="tx1"/>
              </a:solidFill>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solidFill>
                <a:schemeClr val="tx1"/>
              </a:solidFill>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400" kern="0">
              <a:ln w="3175">
                <a:noFill/>
              </a:ln>
              <a:solidFill>
                <a:schemeClr val="bg1"/>
              </a:solidFill>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a:ln w="3175">
                <a:noFill/>
              </a:ln>
              <a:solidFill>
                <a:schemeClr val="bg1"/>
              </a:solidFill>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C6C6C5"/>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26861261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83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with fiv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flip="none" rotWithShape="1">
                  <a:gsLst>
                    <a:gs pos="100000">
                      <a:srgbClr val="C03BC4"/>
                    </a:gs>
                    <a:gs pos="28000">
                      <a:srgbClr val="0078D4"/>
                    </a:gs>
                  </a:gsLst>
                  <a:path path="circle">
                    <a:fillToRect r="100000" b="100000"/>
                  </a:path>
                  <a:tileRect l="-100000" t="-100000"/>
                </a:gradFill>
                <a:latin typeface="+mj-lt"/>
                <a:ea typeface="+mn-lt"/>
                <a:cs typeface="+mn-lt"/>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8612949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with 10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8298740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24892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713102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a:latin typeface="+mj-lt"/>
              <a:cs typeface="Segoe Sans Display Semibold" pitchFamily="2" charset="0"/>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2920553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a:latin typeface="+mj-lt"/>
              <a:cs typeface="Segoe Sans Display Semibold" pitchFamily="2" charset="0"/>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290648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meline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333609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741649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2000"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12093"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60686"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09279"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Tree>
    <p:extLst>
      <p:ext uri="{BB962C8B-B14F-4D97-AF65-F5344CB8AC3E}">
        <p14:creationId xmlns:p14="http://schemas.microsoft.com/office/powerpoint/2010/main" val="996920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771822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019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489496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28834829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28288802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our round photo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5460939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picture content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063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text conten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586647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Tree>
    <p:extLst>
      <p:ext uri="{BB962C8B-B14F-4D97-AF65-F5344CB8AC3E}">
        <p14:creationId xmlns:p14="http://schemas.microsoft.com/office/powerpoint/2010/main" val="11363596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otation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917688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divi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0"/>
            <a:ext cx="12192000" cy="6867092"/>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848703" cy="553998"/>
          </a:xfrm>
        </p:spPr>
        <p:txBody>
          <a:bodyPr/>
          <a:lstStyle/>
          <a:p>
            <a:r>
              <a:rPr lang="en-US"/>
              <a:t>Click to edit Master title style</a:t>
            </a:r>
          </a:p>
        </p:txBody>
      </p:sp>
    </p:spTree>
    <p:extLst>
      <p:ext uri="{BB962C8B-B14F-4D97-AF65-F5344CB8AC3E}">
        <p14:creationId xmlns:p14="http://schemas.microsoft.com/office/powerpoint/2010/main" val="18988251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Only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725132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1E37A-5F3E-624D-AA46-BA1C9E7A1F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02DEDF-B82C-985F-9B0B-21FE1AE11E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8759C1-57C8-4F37-2F40-67B5B0D79D5E}"/>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67DD7060-377E-4CFC-1A94-36576BBE3C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75E4B8-3C1C-FD9D-CC1C-77425A394A93}"/>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39797966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33853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Tree>
    <p:extLst>
      <p:ext uri="{BB962C8B-B14F-4D97-AF65-F5344CB8AC3E}">
        <p14:creationId xmlns:p14="http://schemas.microsoft.com/office/powerpoint/2010/main" val="1925431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 slide Green">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6C1E29E-F1D9-FCA5-24D4-093ED73FF16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2452705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our text with icons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B0E3C4-FFB5-BF1F-8BBB-DEA33F911F8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093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FBFE6-9B6C-384C-1110-1FD482EC161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1044989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ive text with icons Gree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AF41EA1-CA8E-3EA9-868E-CF928DE712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err="1">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5317669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632F53-282E-A1FB-6A76-B413AC7E8F0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2886554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ive text with icons and Title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97634E-AE70-A775-4400-6447F339F01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286993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36AAF1-5373-681E-B83D-6ED42A20C448}"/>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9003279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B0CDFB-B37F-F9A1-94A3-EFC3774268E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18336153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tep slide with plus sig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412CD6-A1EA-2EE8-D4F6-064CAD9BD0E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EBF7F5"/>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38729600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1736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with five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210B15-C095-6038-0952-7CFF21E62A2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784293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with 10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EABE4-838D-DEBC-5201-E654E124B82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863723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03BCA4-6E63-7B67-92F3-DBB194E8DD3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7140929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B02D0F-997A-A694-C582-E57C3564D89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712256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4A10B4-2894-B0C3-48F3-79A9138A9879}"/>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660815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523848-5AF0-F245-366D-1B846CA5B5F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2186541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meline slide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983F4-F8C8-9848-3E1C-01241791DE0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36831654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with four placeholder Gre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8C5E15-A5A9-2055-AD83-5D5792681C8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0050419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BD1F8-DDF4-D7F8-9099-CEB18D8226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1484688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46ED21-3A7E-222A-0732-B7B13D32DD5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23654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96580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Gree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BDE36D8-4738-10F6-009B-5D23922C11A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737034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479D640-296D-D010-B040-6C7311EB122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19651659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1280B97-7215-FBC1-20EB-3CA0CE7BD32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3397872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round photos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5CDDA7-1E29-D20D-05B5-6672D948FF5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433866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ree picture content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50B2B7-73E8-05B1-B24F-AF7C2FCD456A}"/>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622206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text content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A0579E-33AE-B59C-72EE-EB3B453EFDB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9066766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4C4D94-52FE-B3D5-25E9-F34756D10BE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2592036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ation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860348-7581-BB4E-0FE4-8BFB6F5FDEFA}"/>
              </a:ext>
            </a:extLst>
          </p:cNvPr>
          <p:cNvPicPr>
            <a:picLocks noChangeAspect="1"/>
          </p:cNvPicPr>
          <p:nvPr userDrawn="1"/>
        </p:nvPicPr>
        <p:blipFill>
          <a:blip r:embed="rId2"/>
          <a:stretch>
            <a:fillRect/>
          </a:stretch>
        </p:blipFill>
        <p:spPr>
          <a:xfrm>
            <a:off x="4152" y="0"/>
            <a:ext cx="12183695" cy="6858000"/>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852000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divi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DE6FDA-B7C6-B55C-2C25-D67CE4D73F6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6729031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5864288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44965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slide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Tree>
    <p:extLst>
      <p:ext uri="{BB962C8B-B14F-4D97-AF65-F5344CB8AC3E}">
        <p14:creationId xmlns:p14="http://schemas.microsoft.com/office/powerpoint/2010/main" val="1062834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genda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2A9ABA-0A5B-47CF-A9F3-A16B8737AF6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2463677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7A56C9-4983-987A-838C-1A87D34CC938}"/>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4954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2A4AD1-67CF-60C5-1B3B-C493B69896A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523392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ive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236FC4-9E1D-2755-6DAA-605D2B3F9F86}"/>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err="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9139189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35EA4-12C9-C346-E494-E0897818A1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CEE1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3452825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ive text with icons and Titl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B18928-9285-3D77-E77D-427463E925A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err="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6498630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1E7D21-6E25-1AC7-FA18-FF4D4D1D4EEC}"/>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430462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CA008-CD3C-C800-6ED2-63FAF8F3600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506878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tep slide with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5C0CAD-FCBC-7666-7E5B-D8C4B8B9AA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D4E5F1"/>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1995972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436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with fiv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F2BC79-102D-A689-479D-04975F1BD0A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4E5F1"/>
          </a:solidFill>
        </p:spPr>
        <p:txBody>
          <a:bodyPr wrap="square" lIns="91440" tIns="91440" rIns="91440" bIns="91440" rtlCol="0" anchor="ctr">
            <a:normAutofit fontScale="92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97000">
                      <a:srgbClr val="D1448B"/>
                    </a:gs>
                    <a:gs pos="0">
                      <a:srgbClr val="0A6BBA"/>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46271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with 10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86DC9-D6BC-E49B-E6EA-7FFDB2BDB1D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247958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4D8740-4202-F451-6117-BAE74779A842}"/>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95872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846782-B069-0CE2-5BB7-7060582C41D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4984920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0EF1A5-1A1E-4E75-D939-06364EF97DC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768912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26417D-6131-39EC-8B73-F9A03807BD7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091789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meline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4C4C2D-1D4E-7FF6-95F2-8A1045A5802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3449397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F0D56A-E97E-2CC0-94D6-7BD23AA6611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547666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BDB74A-3DCD-81D3-6C53-D1B3928A0F1F}"/>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24132281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74A3D8-E56B-CE21-C818-81C6EF34DF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36849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3982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5B6BF2-1AC4-28FB-25AB-0FD6123AEDE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2970029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47ECA5-E14B-BF21-7A04-86419E4AB6C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35815721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D67CE0-3BE9-59D5-8136-5F58AEEE516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1321272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our round photo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202E54-F1A3-730A-F486-F12AC1B2EDA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922785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hree picture content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AAA2D6-F6B1-F246-A1A5-46C7A04C558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3526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hree text conten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ABFA3F-16F3-4621-BEE9-3192FFFEC90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536208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9EB16F-4F03-3E08-6495-ACB5A816F72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38209329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ation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22662F-AABD-1B44-DDB8-3C872B438484}"/>
              </a:ext>
            </a:extLst>
          </p:cNvPr>
          <p:cNvPicPr>
            <a:picLocks noChangeAspect="1"/>
          </p:cNvPicPr>
          <p:nvPr userDrawn="1"/>
        </p:nvPicPr>
        <p:blipFill rotWithShape="1">
          <a:blip r:embed="rId2"/>
          <a:srcRect l="305" t="408"/>
          <a:stretch/>
        </p:blipFill>
        <p:spPr>
          <a:xfrm>
            <a:off x="-4153" y="-1"/>
            <a:ext cx="12192000" cy="685800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1984231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D57F-552B-8774-7188-13BA49CD2652}"/>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1377576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982739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38173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Tree>
    <p:extLst>
      <p:ext uri="{BB962C8B-B14F-4D97-AF65-F5344CB8AC3E}">
        <p14:creationId xmlns:p14="http://schemas.microsoft.com/office/powerpoint/2010/main" val="373855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slide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285EDB6-6BD9-803E-D877-8A4A53657AF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23646746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our text with icons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7BF12D-09EE-56E8-2400-01AFDD7304E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427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F7ED63-7025-40F7-4E5C-40BE912DCC1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529864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ive text with icons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2D0882C-5CF8-0E56-4DC9-F5DD7757825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556745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F700E3-0320-DD67-54AF-066AA9F81C4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AD5EA"/>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748123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ive text with icons and Title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B4AC02-BE64-0ECE-D86E-E22D4A12398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87503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FBE7D7-9AA1-6085-4974-C370757AC30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910325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DEFE94-BC05-F4F4-F640-0629A65047B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2288140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tep slide with plus sig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1D7EBB-CD71-E97E-FF26-F51EB544BA0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6583610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59912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with five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5BD4D-E72D-331A-6110-813B273C65B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011159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with 10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217FB6-A966-7D65-2279-5A8AC657B0F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5466704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127320-7005-0B8F-8D4A-2669F79808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436406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BA40F2-B1F3-C439-7B8B-D50CB0CBD16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0667901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6BC1D5-913C-4FD0-5A62-E921B14AB944}"/>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8485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81D38F-D92A-A83E-809E-9672E4C8BC2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9254509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meline slide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9A592D-1CB0-0EC4-7141-9E1533C1BDC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3917733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with four placeholder Pi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90AA4C-8F87-6D7A-C3AB-BE9AC8BDD84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780075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32F4E-5E6B-5CB3-C3E3-B002E8FF9DA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883545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4337A5-3D21-E367-7E3C-A0D0AB30D88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935842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2807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Pi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555DA12-5A11-9BB3-F11F-1938D2783E1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62026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2EE6A2-035E-FB5C-2CDE-67E1B78B624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3238317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B7F88-C383-D8A8-7DA3-EED89D7265B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4282920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Four round photos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95EDB8-1C69-3449-756A-ED3394EA690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723799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hree picture content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CB1F2F-0081-E551-92DB-B85F5119A7F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7985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ree text content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A6CF91-034A-CC9C-CB91-9D4530E37B9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298905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34BA8B-7206-F735-90C3-4FC73883D77C}"/>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3840430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ation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1D4809-6BBB-4638-54FA-E3ECFC08B784}"/>
              </a:ext>
            </a:extLst>
          </p:cNvPr>
          <p:cNvPicPr>
            <a:picLocks noChangeAspect="1"/>
          </p:cNvPicPr>
          <p:nvPr userDrawn="1"/>
        </p:nvPicPr>
        <p:blipFill>
          <a:blip r:embed="rId2"/>
          <a:stretch>
            <a:fillRect/>
          </a:stretch>
        </p:blipFill>
        <p:spPr>
          <a:xfrm>
            <a:off x="3912" y="4284"/>
            <a:ext cx="12184175" cy="684943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1280074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divi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D0D4FD-6287-E4D5-1378-53345974B3D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4134365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028397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60660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51910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33227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pic>
        <p:nvPicPr>
          <p:cNvPr id="3" name="MS logo gray - EMF" descr="Microsoft logo, gray text version">
            <a:extLst>
              <a:ext uri="{FF2B5EF4-FFF2-40B4-BE49-F238E27FC236}">
                <a16:creationId xmlns:a16="http://schemas.microsoft.com/office/drawing/2014/main" id="{337BFE3B-77C3-CD00-9747-05B13261263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DA16EE39-7901-99DE-ADC2-0A8683959A69}"/>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13091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93500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5085067"/>
      </p:ext>
    </p:extLst>
  </p:cSld>
  <p:clrMapOvr>
    <a:masterClrMapping/>
  </p:clrMapOvr>
  <p:transition>
    <p:fade/>
  </p:transition>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278612"/>
      </p:ext>
    </p:extLst>
  </p:cSld>
  <p:clrMapOvr>
    <a:masterClrMapping/>
  </p:clrMapOvr>
  <p:transition>
    <p:fade/>
  </p:transition>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493345"/>
      </p:ext>
    </p:extLst>
  </p:cSld>
  <p:clrMapOvr>
    <a:masterClrMapping/>
  </p:clrMapOvr>
  <p:transition>
    <p:fade/>
  </p:transition>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heme 1 Title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8264" y="850901"/>
            <a:ext cx="11018520" cy="553998"/>
          </a:xfrm>
        </p:spPr>
        <p:txBody>
          <a:bodyPr/>
          <a:lstStyle>
            <a:lvl1pPr algn="ctr">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2704489151"/>
      </p:ext>
    </p:extLst>
  </p:cSld>
  <p:clrMapOvr>
    <a:masterClrMapping/>
  </p:clrMapOvr>
  <p:transition>
    <p:fade/>
  </p:transition>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Slide 1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a:extLst>
              <a:ext uri="{FF2B5EF4-FFF2-40B4-BE49-F238E27FC236}">
                <a16:creationId xmlns:a16="http://schemas.microsoft.com/office/drawing/2014/main" id="{E9D92374-2DCA-B63E-30A2-F9712B61012D}"/>
              </a:ext>
            </a:extLst>
          </p:cNvPr>
          <p:cNvPicPr>
            <a:picLocks noChangeAspect="1"/>
          </p:cNvPicPr>
          <p:nvPr userDrawn="1"/>
        </p:nvPicPr>
        <p:blipFill>
          <a:blip r:embed="rId4"/>
          <a:srcRect l="43021" t="3333"/>
          <a:stretch/>
        </p:blipFill>
        <p:spPr>
          <a:xfrm>
            <a:off x="6096000" y="1040610"/>
            <a:ext cx="6096000" cy="5817389"/>
          </a:xfrm>
          <a:prstGeom prst="rect">
            <a:avLst/>
          </a:prstGeom>
        </p:spPr>
      </p:pic>
    </p:spTree>
    <p:extLst>
      <p:ext uri="{BB962C8B-B14F-4D97-AF65-F5344CB8AC3E}">
        <p14:creationId xmlns:p14="http://schemas.microsoft.com/office/powerpoint/2010/main" val="46886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8" name="Picture 17" descr="A close up of a colorful object&#10;&#10;AI-generated content may be incorrect.">
            <a:extLst>
              <a:ext uri="{FF2B5EF4-FFF2-40B4-BE49-F238E27FC236}">
                <a16:creationId xmlns:a16="http://schemas.microsoft.com/office/drawing/2014/main" id="{71A858D6-B629-D40A-227D-D5482D0FBBAD}"/>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45208" r="22571"/>
          <a:stretch/>
        </p:blipFill>
        <p:spPr>
          <a:xfrm flipH="1">
            <a:off x="8263704" y="1"/>
            <a:ext cx="3928296" cy="6858000"/>
          </a:xfrm>
          <a:prstGeom prst="rect">
            <a:avLst/>
          </a:prstGeom>
        </p:spPr>
      </p:pic>
    </p:spTree>
    <p:extLst>
      <p:ext uri="{BB962C8B-B14F-4D97-AF65-F5344CB8AC3E}">
        <p14:creationId xmlns:p14="http://schemas.microsoft.com/office/powerpoint/2010/main" val="3648775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1441A-291A-E41B-56E8-BC42480FC1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AD39E1-601C-AE91-41B2-2E95B15C6E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A856F4-3DB0-0547-A42C-1703642954CD}"/>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C94454FD-DD30-2CF7-3D21-2E2A0DA63A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0FF64E-D31A-1F18-C3DC-165094AF5633}"/>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21649327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068169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Slide 3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77287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Slide 4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E80E06-15DE-DDB1-B4E4-52EEA260C719}"/>
              </a:ext>
            </a:extLst>
          </p:cNvPr>
          <p:cNvPicPr>
            <a:picLocks noChangeAspect="1"/>
          </p:cNvPicPr>
          <p:nvPr userDrawn="1"/>
        </p:nvPicPr>
        <p:blipFill rotWithShape="1">
          <a:blip r:embed="rId2"/>
          <a:srcRect t="273" b="273"/>
          <a:stretch/>
        </p:blipFill>
        <p:spPr>
          <a:xfrm>
            <a:off x="0" y="-1"/>
            <a:ext cx="12192000" cy="6858001"/>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21050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Slide 5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5A40D0-B5CF-0E8A-CFC7-1978F00B46A8}"/>
              </a:ext>
            </a:extLst>
          </p:cNvPr>
          <p:cNvPicPr>
            <a:picLocks noChangeAspect="1"/>
          </p:cNvPicPr>
          <p:nvPr userDrawn="1"/>
        </p:nvPicPr>
        <p:blipFill rotWithShape="1">
          <a:blip r:embed="rId2"/>
          <a:srcRect l="544" t="515" r="29"/>
          <a:stretch/>
        </p:blipFill>
        <p:spPr>
          <a:xfrm>
            <a:off x="0" y="0"/>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4723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Slide 6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806BF3-B7AC-803B-E086-77B486241445}"/>
              </a:ext>
            </a:extLst>
          </p:cNvPr>
          <p:cNvPicPr>
            <a:picLocks noChangeAspect="1"/>
          </p:cNvPicPr>
          <p:nvPr userDrawn="1"/>
        </p:nvPicPr>
        <p:blipFill rotWithShape="1">
          <a:blip r:embed="rId2"/>
          <a:srcRect l="278" r="278"/>
          <a:stretch/>
        </p:blipFill>
        <p:spPr>
          <a:xfrm>
            <a:off x="0" y="1"/>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36944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974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Only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455968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Tree>
    <p:extLst>
      <p:ext uri="{BB962C8B-B14F-4D97-AF65-F5344CB8AC3E}">
        <p14:creationId xmlns:p14="http://schemas.microsoft.com/office/powerpoint/2010/main" val="613230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Agenda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1574221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Four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335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367099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5682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Five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t"/>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679395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t"/>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996271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Five text with icons and Titl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t"/>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445136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756025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397047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tep slide with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a:ln w="3175">
                <a:noFill/>
              </a:ln>
              <a:solidFill>
                <a:schemeClr val="bg1"/>
              </a:solidFill>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solidFill>
                <a:schemeClr val="tx1"/>
              </a:solidFill>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a:ln w="3175">
                <a:noFill/>
              </a:ln>
              <a:solidFill>
                <a:schemeClr val="tx1"/>
              </a:solidFill>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400" kern="0">
              <a:ln w="3175">
                <a:noFill/>
              </a:ln>
              <a:solidFill>
                <a:schemeClr val="bg1"/>
              </a:solidFill>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a:ln w="3175">
                <a:noFill/>
              </a:ln>
              <a:solidFill>
                <a:schemeClr val="bg1"/>
              </a:solidFill>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C6C6C5"/>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3001465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with fiv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flip="none" rotWithShape="1">
                  <a:gsLst>
                    <a:gs pos="100000">
                      <a:srgbClr val="C03BC4"/>
                    </a:gs>
                    <a:gs pos="28000">
                      <a:srgbClr val="0078D4"/>
                    </a:gs>
                  </a:gsLst>
                  <a:path path="circle">
                    <a:fillToRect r="100000" b="100000"/>
                  </a:path>
                  <a:tileRect l="-100000" t="-100000"/>
                </a:gradFill>
                <a:latin typeface="+mj-lt"/>
                <a:ea typeface="+mn-lt"/>
                <a:cs typeface="+mn-lt"/>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6097754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with 10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a:gradFill>
                <a:gsLst>
                  <a:gs pos="13761">
                    <a:srgbClr val="000000"/>
                  </a:gs>
                  <a:gs pos="32110">
                    <a:srgbClr val="000000"/>
                  </a:gs>
                </a:gsLst>
                <a:path path="circle">
                  <a:fillToRect l="100000" t="100000"/>
                </a:path>
              </a:gradFill>
              <a:ea typeface="+mn-lt"/>
              <a:cs typeface="+mn-lt"/>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587477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627995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011825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2124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a:latin typeface="+mj-lt"/>
              <a:cs typeface="Segoe Sans Display Semibold" pitchFamily="2" charset="0"/>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2043358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a:latin typeface="+mj-lt"/>
              <a:cs typeface="Segoe Sans Display Semibold" pitchFamily="2" charset="0"/>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137239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meline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2080585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048749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2000"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12093"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60686"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09279"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Tree>
    <p:extLst>
      <p:ext uri="{BB962C8B-B14F-4D97-AF65-F5344CB8AC3E}">
        <p14:creationId xmlns:p14="http://schemas.microsoft.com/office/powerpoint/2010/main" val="1531531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74846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a:latin typeface="+mn-lt"/>
              <a:ea typeface="+mn-lt"/>
              <a:cs typeface="+mn-lt"/>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468713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2538036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3612788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our round photo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429772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0531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icture content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36191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text conten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613487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err="1">
              <a:ln w="3175">
                <a:noFill/>
              </a:ln>
              <a:gradFill>
                <a:gsLst>
                  <a:gs pos="55747">
                    <a:srgbClr val="000000"/>
                  </a:gs>
                  <a:gs pos="37000">
                    <a:srgbClr val="000000"/>
                  </a:gs>
                </a:gsLst>
                <a:lin ang="5400000" scaled="1"/>
              </a:gradFill>
              <a:latin typeface="Segoe UI Semibold"/>
              <a:cs typeface="Segoe UI" pitchFamily="34" charset="0"/>
            </a:endParaRPr>
          </a:p>
        </p:txBody>
      </p:sp>
    </p:spTree>
    <p:extLst>
      <p:ext uri="{BB962C8B-B14F-4D97-AF65-F5344CB8AC3E}">
        <p14:creationId xmlns:p14="http://schemas.microsoft.com/office/powerpoint/2010/main" val="4143875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ation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36952308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divi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0"/>
            <a:ext cx="12192000" cy="6867092"/>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848703" cy="553998"/>
          </a:xfrm>
        </p:spPr>
        <p:txBody>
          <a:bodyPr/>
          <a:lstStyle/>
          <a:p>
            <a:r>
              <a:rPr lang="en-US"/>
              <a:t>Click to edit Master title style</a:t>
            </a:r>
          </a:p>
        </p:txBody>
      </p:sp>
    </p:spTree>
    <p:extLst>
      <p:ext uri="{BB962C8B-B14F-4D97-AF65-F5344CB8AC3E}">
        <p14:creationId xmlns:p14="http://schemas.microsoft.com/office/powerpoint/2010/main" val="25840186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Only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46651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Tree>
    <p:extLst>
      <p:ext uri="{BB962C8B-B14F-4D97-AF65-F5344CB8AC3E}">
        <p14:creationId xmlns:p14="http://schemas.microsoft.com/office/powerpoint/2010/main" val="1142129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Agenda slide Green">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6C1E29E-F1D9-FCA5-24D4-093ED73FF16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1496712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Four text with icons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B0E3C4-FFB5-BF1F-8BBB-DEA33F911F8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053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FBFE6-9B6C-384C-1110-1FD482EC161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3573659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92790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ive text with icons Gree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AF41EA1-CA8E-3EA9-868E-CF928DE712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err="1">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234045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632F53-282E-A1FB-6A76-B413AC7E8F0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1166623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ive text with icons and Title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97634E-AE70-A775-4400-6447F339F01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0280861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36AAF1-5373-681E-B83D-6ED42A20C448}"/>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954098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B0CDFB-B37F-F9A1-94A3-EFC3774268E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34648456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tep slide with plus sig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412CD6-A1EA-2EE8-D4F6-064CAD9BD0E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EBF7F5"/>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473337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with five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210B15-C095-6038-0952-7CFF21E62A2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879139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with 10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EABE4-838D-DEBC-5201-E654E124B82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040642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03BCA4-6E63-7B67-92F3-DBB194E8DD3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627349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B02D0F-997A-A694-C582-E57C3564D89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9258247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32048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4A10B4-2894-B0C3-48F3-79A9138A9879}"/>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781067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523848-5AF0-F245-366D-1B846CA5B5F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a:ln w="3175">
                <a:noFill/>
              </a:ln>
              <a:solidFill>
                <a:srgbClr val="FFFFFF"/>
              </a:solidFill>
              <a:effectLst/>
              <a:uLnTx/>
              <a:uFillTx/>
              <a:latin typeface="Segoe UI Semibold"/>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8328620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meline slide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983F4-F8C8-9848-3E1C-01241791DE0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5298330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with four placeholder Gre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8C5E15-A5A9-2055-AD83-5D5792681C8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813447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BD1F8-DDF4-D7F8-9099-CEB18D8226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4008176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46ED21-3A7E-222A-0732-B7B13D32DD5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96204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Gree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BDE36D8-4738-10F6-009B-5D23922C11A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4205280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479D640-296D-D010-B040-6C7311EB122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2707896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1280B97-7215-FBC1-20EB-3CA0CE7BD32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3082705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Four round photos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5CDDA7-1E29-D20D-05B5-6672D948FF5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514827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53086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picture content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50B2B7-73E8-05B1-B24F-AF7C2FCD456A}"/>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0406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hree text content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A0579E-33AE-B59C-72EE-EB3B453EFDB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035402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4C4D94-52FE-B3D5-25E9-F34756D10BE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2053885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ation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860348-7581-BB4E-0FE4-8BFB6F5FDEFA}"/>
              </a:ext>
            </a:extLst>
          </p:cNvPr>
          <p:cNvPicPr>
            <a:picLocks noChangeAspect="1"/>
          </p:cNvPicPr>
          <p:nvPr userDrawn="1"/>
        </p:nvPicPr>
        <p:blipFill>
          <a:blip r:embed="rId2"/>
          <a:stretch>
            <a:fillRect/>
          </a:stretch>
        </p:blipFill>
        <p:spPr>
          <a:xfrm>
            <a:off x="4152" y="0"/>
            <a:ext cx="12183695" cy="6858000"/>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2789948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divi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DE6FDA-B7C6-B55C-2C25-D67CE4D73F6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2868671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3381775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slide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Tree>
    <p:extLst>
      <p:ext uri="{BB962C8B-B14F-4D97-AF65-F5344CB8AC3E}">
        <p14:creationId xmlns:p14="http://schemas.microsoft.com/office/powerpoint/2010/main" val="1081924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genda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2A9ABA-0A5B-47CF-A9F3-A16B8737AF6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395375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Four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7A56C9-4983-987A-838C-1A87D34CC938}"/>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54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2A4AD1-67CF-60C5-1B3B-C493B69896A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707214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50198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ive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236FC4-9E1D-2755-6DAA-605D2B3F9F86}"/>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err="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66580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35EA4-12C9-C346-E494-E0897818A1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CEE1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1872564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ive text with icons and Titl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B18928-9285-3D77-E77D-427463E925A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err="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686755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1E7D21-6E25-1AC7-FA18-FF4D4D1D4EEC}"/>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110858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CA008-CD3C-C800-6ED2-63FAF8F3600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12417466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tep slide with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5C0CAD-FCBC-7666-7E5B-D8C4B8B9AA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D4E5F1"/>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32034969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with fiv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F2BC79-102D-A689-479D-04975F1BD0A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4E5F1"/>
          </a:solidFill>
        </p:spPr>
        <p:txBody>
          <a:bodyPr wrap="square" lIns="91440" tIns="91440" rIns="91440" bIns="91440" rtlCol="0" anchor="ctr">
            <a:normAutofit fontScale="92500" lnSpcReduction="20000"/>
          </a:bodyPr>
          <a:lstStyle/>
          <a:p>
            <a:pPr lvl="0" algn="ctr" defTabSz="914367" fontAlgn="base">
              <a:spcBef>
                <a:spcPct val="0"/>
              </a:spcBef>
              <a:spcAft>
                <a:spcPct val="0"/>
              </a:spcAft>
            </a:pPr>
            <a:endParaRPr lang="en-US" sz="1600" b="1" kern="0" err="1">
              <a:ln w="3175">
                <a:noFill/>
              </a:ln>
              <a:latin typeface="+mj-lt"/>
              <a:cs typeface="Segoe UI" pitchFamily="34"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97000">
                      <a:srgbClr val="D1448B"/>
                    </a:gs>
                    <a:gs pos="0">
                      <a:srgbClr val="0A6BBA"/>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6352085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with 10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86DC9-D6BC-E49B-E6EA-7FFDB2BDB1D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375232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4D8740-4202-F451-6117-BAE74779A842}"/>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70942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846782-B069-0CE2-5BB7-7060582C41D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290271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04914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0EF1A5-1A1E-4E75-D939-06364EF97DC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316350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26417D-6131-39EC-8B73-F9A03807BD7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48631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meline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4C4C2D-1D4E-7FF6-95F2-8A1045A5802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4233056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F0D56A-E97E-2CC0-94D6-7BD23AA6611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881977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BDB74A-3DCD-81D3-6C53-D1B3928A0F1F}"/>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16198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74A3D8-E56B-CE21-C818-81C6EF34DF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650602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5B6BF2-1AC4-28FB-25AB-0FD6123AEDE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041326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47ECA5-E14B-BF21-7A04-86419E4AB6C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188337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D67CE0-3BE9-59D5-8136-5F58AEEE516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107405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Four round photo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202E54-F1A3-730A-F486-F12AC1B2EDA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129988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47320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hree picture content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AAA2D6-F6B1-F246-A1A5-46C7A04C558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9719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hree text conten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ABFA3F-16F3-4621-BEE9-3192FFFEC90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470376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9EB16F-4F03-3E08-6495-ACB5A816F72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37078899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Quotation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22662F-AABD-1B44-DDB8-3C872B438484}"/>
              </a:ext>
            </a:extLst>
          </p:cNvPr>
          <p:cNvPicPr>
            <a:picLocks noChangeAspect="1"/>
          </p:cNvPicPr>
          <p:nvPr userDrawn="1"/>
        </p:nvPicPr>
        <p:blipFill rotWithShape="1">
          <a:blip r:embed="rId2"/>
          <a:srcRect l="305" t="408"/>
          <a:stretch/>
        </p:blipFill>
        <p:spPr>
          <a:xfrm>
            <a:off x="-4153" y="-1"/>
            <a:ext cx="12192000" cy="685800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14440917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D57F-552B-8774-7188-13BA49CD2652}"/>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7054077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Only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113878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Tree>
    <p:extLst>
      <p:ext uri="{BB962C8B-B14F-4D97-AF65-F5344CB8AC3E}">
        <p14:creationId xmlns:p14="http://schemas.microsoft.com/office/powerpoint/2010/main" val="29004960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Agenda slide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285EDB6-6BD9-803E-D877-8A4A53657AF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59920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Four text with icons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7BF12D-09EE-56E8-2400-01AFDD7304E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914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F7ED63-7025-40F7-4E5C-40BE912DCC1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431226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6E8E-7367-28CE-EB1D-B2440C4C9B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7E8652-39F6-AC1F-BFA3-8ADD3ED5AFF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5F2FD5-855D-E292-1E82-CF319752FC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0D9B48-8ABB-1435-6EF5-1994870C9ECF}"/>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6" name="Footer Placeholder 5">
            <a:extLst>
              <a:ext uri="{FF2B5EF4-FFF2-40B4-BE49-F238E27FC236}">
                <a16:creationId xmlns:a16="http://schemas.microsoft.com/office/drawing/2014/main" id="{9A8280B6-7A17-FFEF-E2FF-771522039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3E74F7-8688-50AC-960F-18FB7716E5E9}"/>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2769519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66627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ive text with icons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2D0882C-5CF8-0E56-4DC9-F5DD7757825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8199894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F700E3-0320-DD67-54AF-066AA9F81C4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AD5EA"/>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3824629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Five text with icons and Title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B4AC02-BE64-0ECE-D86E-E22D4A12398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085958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FBE7D7-9AA1-6085-4974-C370757AC30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921139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DEFE94-BC05-F4F4-F640-0629A65047B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spTree>
    <p:extLst>
      <p:ext uri="{BB962C8B-B14F-4D97-AF65-F5344CB8AC3E}">
        <p14:creationId xmlns:p14="http://schemas.microsoft.com/office/powerpoint/2010/main" val="35010210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tep slide with plus sig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1D7EBB-CD71-E97E-FF26-F51EB544BA0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26104553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with five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5BD4D-E72D-331A-6110-813B273C65B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3321601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with 10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217FB6-A966-7D65-2279-5A8AC657B0F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9971162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127320-7005-0B8F-8D4A-2669F79808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023285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BA40F2-B1F3-C439-7B8B-D50CB0CBD16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712591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08287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6BC1D5-913C-4FD0-5A62-E921B14AB944}"/>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645526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81D38F-D92A-A83E-809E-9672E4C8BC2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5226620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meline slide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9A592D-1CB0-0EC4-7141-9E1533C1BDC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err="1">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3454088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with four placeholder Pi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90AA4C-8F87-6D7A-C3AB-BE9AC8BDD84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err="1">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6478389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32F4E-5E6B-5CB3-C3E3-B002E8FF9DA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628945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4337A5-3D21-E367-7E3C-A0D0AB30D88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782970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Pi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555DA12-5A11-9BB3-F11F-1938D2783E1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err="1">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7416030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2EE6A2-035E-FB5C-2CDE-67E1B78B624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a:t>Video</a:t>
            </a:r>
            <a:endParaRPr lang="en-US"/>
          </a:p>
        </p:txBody>
      </p:sp>
    </p:spTree>
    <p:extLst>
      <p:ext uri="{BB962C8B-B14F-4D97-AF65-F5344CB8AC3E}">
        <p14:creationId xmlns:p14="http://schemas.microsoft.com/office/powerpoint/2010/main" val="269027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B7F88-C383-D8A8-7DA3-EED89D7265B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2592811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Four round photos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95EDB8-1C69-3449-756A-ED3394EA690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err="1">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644107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30461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hree picture content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CB1F2F-0081-E551-92DB-B85F5119A7F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997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text content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A6CF91-034A-CC9C-CB91-9D4530E37B9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err="1">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4063938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34BA8B-7206-F735-90C3-4FC73883D77C}"/>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err="1">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1968399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otation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1D4809-6BBB-4638-54FA-E3ECFC08B784}"/>
              </a:ext>
            </a:extLst>
          </p:cNvPr>
          <p:cNvPicPr>
            <a:picLocks noChangeAspect="1"/>
          </p:cNvPicPr>
          <p:nvPr userDrawn="1"/>
        </p:nvPicPr>
        <p:blipFill>
          <a:blip r:embed="rId2"/>
          <a:stretch>
            <a:fillRect/>
          </a:stretch>
        </p:blipFill>
        <p:spPr>
          <a:xfrm>
            <a:off x="3912" y="4284"/>
            <a:ext cx="12184175" cy="684943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err="1">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709200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divi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D0D4FD-6287-E4D5-1378-53345974B3D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err="1">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5729553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58079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77990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545748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pic>
        <p:nvPicPr>
          <p:cNvPr id="3" name="MS logo gray - EMF" descr="Microsoft logo, gray text version">
            <a:extLst>
              <a:ext uri="{FF2B5EF4-FFF2-40B4-BE49-F238E27FC236}">
                <a16:creationId xmlns:a16="http://schemas.microsoft.com/office/drawing/2014/main" id="{337BFE3B-77C3-CD00-9747-05B13261263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DA16EE39-7901-99DE-ADC2-0A8683959A69}"/>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90216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39665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2768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2192412730"/>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93212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01838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0726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1780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607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643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548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302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0467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33967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2882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6937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2170864"/>
      </p:ext>
    </p:extLst>
  </p:cSld>
  <p:clrMapOvr>
    <a:masterClrMapping/>
  </p:clrMapOvr>
  <p:transition>
    <p:fade/>
  </p:transition>
  <p:extLst>
    <p:ext uri="{DCECCB84-F9BA-43D5-87BE-67443E8EF086}">
      <p15:sldGuideLst xmlns:p15="http://schemas.microsoft.com/office/powerpoint/2012/main">
        <p15:guide id="6" pos="792">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693723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86413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133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31183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29955143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13373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9861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2941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Rectangle 1">
            <a:extLst>
              <a:ext uri="{FF2B5EF4-FFF2-40B4-BE49-F238E27FC236}">
                <a16:creationId xmlns:a16="http://schemas.microsoft.com/office/drawing/2014/main" id="{40D6A808-9E65-A7E2-F888-D7EAABFEEF2E}"/>
              </a:ext>
            </a:extLst>
          </p:cNvPr>
          <p:cNvSpPr/>
          <p:nvPr userDrawn="1"/>
        </p:nvSpPr>
        <p:spPr bwMode="auto">
          <a:xfrm>
            <a:off x="0" y="6565900"/>
            <a:ext cx="1967948" cy="292100"/>
          </a:xfrm>
          <a:prstGeom prst="rect">
            <a:avLst/>
          </a:prstGeom>
          <a:solidFill>
            <a:srgbClr val="D9D9D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96065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26167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4574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03048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48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015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5890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62760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8479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216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701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8891981"/>
      </p:ext>
    </p:extLst>
  </p:cSld>
  <p:clrMapOvr>
    <a:masterClrMapping/>
  </p:clrMapOvr>
  <p:transition>
    <p:fade/>
  </p:transition>
  <p:extLst>
    <p:ext uri="{DCECCB84-F9BA-43D5-87BE-67443E8EF086}">
      <p15:sldGuideLst xmlns:p15="http://schemas.microsoft.com/office/powerpoint/2012/main"/>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471828"/>
      </p:ext>
    </p:extLst>
  </p:cSld>
  <p:clrMapOvr>
    <a:masterClrMapping/>
  </p:clrMapOvr>
  <p:transition>
    <p:fade/>
  </p:transition>
  <p:extLst>
    <p:ext uri="{DCECCB84-F9BA-43D5-87BE-67443E8EF086}">
      <p15:sldGuideLst xmlns:p15="http://schemas.microsoft.com/office/powerpoint/2012/main"/>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926358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95438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itle Slide 1  ">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a:extLst>
              <a:ext uri="{FF2B5EF4-FFF2-40B4-BE49-F238E27FC236}">
                <a16:creationId xmlns:a16="http://schemas.microsoft.com/office/drawing/2014/main" id="{E9D92374-2DCA-B63E-30A2-F9712B61012D}"/>
              </a:ext>
            </a:extLst>
          </p:cNvPr>
          <p:cNvPicPr>
            <a:picLocks noChangeAspect="1"/>
          </p:cNvPicPr>
          <p:nvPr userDrawn="1"/>
        </p:nvPicPr>
        <p:blipFill>
          <a:blip r:embed="rId4"/>
          <a:srcRect l="43021" t="3333"/>
          <a:stretch/>
        </p:blipFill>
        <p:spPr>
          <a:xfrm>
            <a:off x="6096000" y="1040610"/>
            <a:ext cx="6096000" cy="5817389"/>
          </a:xfrm>
          <a:prstGeom prst="rect">
            <a:avLst/>
          </a:prstGeom>
        </p:spPr>
      </p:pic>
    </p:spTree>
    <p:extLst>
      <p:ext uri="{BB962C8B-B14F-4D97-AF65-F5344CB8AC3E}">
        <p14:creationId xmlns:p14="http://schemas.microsoft.com/office/powerpoint/2010/main" val="789061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8" name="Picture 17" descr="A close up of a colorful object&#10;&#10;AI-generated content may be incorrect.">
            <a:extLst>
              <a:ext uri="{FF2B5EF4-FFF2-40B4-BE49-F238E27FC236}">
                <a16:creationId xmlns:a16="http://schemas.microsoft.com/office/drawing/2014/main" id="{71A858D6-B629-D40A-227D-D5482D0FBBAD}"/>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45208" r="22571"/>
          <a:stretch/>
        </p:blipFill>
        <p:spPr>
          <a:xfrm flipH="1">
            <a:off x="8263704" y="1"/>
            <a:ext cx="3928296" cy="6858000"/>
          </a:xfrm>
          <a:prstGeom prst="rect">
            <a:avLst/>
          </a:prstGeom>
        </p:spPr>
      </p:pic>
    </p:spTree>
    <p:extLst>
      <p:ext uri="{BB962C8B-B14F-4D97-AF65-F5344CB8AC3E}">
        <p14:creationId xmlns:p14="http://schemas.microsoft.com/office/powerpoint/2010/main" val="2503794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 Slide 3 ">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E9C0E-D37E-A705-EE9F-EE52E949C684}"/>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9673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Slide 4 ">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E80E06-15DE-DDB1-B4E4-52EEA260C719}"/>
              </a:ext>
            </a:extLst>
          </p:cNvPr>
          <p:cNvPicPr>
            <a:picLocks noChangeAspect="1"/>
          </p:cNvPicPr>
          <p:nvPr userDrawn="1"/>
        </p:nvPicPr>
        <p:blipFill rotWithShape="1">
          <a:blip r:embed="rId2"/>
          <a:srcRect t="273" b="273"/>
          <a:stretch/>
        </p:blipFill>
        <p:spPr>
          <a:xfrm>
            <a:off x="0" y="-1"/>
            <a:ext cx="12192000" cy="6858001"/>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17431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Slide 5 ">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5A40D0-B5CF-0E8A-CFC7-1978F00B46A8}"/>
              </a:ext>
            </a:extLst>
          </p:cNvPr>
          <p:cNvPicPr>
            <a:picLocks noChangeAspect="1"/>
          </p:cNvPicPr>
          <p:nvPr userDrawn="1"/>
        </p:nvPicPr>
        <p:blipFill rotWithShape="1">
          <a:blip r:embed="rId2"/>
          <a:srcRect l="544" t="515" r="29"/>
          <a:stretch/>
        </p:blipFill>
        <p:spPr>
          <a:xfrm>
            <a:off x="0" y="0"/>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4773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Slide 6 ">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806BF3-B7AC-803B-E086-77B486241445}"/>
              </a:ext>
            </a:extLst>
          </p:cNvPr>
          <p:cNvPicPr>
            <a:picLocks noChangeAspect="1"/>
          </p:cNvPicPr>
          <p:nvPr userDrawn="1"/>
        </p:nvPicPr>
        <p:blipFill rotWithShape="1">
          <a:blip r:embed="rId2"/>
          <a:srcRect l="278" r="278"/>
          <a:stretch/>
        </p:blipFill>
        <p:spPr>
          <a:xfrm>
            <a:off x="0" y="1"/>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0"/>
                </a:lnTo>
                <a:lnTo>
                  <a:pt x="12192000" y="6858001"/>
                </a:lnTo>
                <a:lnTo>
                  <a:pt x="0" y="6858001"/>
                </a:lnTo>
                <a:close/>
              </a:path>
            </a:pathLst>
          </a:cu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80328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E1D3C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253700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le Only">
    <p:bg>
      <p:bgPr>
        <a:blipFill>
          <a:blip r:embed="rId2"/>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8982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Title Only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7900895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Tree>
    <p:extLst>
      <p:ext uri="{BB962C8B-B14F-4D97-AF65-F5344CB8AC3E}">
        <p14:creationId xmlns:p14="http://schemas.microsoft.com/office/powerpoint/2010/main" val="1913229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genda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dirty="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dirty="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dirty="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dirty="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r>
              <a:rPr lang="en-US" sz="2400" b="1" kern="0" dirty="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alpha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34626786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Four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04942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1444852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ive text with icon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t"/>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5925941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t"/>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1372477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Five text with icons and Titl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t"/>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714801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1266350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Bottom">
    <p:bg>
      <p:bgPr>
        <a:solidFill>
          <a:srgbClr val="E1D3C7"/>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692300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spTree>
    <p:extLst>
      <p:ext uri="{BB962C8B-B14F-4D97-AF65-F5344CB8AC3E}">
        <p14:creationId xmlns:p14="http://schemas.microsoft.com/office/powerpoint/2010/main" val="41157496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tep slide with plus sig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dirty="0">
              <a:ln w="3175">
                <a:noFill/>
              </a:ln>
              <a:solidFill>
                <a:schemeClr val="bg1"/>
              </a:solidFill>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dirty="0">
              <a:ln w="3175">
                <a:noFill/>
              </a:ln>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dirty="0">
              <a:ln w="3175">
                <a:noFill/>
              </a:ln>
              <a:solidFill>
                <a:schemeClr val="tx1"/>
              </a:solidFill>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C6C6C5">
              <a:alpha val="50000"/>
            </a:srgbClr>
          </a:solidFill>
        </p:spPr>
        <p:txBody>
          <a:bodyPr wrap="square" lIns="88900" tIns="38100" rIns="88900" bIns="38100" rtlCol="0" anchor="ctr" anchorCtr="0">
            <a:noAutofit/>
          </a:bodyPr>
          <a:lstStyle/>
          <a:p>
            <a:pPr algn="ctr" defTabSz="914367" fontAlgn="base">
              <a:spcBef>
                <a:spcPct val="0"/>
              </a:spcBef>
              <a:spcAft>
                <a:spcPct val="0"/>
              </a:spcAft>
              <a:buSzPts val="1000"/>
              <a:tabLst>
                <a:tab pos="183703" algn="l"/>
              </a:tabLst>
            </a:pPr>
            <a:endParaRPr lang="en-US" sz="1600" kern="0" dirty="0">
              <a:ln w="3175">
                <a:noFill/>
              </a:ln>
              <a:solidFill>
                <a:schemeClr val="tx1"/>
              </a:solidFill>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400" kern="0" dirty="0">
              <a:ln w="3175">
                <a:noFill/>
              </a:ln>
              <a:solidFill>
                <a:schemeClr val="bg1"/>
              </a:solidFill>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91440" tIns="91440" rIns="91440" bIns="91440" anchor="ctr" anchorCtr="0">
            <a:noAutofit/>
          </a:bodyPr>
          <a:lstStyle/>
          <a:p>
            <a:pPr algn="ctr" defTabSz="914367" fontAlgn="base">
              <a:spcBef>
                <a:spcPct val="0"/>
              </a:spcBef>
              <a:spcAft>
                <a:spcPct val="0"/>
              </a:spcAft>
            </a:pPr>
            <a:endParaRPr lang="en-US" sz="1600" kern="0" dirty="0">
              <a:ln w="3175">
                <a:noFill/>
              </a:ln>
              <a:solidFill>
                <a:schemeClr val="bg1"/>
              </a:solidFill>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flip="none" rotWithShape="1">
              <a:gsLst>
                <a:gs pos="77000">
                  <a:srgbClr val="0D72C4"/>
                </a:gs>
                <a:gs pos="0">
                  <a:srgbClr val="9D42BB"/>
                </a:gs>
              </a:gsLst>
              <a:path path="circle">
                <a:fillToRect l="100000" t="100000"/>
              </a:path>
              <a:tileRect r="-100000" b="-100000"/>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C6C6C5"/>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41365494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with fiv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flip="none" rotWithShape="1">
                  <a:gsLst>
                    <a:gs pos="100000">
                      <a:srgbClr val="C03BC4"/>
                    </a:gs>
                    <a:gs pos="28000">
                      <a:srgbClr val="0078D4"/>
                    </a:gs>
                  </a:gsLst>
                  <a:path path="circle">
                    <a:fillToRect r="100000" b="100000"/>
                  </a:path>
                  <a:tileRect l="-100000" t="-100000"/>
                </a:gradFill>
                <a:latin typeface="+mj-lt"/>
                <a:ea typeface="+mn-lt"/>
                <a:cs typeface="+mn-lt"/>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279308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with 10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5093389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288543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5643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dirty="0">
              <a:latin typeface="+mj-lt"/>
              <a:cs typeface="Segoe Sans Display Semibold" pitchFamily="2" charset="0"/>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513098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chemeClr val="bg1">
              <a:alpha val="30000"/>
            </a:scheme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2400" b="1" dirty="0">
              <a:latin typeface="+mj-lt"/>
              <a:cs typeface="Segoe Sans Display Semibold" pitchFamily="2" charset="0"/>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894412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meline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dirty="0">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7000">
                <a:srgbClr val="0D72C4"/>
              </a:gs>
              <a:gs pos="0">
                <a:srgbClr val="9D42BB"/>
              </a:gs>
            </a:gsLst>
            <a:path path="circle">
              <a:fillToRect l="100000" t="100000"/>
            </a:path>
            <a:tileRect r="-100000" b="-100000"/>
          </a:gradFill>
          <a:ln w="12700">
            <a:solidFill>
              <a:schemeClr val="bg1"/>
            </a:solid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2718943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with four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1254112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Top">
    <p:bg>
      <p:bgPr>
        <a:solidFill>
          <a:srgbClr val="E1D3C7"/>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601519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2000"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C6C6C5">
              <a:alpha val="50000"/>
            </a:srgb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12093"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60686"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09279" y="5235188"/>
            <a:ext cx="3270628"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100000">
                      <a:srgbClr val="C03BC4"/>
                    </a:gs>
                    <a:gs pos="28000">
                      <a:srgbClr val="0078D4"/>
                    </a:gs>
                  </a:gsLst>
                  <a:path path="circle">
                    <a:fillToRect r="100000" b="100000"/>
                  </a:path>
                  <a:tileRect l="-100000" t="-100000"/>
                </a:gradFill>
                <a:latin typeface="+mn-lt"/>
                <a:ea typeface="+mn-lt"/>
                <a:cs typeface="+mn-lt"/>
              </a:defRPr>
            </a:lvl1pPr>
          </a:lstStyle>
          <a:p>
            <a:pPr lvl="0"/>
            <a:r>
              <a:rPr lang="en-US"/>
              <a:t>00</a:t>
            </a:r>
          </a:p>
        </p:txBody>
      </p:sp>
    </p:spTree>
    <p:extLst>
      <p:ext uri="{BB962C8B-B14F-4D97-AF65-F5344CB8AC3E}">
        <p14:creationId xmlns:p14="http://schemas.microsoft.com/office/powerpoint/2010/main" val="28934402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88225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C6C6C5">
              <a:alpha val="50000"/>
            </a:srgbClr>
          </a:solidFill>
        </p:spPr>
        <p:txBody>
          <a:bodyPr wrap="square" lIns="972000" tIns="0" rIns="0" bIns="0" rtlCol="0" anchor="ctr" anchorCtr="0">
            <a:noAutofit/>
          </a:bodyPr>
          <a:lstStyle>
            <a:defPPr>
              <a:defRPr lang="en-US"/>
            </a:defPPr>
            <a:lvl1pPr defTabSz="1740645" fontAlgn="base">
              <a:spcBef>
                <a:spcPts val="482"/>
              </a:spcBef>
              <a:spcAft>
                <a:spcPct val="0"/>
              </a:spcAft>
              <a:buSzPts val="1000"/>
              <a:tabLst>
                <a:tab pos="183703" algn="l"/>
              </a:tabLst>
              <a:defRPr b="1">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defRPr>
            </a:lvl1pPr>
          </a:lstStyle>
          <a:p>
            <a:endParaRPr lang="en-US" dirty="0">
              <a:latin typeface="+mn-lt"/>
              <a:ea typeface="+mn-lt"/>
              <a:cs typeface="+mn-lt"/>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214506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dirty="0"/>
              <a:t>Video</a:t>
            </a:r>
            <a:endParaRPr lang="en-US" dirty="0"/>
          </a:p>
        </p:txBody>
      </p:sp>
    </p:spTree>
    <p:extLst>
      <p:ext uri="{BB962C8B-B14F-4D97-AF65-F5344CB8AC3E}">
        <p14:creationId xmlns:p14="http://schemas.microsoft.com/office/powerpoint/2010/main" val="1749342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20502751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Four round photos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dirty="0">
              <a:latin typeface="+mj-lt"/>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506835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ree picture content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83174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ree text content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249271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placehol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dirty="0">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Tree>
    <p:extLst>
      <p:ext uri="{BB962C8B-B14F-4D97-AF65-F5344CB8AC3E}">
        <p14:creationId xmlns:p14="http://schemas.microsoft.com/office/powerpoint/2010/main" val="3321375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Quotation slide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9091"/>
            <a:ext cx="12192000" cy="6867092"/>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C6C6C5">
              <a:alpha val="50000"/>
            </a:srgbClr>
          </a:solidFill>
        </p:spPr>
        <p:txBody>
          <a:bodyPr wrap="square" lIns="88900" tIns="38100" rIns="88900" bIns="38100" rtlCol="0" anchor="ctr" anchorCtr="0">
            <a:noAutofit/>
          </a:bodyPr>
          <a:lstStyle/>
          <a:p>
            <a:pPr algn="ctr" defTabSz="1740645" fontAlgn="base">
              <a:spcBef>
                <a:spcPts val="482"/>
              </a:spcBef>
              <a:spcAft>
                <a:spcPct val="0"/>
              </a:spcAft>
              <a:buSzPts val="1000"/>
              <a:tabLst>
                <a:tab pos="183703" algn="l"/>
              </a:tabLst>
            </a:pPr>
            <a:endParaRPr lang="en-US" sz="3200" b="1" dirty="0">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7000">
                <a:srgbClr val="0D72C4"/>
              </a:gs>
              <a:gs pos="0">
                <a:srgbClr val="9D42BB"/>
              </a:gs>
            </a:gsLst>
            <a:path path="circle">
              <a:fillToRect l="100000" b="100000"/>
            </a:path>
            <a:tileRect t="-100000" r="-100000"/>
          </a:gradFill>
          <a:ln>
            <a:noFill/>
          </a:ln>
          <a:effectLst/>
        </p:spPr>
        <p:txBody>
          <a:bodyPr wrap="square" lIns="0" tIns="0" rIns="0" bIns="0" anchor="ctr" anchorCtr="0">
            <a:noAutofit/>
          </a:bodyPr>
          <a:lstStyle/>
          <a:p>
            <a:pPr algn="ctr" defTabSz="914367" fontAlgn="base">
              <a:spcBef>
                <a:spcPct val="0"/>
              </a:spcBef>
              <a:spcAft>
                <a:spcPct val="0"/>
              </a:spcAft>
            </a:pPr>
            <a:endParaRPr lang="en-US" b="1" kern="0" dirty="0">
              <a:ln w="3175">
                <a:noFill/>
              </a:ln>
              <a:gradFill>
                <a:gsLst>
                  <a:gs pos="55747">
                    <a:srgbClr val="000000"/>
                  </a:gs>
                  <a:gs pos="37000">
                    <a:srgbClr val="000000"/>
                  </a:gs>
                </a:gsLst>
                <a:lin ang="5400000" scaled="1"/>
              </a:gradFill>
              <a:latin typeface="Segoe UI Semibold"/>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2071003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A2EF0-4F7A-AACE-0CFD-E66B483862B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F49A54-5A67-CD87-954A-114B9CEC25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9E09F3-9745-44A7-3D68-C1AFC50EAD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758A50-0304-1B64-E465-B34BF7BB15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7F21D1-F93C-6466-E504-1F1A7F00D4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B604C0-6749-F794-1BE2-C8CA8B53E5BE}"/>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8" name="Footer Placeholder 7">
            <a:extLst>
              <a:ext uri="{FF2B5EF4-FFF2-40B4-BE49-F238E27FC236}">
                <a16:creationId xmlns:a16="http://schemas.microsoft.com/office/drawing/2014/main" id="{77DAF47A-0EAD-3E32-F440-96CA7EF60C0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A48D0B-65D5-C006-F724-072D810AE675}"/>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30033692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de Right side">
    <p:bg>
      <p:bgPr>
        <a:solidFill>
          <a:srgbClr val="E1D3C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63881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divider Brow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D391CC-FD94-7033-371D-0D0A4287FF79}"/>
              </a:ext>
            </a:extLst>
          </p:cNvPr>
          <p:cNvPicPr>
            <a:picLocks noChangeAspect="1"/>
          </p:cNvPicPr>
          <p:nvPr userDrawn="1"/>
        </p:nvPicPr>
        <p:blipFill>
          <a:blip r:embed="rId2"/>
          <a:stretch>
            <a:fillRect/>
          </a:stretch>
        </p:blipFill>
        <p:spPr>
          <a:xfrm>
            <a:off x="0" y="0"/>
            <a:ext cx="12192000" cy="6867092"/>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848703" cy="553998"/>
          </a:xfrm>
        </p:spPr>
        <p:txBody>
          <a:bodyPr/>
          <a:lstStyle/>
          <a:p>
            <a:r>
              <a:rPr lang="en-US"/>
              <a:t>Click to edit Master title style</a:t>
            </a:r>
          </a:p>
        </p:txBody>
      </p:sp>
    </p:spTree>
    <p:extLst>
      <p:ext uri="{BB962C8B-B14F-4D97-AF65-F5344CB8AC3E}">
        <p14:creationId xmlns:p14="http://schemas.microsoft.com/office/powerpoint/2010/main" val="4216594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Title Only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21323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B1FED-C62D-8C62-8911-B53036EB294E}"/>
              </a:ext>
            </a:extLst>
          </p:cNvPr>
          <p:cNvPicPr>
            <a:picLocks noChangeAspect="1"/>
          </p:cNvPicPr>
          <p:nvPr userDrawn="1"/>
        </p:nvPicPr>
        <p:blipFill>
          <a:blip r:embed="rId2"/>
          <a:stretch>
            <a:fillRect/>
          </a:stretch>
        </p:blipFill>
        <p:spPr>
          <a:xfrm>
            <a:off x="4152" y="0"/>
            <a:ext cx="12183695" cy="6858000"/>
          </a:xfrm>
          <a:prstGeom prst="rect">
            <a:avLst/>
          </a:prstGeom>
        </p:spPr>
      </p:pic>
    </p:spTree>
    <p:extLst>
      <p:ext uri="{BB962C8B-B14F-4D97-AF65-F5344CB8AC3E}">
        <p14:creationId xmlns:p14="http://schemas.microsoft.com/office/powerpoint/2010/main" val="26890629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Agenda slide Green">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6C1E29E-F1D9-FCA5-24D4-093ED73FF16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dirty="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dirty="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dirty="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dirty="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kern="0" dirty="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2267973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our text with icons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B0E3C4-FFB5-BF1F-8BBB-DEA33F911F8E}"/>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37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FBFE6-9B6C-384C-1110-1FD482EC161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18374161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Five text with icons Gree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AF41EA1-CA8E-3EA9-868E-CF928DE712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kern="0" dirty="0">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11251493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632F53-282E-A1FB-6A76-B413AC7E8F0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1663652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ive text with icons and Title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97634E-AE70-A775-4400-6447F339F01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406631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36AAF1-5373-681E-B83D-6ED42A20C448}"/>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1699299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Left sde">
    <p:bg>
      <p:bgPr>
        <a:solidFill>
          <a:srgbClr val="E1D3C7"/>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17847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B0CDFB-B37F-F9A1-94A3-EFC3774268ED}"/>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spTree>
    <p:extLst>
      <p:ext uri="{BB962C8B-B14F-4D97-AF65-F5344CB8AC3E}">
        <p14:creationId xmlns:p14="http://schemas.microsoft.com/office/powerpoint/2010/main" val="37160098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Step slide with plus sig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412CD6-A1EA-2EE8-D4F6-064CAD9BD0E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0">
                  <a:srgbClr val="0A6BBA"/>
                </a:gs>
                <a:gs pos="80000">
                  <a:srgbClr val="328985"/>
                </a:gs>
              </a:gsLst>
              <a:path path="circle">
                <a:fillToRect l="100000" t="100000"/>
              </a:path>
            </a:gradFill>
            <a:ln w="25400">
              <a:solidFill>
                <a:schemeClr val="bg1"/>
              </a:solidFill>
            </a:ln>
            <a:effectLst/>
          </p:spPr>
          <p:txBody>
            <a:bodyPr wrap="square" lIns="91440" tIns="91440" rIns="91440" bIns="9144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EBF7F5"/>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dirty="0">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667101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with five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210B15-C095-6038-0952-7CFF21E62A2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3EAE7"/>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2368834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with 10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EABE4-838D-DEBC-5201-E654E124B827}"/>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788906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03BCA4-6E63-7B67-92F3-DBB194E8DD3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0">
                <a:srgbClr val="0A6BBA"/>
              </a:gs>
              <a:gs pos="80000">
                <a:srgbClr val="328985"/>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672560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B02D0F-997A-A694-C582-E57C3564D89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695040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4A10B4-2894-B0C3-48F3-79A9138A9879}"/>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951111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523848-5AF0-F245-366D-1B846CA5B5F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marR="0" lvl="0" indent="0" algn="ctr" defTabSz="914367" fontAlgn="base">
              <a:lnSpc>
                <a:spcPct val="100000"/>
              </a:lnSpc>
              <a:spcBef>
                <a:spcPct val="0"/>
              </a:spcBef>
              <a:spcAft>
                <a:spcPct val="0"/>
              </a:spcAft>
              <a:buClrTx/>
              <a:buSzTx/>
              <a:buFontTx/>
              <a:buNone/>
              <a:tabLst/>
            </a:pPr>
            <a:endParaRPr kumimoji="0" lang="en-US" sz="1600" b="1" i="0" u="none" strike="noStrike" kern="0" cap="none" spc="0" normalizeH="0" baseline="0" dirty="0">
              <a:ln w="3175">
                <a:noFill/>
              </a:ln>
              <a:solidFill>
                <a:srgbClr val="FFFFFF"/>
              </a:solidFill>
              <a:effectLst/>
              <a:uLnTx/>
              <a:uFillTx/>
              <a:latin typeface="Segoe UI Semibold"/>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670155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meline slide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983F4-F8C8-9848-3E1C-01241791DE0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dirty="0">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0">
                <a:srgbClr val="0A6BBA"/>
              </a:gs>
              <a:gs pos="80000">
                <a:srgbClr val="328985"/>
              </a:gs>
            </a:gsLst>
            <a:path path="circle">
              <a:fillToRect l="100000" t="100000"/>
            </a:path>
          </a:gradFill>
          <a:ln>
            <a:solidFill>
              <a:schemeClr val="bg1"/>
            </a:solid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28534974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with four placeholder Gre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8C5E15-A5A9-2055-AD83-5D5792681C85}"/>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739379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598781-713D-A153-D7DE-A0B8C9FEA452}"/>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339841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BD1F8-DDF4-D7F8-9099-CEB18D8226F6}"/>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0">
                      <a:srgbClr val="0A6BBA"/>
                    </a:gs>
                    <a:gs pos="80000">
                      <a:srgbClr val="328985"/>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7966143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46ED21-3A7E-222A-0732-B7B13D32DD5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2658323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Gree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BDE36D8-4738-10F6-009B-5D23922C11A3}"/>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182539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479D640-296D-D010-B040-6C7311EB1222}"/>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dirty="0"/>
              <a:t>Video</a:t>
            </a:r>
            <a:endParaRPr lang="en-US" dirty="0"/>
          </a:p>
        </p:txBody>
      </p:sp>
    </p:spTree>
    <p:extLst>
      <p:ext uri="{BB962C8B-B14F-4D97-AF65-F5344CB8AC3E}">
        <p14:creationId xmlns:p14="http://schemas.microsoft.com/office/powerpoint/2010/main" val="1000776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1280B97-7215-FBC1-20EB-3CA0CE7BD32F}"/>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16627797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Four round photos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5CDDA7-1E29-D20D-05B5-6672D948FF54}"/>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FE6E3"/>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025599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hree picture content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50B2B7-73E8-05B1-B24F-AF7C2FCD456A}"/>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352838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hree text content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A0579E-33AE-B59C-72EE-EB3B453EFDB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0">
                <a:srgbClr val="0A6BBA"/>
              </a:gs>
              <a:gs pos="80000">
                <a:srgbClr val="328985"/>
              </a:gs>
            </a:gsLst>
            <a:path path="circle">
              <a:fillToRect l="100000" t="100000"/>
            </a:path>
            <a:tileRect r="-100000" b="-100000"/>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87912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placehol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4C4D94-52FE-B3D5-25E9-F34756D10BEB}"/>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4113006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Quotation slide 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860348-7581-BB4E-0FE4-8BFB6F5FDEFA}"/>
              </a:ext>
            </a:extLst>
          </p:cNvPr>
          <p:cNvPicPr>
            <a:picLocks noChangeAspect="1"/>
          </p:cNvPicPr>
          <p:nvPr userDrawn="1"/>
        </p:nvPicPr>
        <p:blipFill>
          <a:blip r:embed="rId2"/>
          <a:stretch>
            <a:fillRect/>
          </a:stretch>
        </p:blipFill>
        <p:spPr>
          <a:xfrm>
            <a:off x="4152" y="0"/>
            <a:ext cx="12183695" cy="6858000"/>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0">
                <a:srgbClr val="0A6BBA"/>
              </a:gs>
              <a:gs pos="80000">
                <a:srgbClr val="328985"/>
              </a:gs>
            </a:gsLst>
            <a:path path="circle">
              <a:fillToRect l="100000" t="100000"/>
            </a:path>
          </a:gradFill>
          <a:ln>
            <a:noFill/>
          </a:ln>
          <a:effectLst/>
        </p:spPr>
        <p:txBody>
          <a:bodyPr wrap="square" lIns="91440" tIns="91440" rIns="91440" bIns="9144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3694334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mo slide 2">
    <p:bg>
      <p:bgPr>
        <a:solidFill>
          <a:srgbClr val="E1D3C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88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ection divider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DE6FDA-B7C6-B55C-2C25-D67CE4D73F6C}"/>
              </a:ext>
            </a:extLst>
          </p:cNvPr>
          <p:cNvPicPr>
            <a:picLocks noChangeAspect="1"/>
          </p:cNvPicPr>
          <p:nvPr userDrawn="1"/>
        </p:nvPicPr>
        <p:blipFill>
          <a:blip r:embed="rId2"/>
          <a:stretch>
            <a:fillRect/>
          </a:stretch>
        </p:blipFill>
        <p:spPr>
          <a:xfrm>
            <a:off x="4152" y="0"/>
            <a:ext cx="12183695" cy="6858000"/>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3033710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834778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ank slide 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85267C-96A2-997D-BCED-783618665F29}"/>
              </a:ext>
            </a:extLst>
          </p:cNvPr>
          <p:cNvPicPr>
            <a:picLocks noChangeAspect="1"/>
          </p:cNvPicPr>
          <p:nvPr userDrawn="1"/>
        </p:nvPicPr>
        <p:blipFill rotWithShape="1">
          <a:blip r:embed="rId2"/>
          <a:srcRect l="305" t="408"/>
          <a:stretch/>
        </p:blipFill>
        <p:spPr>
          <a:xfrm>
            <a:off x="0" y="-1"/>
            <a:ext cx="12192000" cy="6858001"/>
          </a:xfrm>
          <a:prstGeom prst="rect">
            <a:avLst/>
          </a:prstGeom>
        </p:spPr>
      </p:pic>
    </p:spTree>
    <p:extLst>
      <p:ext uri="{BB962C8B-B14F-4D97-AF65-F5344CB8AC3E}">
        <p14:creationId xmlns:p14="http://schemas.microsoft.com/office/powerpoint/2010/main" val="2662192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Agenda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2A9ABA-0A5B-47CF-A9F3-A16B8737AF6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D1448B"/>
              </a:gs>
              <a:gs pos="24000">
                <a:schemeClr val="accent2"/>
              </a:gs>
            </a:gsLst>
            <a:lin ang="13500000" scaled="1"/>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2366252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Four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7A56C9-4983-987A-838C-1A87D34CC938}"/>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0742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2A4AD1-67CF-60C5-1B3B-C493B69896A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4174349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Five text with icon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236FC4-9E1D-2755-6DAA-605D2B3F9F86}"/>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dirty="0">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88070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35EA4-12C9-C346-E494-E0897818A129}"/>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CEE1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1432829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Five text with icons and Titl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B18928-9285-3D77-E77D-427463E925A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dirty="0">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1383734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1E7D21-6E25-1AC7-FA18-FF4D4D1D4EEC}"/>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39160350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ED2F1E-B11D-7B75-2BE7-2C2CAA4F0E43}"/>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525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CA008-CD3C-C800-6ED2-63FAF8F3600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spTree>
    <p:extLst>
      <p:ext uri="{BB962C8B-B14F-4D97-AF65-F5344CB8AC3E}">
        <p14:creationId xmlns:p14="http://schemas.microsoft.com/office/powerpoint/2010/main" val="26897025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Step slide with plus sig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5C0CAD-FCBC-7666-7E5B-D8C4B8B9AA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dirty="0">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dirty="0">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flip="none" rotWithShape="1">
            <a:gsLst>
              <a:gs pos="92000">
                <a:srgbClr val="D1448B"/>
              </a:gs>
              <a:gs pos="0">
                <a:srgbClr val="0A6BBA"/>
              </a:gs>
            </a:gsLst>
            <a:path path="circle">
              <a:fillToRect l="100000" t="100000"/>
            </a:path>
            <a:tileRect r="-100000" b="-100000"/>
          </a:gradFill>
        </p:spPr>
        <p:txBody>
          <a:bodyPr wrap="square" lIns="0" tIns="45721" rIns="0" bIns="109728" rtlCol="0" anchor="ctr">
            <a:noAutofit/>
          </a:bodyPr>
          <a:lstStyle/>
          <a:p>
            <a:pPr lvl="0" algn="ctr" defTabSz="2275942" fontAlgn="base">
              <a:spcBef>
                <a:spcPct val="0"/>
              </a:spcBef>
              <a:spcAft>
                <a:spcPts val="2987"/>
              </a:spcAft>
              <a:buSzPct val="90000"/>
              <a:tabLst>
                <a:tab pos="3413912" algn="l"/>
              </a:tabLst>
            </a:pPr>
            <a:endParaRPr lang="en-US" sz="1600" b="1" dirty="0">
              <a:ln w="3175">
                <a:noFill/>
              </a:ln>
              <a:gradFill>
                <a:gsLst>
                  <a:gs pos="0">
                    <a:srgbClr val="FFFFFF"/>
                  </a:gs>
                  <a:gs pos="99000">
                    <a:srgbClr val="FFFFFF"/>
                  </a:gs>
                </a:gsLst>
                <a:path path="circle">
                  <a:fillToRect r="100000" b="100000"/>
                </a:path>
              </a:gradFill>
              <a:latin typeface="Segoe UI Variable Display Semib" pitchFamily="2" charset="0"/>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97000">
                  <a:srgbClr val="D1448B"/>
                </a:gs>
                <a:gs pos="0">
                  <a:srgbClr val="0A6BBA"/>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D4E5F1"/>
          </a:solidFill>
        </p:spPr>
        <p:txBody>
          <a:bodyPr wrap="square" lIns="91440" tIns="91440" rIns="91440" bIns="91440" rtlCol="0" anchor="ctr">
            <a:normAutofit fontScale="77500" lnSpcReduction="20000"/>
          </a:bodyPr>
          <a:lstStyle/>
          <a:p>
            <a:pPr lvl="0" algn="ctr" defTabSz="914367" fontAlgn="base">
              <a:spcBef>
                <a:spcPct val="0"/>
              </a:spcBef>
              <a:spcAft>
                <a:spcPct val="0"/>
              </a:spcAft>
            </a:pPr>
            <a:endParaRPr lang="en-US" sz="1600" b="1" kern="0" dirty="0">
              <a:ln w="3175">
                <a:noFill/>
              </a:ln>
              <a:latin typeface="+mj-lt"/>
              <a:cs typeface="Segoe UI" pitchFamily="34"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2779525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with fiv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F2BC79-102D-A689-479D-04975F1BD0A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D4E5F1"/>
          </a:solidFill>
        </p:spPr>
        <p:txBody>
          <a:bodyPr wrap="square" lIns="91440" tIns="91440" rIns="91440" bIns="91440" rtlCol="0" anchor="ctr">
            <a:normAutofit fontScale="92500" lnSpcReduction="20000"/>
          </a:bodyPr>
          <a:lstStyle/>
          <a:p>
            <a:pPr lvl="0" algn="ctr" defTabSz="914367" fontAlgn="base">
              <a:spcBef>
                <a:spcPct val="0"/>
              </a:spcBef>
              <a:spcAft>
                <a:spcPct val="0"/>
              </a:spcAft>
            </a:pPr>
            <a:endParaRPr lang="en-US" sz="1600" b="1" kern="0" dirty="0">
              <a:ln w="3175">
                <a:noFill/>
              </a:ln>
              <a:latin typeface="+mj-lt"/>
              <a:cs typeface="Segoe UI" pitchFamily="34"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97000">
                      <a:srgbClr val="D1448B"/>
                    </a:gs>
                    <a:gs pos="0">
                      <a:srgbClr val="0A6BBA"/>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2273285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with 10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86DC9-D6BC-E49B-E6EA-7FFDB2BDB1D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115553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4D8740-4202-F451-6117-BAE74779A842}"/>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060559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846782-B069-0CE2-5BB7-7060582C41D0}"/>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586364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0EF1A5-1A1E-4E75-D939-06364EF97DCD}"/>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0953535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26417D-6131-39EC-8B73-F9A03807BD7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718163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meline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4C4C2D-1D4E-7FF6-95F2-8A1045A5802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dirty="0">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flip="none" rotWithShape="1">
            <a:gsLst>
              <a:gs pos="79000">
                <a:srgbClr val="D1448B"/>
              </a:gs>
              <a:gs pos="24000">
                <a:schemeClr val="accent2"/>
              </a:gs>
            </a:gsLst>
            <a:lin ang="13500000" scaled="1"/>
            <a:tileRect/>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4012033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with four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F0D56A-E97E-2CC0-94D6-7BD23AA6611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395191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E1D3C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53011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BDB74A-3DCD-81D3-6C53-D1B3928A0F1F}"/>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flip="none" rotWithShape="1">
                  <a:gsLst>
                    <a:gs pos="97000">
                      <a:srgbClr val="D1448B"/>
                    </a:gs>
                    <a:gs pos="0">
                      <a:srgbClr val="0A6BBA"/>
                    </a:gs>
                  </a:gsLst>
                  <a:path path="rect">
                    <a:fillToRect l="100000" t="100000"/>
                  </a:path>
                  <a:tileRect r="-100000" b="-100000"/>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3300289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74A3D8-E56B-CE21-C818-81C6EF34DF05}"/>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02232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5B6BF2-1AC4-28FB-25AB-0FD6123AEDEA}"/>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938636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47ECA5-E14B-BF21-7A04-86419E4AB6C4}"/>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dirty="0"/>
              <a:t>Video</a:t>
            </a:r>
            <a:endParaRPr lang="en-US" dirty="0"/>
          </a:p>
        </p:txBody>
      </p:sp>
    </p:spTree>
    <p:extLst>
      <p:ext uri="{BB962C8B-B14F-4D97-AF65-F5344CB8AC3E}">
        <p14:creationId xmlns:p14="http://schemas.microsoft.com/office/powerpoint/2010/main" val="948144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D67CE0-3BE9-59D5-8136-5F58AEEE5161}"/>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3067551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Four round photos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202E54-F1A3-730A-F486-F12AC1B2EDA7}"/>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CBE0EF"/>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581111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hree picture content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AAA2D6-F6B1-F246-A1A5-46C7A04C5583}"/>
              </a:ext>
            </a:extLst>
          </p:cNvPr>
          <p:cNvPicPr>
            <a:picLocks noChangeAspect="1"/>
          </p:cNvPicPr>
          <p:nvPr userDrawn="1"/>
        </p:nvPicPr>
        <p:blipFill rotWithShape="1">
          <a:blip r:embed="rId2"/>
          <a:srcRect l="305" t="408"/>
          <a:stretch/>
        </p:blipFill>
        <p:spPr>
          <a:xfrm>
            <a:off x="0"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95188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hree text content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ABFA3F-16F3-4621-BEE9-3192FFFEC90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100000">
                <a:srgbClr val="D1448B"/>
              </a:gs>
              <a:gs pos="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9664662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placehol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9EB16F-4F03-3E08-6495-ACB5A816F72C}"/>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28650368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Quotation slide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22662F-AABD-1B44-DDB8-3C872B438484}"/>
              </a:ext>
            </a:extLst>
          </p:cNvPr>
          <p:cNvPicPr>
            <a:picLocks noChangeAspect="1"/>
          </p:cNvPicPr>
          <p:nvPr userDrawn="1"/>
        </p:nvPicPr>
        <p:blipFill rotWithShape="1">
          <a:blip r:embed="rId2"/>
          <a:srcRect l="305" t="408"/>
          <a:stretch/>
        </p:blipFill>
        <p:spPr>
          <a:xfrm>
            <a:off x="-4153" y="-1"/>
            <a:ext cx="12192000" cy="685800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a:gsLst>
              <a:gs pos="97000">
                <a:srgbClr val="D1448B"/>
              </a:gs>
              <a:gs pos="0">
                <a:srgbClr val="0A6BBA"/>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1806351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08539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D57F-552B-8774-7188-13BA49CD2652}"/>
              </a:ext>
            </a:extLst>
          </p:cNvPr>
          <p:cNvPicPr>
            <a:picLocks noChangeAspect="1"/>
          </p:cNvPicPr>
          <p:nvPr userDrawn="1"/>
        </p:nvPicPr>
        <p:blipFill rotWithShape="1">
          <a:blip r:embed="rId2"/>
          <a:srcRect l="305" t="408"/>
          <a:stretch/>
        </p:blipFill>
        <p:spPr>
          <a:xfrm>
            <a:off x="-4153" y="-1"/>
            <a:ext cx="12192000" cy="685800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16452874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Only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83703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C7E9D1-BB53-6870-78EF-EA4AE7B8BC86}"/>
              </a:ext>
            </a:extLst>
          </p:cNvPr>
          <p:cNvPicPr>
            <a:picLocks noChangeAspect="1"/>
          </p:cNvPicPr>
          <p:nvPr userDrawn="1"/>
        </p:nvPicPr>
        <p:blipFill>
          <a:blip r:embed="rId2"/>
          <a:stretch>
            <a:fillRect/>
          </a:stretch>
        </p:blipFill>
        <p:spPr>
          <a:xfrm>
            <a:off x="3912" y="4284"/>
            <a:ext cx="12184175" cy="6849431"/>
          </a:xfrm>
          <a:prstGeom prst="rect">
            <a:avLst/>
          </a:prstGeom>
        </p:spPr>
      </p:pic>
    </p:spTree>
    <p:extLst>
      <p:ext uri="{BB962C8B-B14F-4D97-AF65-F5344CB8AC3E}">
        <p14:creationId xmlns:p14="http://schemas.microsoft.com/office/powerpoint/2010/main" val="1732717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Agenda slide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285EDB6-6BD9-803E-D877-8A4A53657AF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Oval 3">
            <a:extLst>
              <a:ext uri="{FF2B5EF4-FFF2-40B4-BE49-F238E27FC236}">
                <a16:creationId xmlns:a16="http://schemas.microsoft.com/office/drawing/2014/main" id="{CE525D6D-260D-2074-C66B-0E88E6690C99}"/>
              </a:ext>
            </a:extLst>
          </p:cNvPr>
          <p:cNvSpPr/>
          <p:nvPr userDrawn="1"/>
        </p:nvSpPr>
        <p:spPr bwMode="auto">
          <a:xfrm>
            <a:off x="4132263" y="596900"/>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1</a:t>
            </a:r>
          </a:p>
        </p:txBody>
      </p:sp>
      <p:sp>
        <p:nvSpPr>
          <p:cNvPr id="5" name="Oval 4">
            <a:extLst>
              <a:ext uri="{FF2B5EF4-FFF2-40B4-BE49-F238E27FC236}">
                <a16:creationId xmlns:a16="http://schemas.microsoft.com/office/drawing/2014/main" id="{12154FFE-5468-CB04-52B1-FBCDDDBBB4A3}"/>
              </a:ext>
            </a:extLst>
          </p:cNvPr>
          <p:cNvSpPr/>
          <p:nvPr userDrawn="1"/>
        </p:nvSpPr>
        <p:spPr bwMode="auto">
          <a:xfrm>
            <a:off x="4132263" y="1845072"/>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2</a:t>
            </a:r>
          </a:p>
        </p:txBody>
      </p:sp>
      <p:sp>
        <p:nvSpPr>
          <p:cNvPr id="6" name="Oval 5">
            <a:extLst>
              <a:ext uri="{FF2B5EF4-FFF2-40B4-BE49-F238E27FC236}">
                <a16:creationId xmlns:a16="http://schemas.microsoft.com/office/drawing/2014/main" id="{826D834C-0570-B13B-0866-51C1D070031A}"/>
              </a:ext>
            </a:extLst>
          </p:cNvPr>
          <p:cNvSpPr/>
          <p:nvPr userDrawn="1"/>
        </p:nvSpPr>
        <p:spPr bwMode="auto">
          <a:xfrm>
            <a:off x="4132263" y="3093244"/>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3</a:t>
            </a:r>
          </a:p>
        </p:txBody>
      </p:sp>
      <p:sp>
        <p:nvSpPr>
          <p:cNvPr id="7" name="Oval 6">
            <a:extLst>
              <a:ext uri="{FF2B5EF4-FFF2-40B4-BE49-F238E27FC236}">
                <a16:creationId xmlns:a16="http://schemas.microsoft.com/office/drawing/2014/main" id="{5AC79F46-694E-ED80-8F53-3FA0DFBA4AE6}"/>
              </a:ext>
            </a:extLst>
          </p:cNvPr>
          <p:cNvSpPr/>
          <p:nvPr userDrawn="1"/>
        </p:nvSpPr>
        <p:spPr bwMode="auto">
          <a:xfrm>
            <a:off x="4132263" y="4341416"/>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4</a:t>
            </a:r>
          </a:p>
        </p:txBody>
      </p:sp>
      <p:sp>
        <p:nvSpPr>
          <p:cNvPr id="8" name="Oval 7">
            <a:extLst>
              <a:ext uri="{FF2B5EF4-FFF2-40B4-BE49-F238E27FC236}">
                <a16:creationId xmlns:a16="http://schemas.microsoft.com/office/drawing/2014/main" id="{511AF575-A405-020B-A4A0-59876AB77E46}"/>
              </a:ext>
            </a:extLst>
          </p:cNvPr>
          <p:cNvSpPr/>
          <p:nvPr userDrawn="1"/>
        </p:nvSpPr>
        <p:spPr bwMode="auto">
          <a:xfrm>
            <a:off x="4132263" y="5589588"/>
            <a:ext cx="679450" cy="67945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r>
              <a:rPr lang="en-US" sz="2400" b="1" kern="0" dirty="0">
                <a:ln w="3175">
                  <a:noFill/>
                </a:ln>
                <a:solidFill>
                  <a:schemeClr val="bg1"/>
                </a:solidFill>
                <a:latin typeface="+mj-lt"/>
                <a:cs typeface="Segoe UI" pitchFamily="34" charset="0"/>
              </a:rPr>
              <a:t>05</a:t>
            </a:r>
          </a:p>
        </p:txBody>
      </p:sp>
      <p:cxnSp>
        <p:nvCxnSpPr>
          <p:cNvPr id="9" name="Straight Connector 8">
            <a:extLst>
              <a:ext uri="{FF2B5EF4-FFF2-40B4-BE49-F238E27FC236}">
                <a16:creationId xmlns:a16="http://schemas.microsoft.com/office/drawing/2014/main" id="{232BD42B-5FC5-7EDB-BB20-23C2938B3144}"/>
              </a:ext>
              <a:ext uri="{C183D7F6-B498-43B3-948B-1728B52AA6E4}">
                <adec:decorative xmlns:adec="http://schemas.microsoft.com/office/drawing/2017/decorative" val="1"/>
              </a:ext>
            </a:extLst>
          </p:cNvPr>
          <p:cNvCxnSpPr>
            <a:cxnSpLocks/>
          </p:cNvCxnSpPr>
          <p:nvPr userDrawn="1"/>
        </p:nvCxnSpPr>
        <p:spPr>
          <a:xfrm>
            <a:off x="5041900" y="1560711"/>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B2648914-7316-BBF9-1979-5EACEBE28481}"/>
              </a:ext>
            </a:extLst>
          </p:cNvPr>
          <p:cNvSpPr>
            <a:spLocks noGrp="1"/>
          </p:cNvSpPr>
          <p:nvPr>
            <p:ph type="body" sz="quarter" idx="10"/>
          </p:nvPr>
        </p:nvSpPr>
        <p:spPr>
          <a:xfrm>
            <a:off x="5041900" y="751959"/>
            <a:ext cx="6578600" cy="369332"/>
          </a:xfrm>
        </p:spPr>
        <p:txBody>
          <a:bodyPr anchor="ctr"/>
          <a:lstStyle>
            <a:lvl1pPr marL="0" indent="0">
              <a:buNone/>
              <a:defRPr sz="24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FB5A3BDB-77C2-5DA6-DD97-A74AD66D6BA3}"/>
              </a:ext>
              <a:ext uri="{C183D7F6-B498-43B3-948B-1728B52AA6E4}">
                <adec:decorative xmlns:adec="http://schemas.microsoft.com/office/drawing/2017/decorative" val="1"/>
              </a:ext>
            </a:extLst>
          </p:cNvPr>
          <p:cNvCxnSpPr>
            <a:cxnSpLocks/>
          </p:cNvCxnSpPr>
          <p:nvPr userDrawn="1"/>
        </p:nvCxnSpPr>
        <p:spPr>
          <a:xfrm>
            <a:off x="5041900" y="2808883"/>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CAE5D6-7CD4-CF96-5C91-CE441AF595C4}"/>
              </a:ext>
              <a:ext uri="{C183D7F6-B498-43B3-948B-1728B52AA6E4}">
                <adec:decorative xmlns:adec="http://schemas.microsoft.com/office/drawing/2017/decorative" val="1"/>
              </a:ext>
            </a:extLst>
          </p:cNvPr>
          <p:cNvCxnSpPr>
            <a:cxnSpLocks/>
          </p:cNvCxnSpPr>
          <p:nvPr userDrawn="1"/>
        </p:nvCxnSpPr>
        <p:spPr>
          <a:xfrm>
            <a:off x="5041900" y="4057055"/>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7EAC72-3DD8-CA91-6E0A-DBD84D439457}"/>
              </a:ext>
              <a:ext uri="{C183D7F6-B498-43B3-948B-1728B52AA6E4}">
                <adec:decorative xmlns:adec="http://schemas.microsoft.com/office/drawing/2017/decorative" val="1"/>
              </a:ext>
            </a:extLst>
          </p:cNvPr>
          <p:cNvCxnSpPr>
            <a:cxnSpLocks/>
          </p:cNvCxnSpPr>
          <p:nvPr userDrawn="1"/>
        </p:nvCxnSpPr>
        <p:spPr>
          <a:xfrm>
            <a:off x="5041900" y="5305227"/>
            <a:ext cx="65786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9">
            <a:extLst>
              <a:ext uri="{FF2B5EF4-FFF2-40B4-BE49-F238E27FC236}">
                <a16:creationId xmlns:a16="http://schemas.microsoft.com/office/drawing/2014/main" id="{208309E8-F01D-C01C-7BD3-699C552BEAAD}"/>
              </a:ext>
            </a:extLst>
          </p:cNvPr>
          <p:cNvSpPr>
            <a:spLocks noGrp="1"/>
          </p:cNvSpPr>
          <p:nvPr>
            <p:ph type="body" sz="quarter" idx="11"/>
          </p:nvPr>
        </p:nvSpPr>
        <p:spPr>
          <a:xfrm>
            <a:off x="5041900" y="2000131"/>
            <a:ext cx="6578600" cy="369332"/>
          </a:xfrm>
        </p:spPr>
        <p:txBody>
          <a:bodyPr anchor="ctr"/>
          <a:lstStyle>
            <a:lvl1pPr marL="0" indent="0">
              <a:buNone/>
              <a:defRPr sz="2400"/>
            </a:lvl1pPr>
          </a:lstStyle>
          <a:p>
            <a:pPr lvl="0"/>
            <a:r>
              <a:rPr lang="en-US"/>
              <a:t>Click to edit Master text styles</a:t>
            </a:r>
          </a:p>
        </p:txBody>
      </p:sp>
      <p:sp>
        <p:nvSpPr>
          <p:cNvPr id="22" name="Text Placeholder 19">
            <a:extLst>
              <a:ext uri="{FF2B5EF4-FFF2-40B4-BE49-F238E27FC236}">
                <a16:creationId xmlns:a16="http://schemas.microsoft.com/office/drawing/2014/main" id="{41D8780B-A2F3-0AF0-CB21-59595D75ABD4}"/>
              </a:ext>
            </a:extLst>
          </p:cNvPr>
          <p:cNvSpPr>
            <a:spLocks noGrp="1"/>
          </p:cNvSpPr>
          <p:nvPr>
            <p:ph type="body" sz="quarter" idx="12"/>
          </p:nvPr>
        </p:nvSpPr>
        <p:spPr>
          <a:xfrm>
            <a:off x="5041900" y="3248303"/>
            <a:ext cx="6578600" cy="369332"/>
          </a:xfrm>
        </p:spPr>
        <p:txBody>
          <a:bodyPr anchor="ctr"/>
          <a:lstStyle>
            <a:lvl1pPr marL="0" indent="0">
              <a:buNone/>
              <a:defRPr sz="2400"/>
            </a:lvl1pPr>
          </a:lstStyle>
          <a:p>
            <a:pPr lvl="0"/>
            <a:r>
              <a:rPr lang="en-US"/>
              <a:t>Click to edit Master text styles</a:t>
            </a:r>
          </a:p>
        </p:txBody>
      </p:sp>
      <p:sp>
        <p:nvSpPr>
          <p:cNvPr id="23" name="Text Placeholder 19">
            <a:extLst>
              <a:ext uri="{FF2B5EF4-FFF2-40B4-BE49-F238E27FC236}">
                <a16:creationId xmlns:a16="http://schemas.microsoft.com/office/drawing/2014/main" id="{DDDDD63C-8BF5-A3B3-6267-4D98015A716A}"/>
              </a:ext>
            </a:extLst>
          </p:cNvPr>
          <p:cNvSpPr>
            <a:spLocks noGrp="1"/>
          </p:cNvSpPr>
          <p:nvPr>
            <p:ph type="body" sz="quarter" idx="13"/>
          </p:nvPr>
        </p:nvSpPr>
        <p:spPr>
          <a:xfrm>
            <a:off x="5041900" y="4496475"/>
            <a:ext cx="6578600" cy="369332"/>
          </a:xfrm>
        </p:spPr>
        <p:txBody>
          <a:bodyPr anchor="ctr"/>
          <a:lstStyle>
            <a:lvl1pPr marL="0" indent="0">
              <a:buNone/>
              <a:defRPr sz="2400"/>
            </a:lvl1pPr>
          </a:lstStyle>
          <a:p>
            <a:pPr lvl="0"/>
            <a:r>
              <a:rPr lang="en-US"/>
              <a:t>Click to edit Master text styles</a:t>
            </a:r>
          </a:p>
        </p:txBody>
      </p:sp>
      <p:sp>
        <p:nvSpPr>
          <p:cNvPr id="24" name="Text Placeholder 19">
            <a:extLst>
              <a:ext uri="{FF2B5EF4-FFF2-40B4-BE49-F238E27FC236}">
                <a16:creationId xmlns:a16="http://schemas.microsoft.com/office/drawing/2014/main" id="{213DD9A8-2279-8AA1-74D5-0ACC8E07D4A0}"/>
              </a:ext>
            </a:extLst>
          </p:cNvPr>
          <p:cNvSpPr>
            <a:spLocks noGrp="1"/>
          </p:cNvSpPr>
          <p:nvPr>
            <p:ph type="body" sz="quarter" idx="14"/>
          </p:nvPr>
        </p:nvSpPr>
        <p:spPr>
          <a:xfrm>
            <a:off x="5041900" y="5744647"/>
            <a:ext cx="6578600" cy="369332"/>
          </a:xfrm>
        </p:spPr>
        <p:txBody>
          <a:bodyPr anchor="ctr"/>
          <a:lstStyle>
            <a:lvl1pPr marL="0" indent="0">
              <a:buNone/>
              <a:defRPr sz="2400"/>
            </a:lvl1pPr>
          </a:lstStyle>
          <a:p>
            <a:pPr lvl="0"/>
            <a:r>
              <a:rPr lang="en-US"/>
              <a:t>Click to edit Master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3152001"/>
            <a:ext cx="3069337" cy="553998"/>
          </a:xfrm>
        </p:spPr>
        <p:txBody>
          <a:bodyPr/>
          <a:lstStyle>
            <a:lvl1pPr algn="l">
              <a:defRPr/>
            </a:lvl1pPr>
          </a:lstStyle>
          <a:p>
            <a:r>
              <a:rPr lang="en-US"/>
              <a:t>Agenda</a:t>
            </a:r>
          </a:p>
        </p:txBody>
      </p:sp>
    </p:spTree>
    <p:extLst>
      <p:ext uri="{BB962C8B-B14F-4D97-AF65-F5344CB8AC3E}">
        <p14:creationId xmlns:p14="http://schemas.microsoft.com/office/powerpoint/2010/main" val="11533484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6">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Four text with icons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7BF12D-09EE-56E8-2400-01AFDD7304E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Oval 3">
            <a:extLst>
              <a:ext uri="{FF2B5EF4-FFF2-40B4-BE49-F238E27FC236}">
                <a16:creationId xmlns:a16="http://schemas.microsoft.com/office/drawing/2014/main" id="{94BAA5F2-1985-6AE4-F31F-92073AA35174}"/>
              </a:ext>
            </a:extLst>
          </p:cNvPr>
          <p:cNvSpPr/>
          <p:nvPr userDrawn="1"/>
        </p:nvSpPr>
        <p:spPr bwMode="auto">
          <a:xfrm>
            <a:off x="1297190"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sp>
        <p:nvSpPr>
          <p:cNvPr id="9" name="Oval 8">
            <a:extLst>
              <a:ext uri="{FF2B5EF4-FFF2-40B4-BE49-F238E27FC236}">
                <a16:creationId xmlns:a16="http://schemas.microsoft.com/office/drawing/2014/main" id="{BA18B0A2-D289-7D64-6DC4-F6915EDEA071}"/>
              </a:ext>
            </a:extLst>
          </p:cNvPr>
          <p:cNvSpPr/>
          <p:nvPr userDrawn="1"/>
        </p:nvSpPr>
        <p:spPr bwMode="auto">
          <a:xfrm>
            <a:off x="410934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0" name="Oval 9">
            <a:extLst>
              <a:ext uri="{FF2B5EF4-FFF2-40B4-BE49-F238E27FC236}">
                <a16:creationId xmlns:a16="http://schemas.microsoft.com/office/drawing/2014/main" id="{597D8BCE-6F2C-4C63-39C7-92B6235F0531}"/>
              </a:ext>
            </a:extLst>
          </p:cNvPr>
          <p:cNvSpPr/>
          <p:nvPr userDrawn="1"/>
        </p:nvSpPr>
        <p:spPr bwMode="auto">
          <a:xfrm>
            <a:off x="6921502"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54BD3884-9623-D231-B393-89D173593358}"/>
              </a:ext>
            </a:extLst>
          </p:cNvPr>
          <p:cNvSpPr/>
          <p:nvPr userDrawn="1"/>
        </p:nvSpPr>
        <p:spPr bwMode="auto">
          <a:xfrm>
            <a:off x="9733656" y="2345208"/>
            <a:ext cx="1162742" cy="116274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93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Four text with gradient icons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F7ED63-7025-40F7-4E5C-40BE912DCC1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15" name="Text Placeholder 19">
            <a:extLst>
              <a:ext uri="{FF2B5EF4-FFF2-40B4-BE49-F238E27FC236}">
                <a16:creationId xmlns:a16="http://schemas.microsoft.com/office/drawing/2014/main" id="{035DA256-9E60-AA2A-5FB6-DD574288AD1C}"/>
              </a:ext>
            </a:extLst>
          </p:cNvPr>
          <p:cNvSpPr>
            <a:spLocks noGrp="1"/>
          </p:cNvSpPr>
          <p:nvPr>
            <p:ph type="body" sz="quarter" idx="10" hasCustomPrompt="1"/>
          </p:nvPr>
        </p:nvSpPr>
        <p:spPr>
          <a:xfrm>
            <a:off x="584200" y="4035335"/>
            <a:ext cx="2588722" cy="369332"/>
          </a:xfrm>
        </p:spPr>
        <p:txBody>
          <a:bodyPr anchor="t"/>
          <a:lstStyle>
            <a:lvl1pPr marL="0" indent="0" algn="ctr">
              <a:buNone/>
              <a:defRPr sz="2400">
                <a:latin typeface="+mj-lt"/>
              </a:defRPr>
            </a:lvl1pPr>
          </a:lstStyle>
          <a:p>
            <a:pPr lvl="0"/>
            <a:r>
              <a:rPr lang="en-US"/>
              <a:t>Insert text</a:t>
            </a:r>
          </a:p>
        </p:txBody>
      </p:sp>
      <p:sp>
        <p:nvSpPr>
          <p:cNvPr id="16" name="Text Placeholder 19">
            <a:extLst>
              <a:ext uri="{FF2B5EF4-FFF2-40B4-BE49-F238E27FC236}">
                <a16:creationId xmlns:a16="http://schemas.microsoft.com/office/drawing/2014/main" id="{CBA1C3C9-28D1-F4A4-2A72-B6D7F23A98F5}"/>
              </a:ext>
            </a:extLst>
          </p:cNvPr>
          <p:cNvSpPr>
            <a:spLocks noGrp="1"/>
          </p:cNvSpPr>
          <p:nvPr>
            <p:ph type="body" sz="quarter" idx="11" hasCustomPrompt="1"/>
          </p:nvPr>
        </p:nvSpPr>
        <p:spPr>
          <a:xfrm>
            <a:off x="3396356" y="4035335"/>
            <a:ext cx="2588722" cy="369332"/>
          </a:xfrm>
        </p:spPr>
        <p:txBody>
          <a:bodyPr anchor="t"/>
          <a:lstStyle>
            <a:lvl1pPr marL="0" indent="0" algn="ctr">
              <a:buNone/>
              <a:defRPr sz="2400">
                <a:latin typeface="+mj-lt"/>
              </a:defRPr>
            </a:lvl1pPr>
          </a:lstStyle>
          <a:p>
            <a:pPr lvl="0"/>
            <a:r>
              <a:rPr lang="en-US"/>
              <a:t>Insert text</a:t>
            </a:r>
          </a:p>
        </p:txBody>
      </p:sp>
      <p:sp>
        <p:nvSpPr>
          <p:cNvPr id="17" name="Text Placeholder 19">
            <a:extLst>
              <a:ext uri="{FF2B5EF4-FFF2-40B4-BE49-F238E27FC236}">
                <a16:creationId xmlns:a16="http://schemas.microsoft.com/office/drawing/2014/main" id="{0C698C59-5904-EED5-A6E8-1137E966B31B}"/>
              </a:ext>
            </a:extLst>
          </p:cNvPr>
          <p:cNvSpPr>
            <a:spLocks noGrp="1"/>
          </p:cNvSpPr>
          <p:nvPr>
            <p:ph type="body" sz="quarter" idx="12" hasCustomPrompt="1"/>
          </p:nvPr>
        </p:nvSpPr>
        <p:spPr>
          <a:xfrm>
            <a:off x="6208512" y="4035335"/>
            <a:ext cx="2588722" cy="369332"/>
          </a:xfrm>
        </p:spPr>
        <p:txBody>
          <a:bodyPr anchor="t"/>
          <a:lstStyle>
            <a:lvl1pPr marL="0" indent="0" algn="ctr">
              <a:buNone/>
              <a:defRPr sz="2400">
                <a:latin typeface="+mj-lt"/>
              </a:defRPr>
            </a:lvl1pPr>
          </a:lstStyle>
          <a:p>
            <a:pPr lvl="0"/>
            <a:r>
              <a:rPr lang="en-US"/>
              <a:t>Insert text</a:t>
            </a:r>
          </a:p>
        </p:txBody>
      </p:sp>
      <p:sp>
        <p:nvSpPr>
          <p:cNvPr id="18" name="Text Placeholder 19">
            <a:extLst>
              <a:ext uri="{FF2B5EF4-FFF2-40B4-BE49-F238E27FC236}">
                <a16:creationId xmlns:a16="http://schemas.microsoft.com/office/drawing/2014/main" id="{96B97E0D-F9B3-DA87-F78F-132EA21B6C34}"/>
              </a:ext>
            </a:extLst>
          </p:cNvPr>
          <p:cNvSpPr>
            <a:spLocks noGrp="1"/>
          </p:cNvSpPr>
          <p:nvPr>
            <p:ph type="body" sz="quarter" idx="13" hasCustomPrompt="1"/>
          </p:nvPr>
        </p:nvSpPr>
        <p:spPr>
          <a:xfrm>
            <a:off x="9020666" y="4035335"/>
            <a:ext cx="2588722" cy="369332"/>
          </a:xfrm>
        </p:spPr>
        <p:txBody>
          <a:bodyPr anchor="t"/>
          <a:lstStyle>
            <a:lvl1pPr marL="0" indent="0" algn="ctr">
              <a:buNone/>
              <a:defRPr sz="2400">
                <a:latin typeface="+mj-lt"/>
              </a:defRPr>
            </a:lvl1pPr>
          </a:lstStyle>
          <a:p>
            <a:pPr lvl="0"/>
            <a:r>
              <a:rPr lang="en-US"/>
              <a:t>Insert text</a:t>
            </a:r>
          </a:p>
        </p:txBody>
      </p:sp>
      <p:cxnSp>
        <p:nvCxnSpPr>
          <p:cNvPr id="12" name="Straight Connector 11">
            <a:extLst>
              <a:ext uri="{FF2B5EF4-FFF2-40B4-BE49-F238E27FC236}">
                <a16:creationId xmlns:a16="http://schemas.microsoft.com/office/drawing/2014/main" id="{955E410E-34D4-1FC8-FCC4-A5EC5A697DDB}"/>
              </a:ext>
            </a:extLst>
          </p:cNvPr>
          <p:cNvCxnSpPr>
            <a:cxnSpLocks/>
          </p:cNvCxnSpPr>
          <p:nvPr userDrawn="1"/>
        </p:nvCxnSpPr>
        <p:spPr>
          <a:xfrm>
            <a:off x="3284639"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BEABFF-FFDC-88C2-35CD-F97DD65AC712}"/>
              </a:ext>
            </a:extLst>
          </p:cNvPr>
          <p:cNvCxnSpPr>
            <a:cxnSpLocks/>
          </p:cNvCxnSpPr>
          <p:nvPr userDrawn="1"/>
        </p:nvCxnSpPr>
        <p:spPr>
          <a:xfrm>
            <a:off x="6096795"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818B8F-6480-997F-098C-005BA8B79D0E}"/>
              </a:ext>
            </a:extLst>
          </p:cNvPr>
          <p:cNvCxnSpPr>
            <a:cxnSpLocks/>
          </p:cNvCxnSpPr>
          <p:nvPr userDrawn="1"/>
        </p:nvCxnSpPr>
        <p:spPr>
          <a:xfrm>
            <a:off x="8908951" y="40353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83512C4D-2915-D7CC-93A1-7574E42D71F7}"/>
              </a:ext>
            </a:extLst>
          </p:cNvPr>
          <p:cNvSpPr/>
          <p:nvPr userDrawn="1"/>
        </p:nvSpPr>
        <p:spPr bwMode="auto">
          <a:xfrm>
            <a:off x="1297190" y="2345208"/>
            <a:ext cx="1162742" cy="1162742"/>
          </a:xfrm>
          <a:prstGeom prst="ellipse">
            <a:avLst/>
          </a:prstGeom>
          <a:gradFill flip="none" rotWithShape="1">
            <a:gsLst>
              <a:gs pos="77000">
                <a:srgbClr val="0D72C4"/>
              </a:gs>
              <a:gs pos="0">
                <a:srgbClr val="9D42BB"/>
              </a:gs>
            </a:gsLst>
            <a:path path="circle">
              <a:fillToRect l="100000" t="100000"/>
            </a:path>
            <a:tileRect r="-100000" b="-100000"/>
          </a:gradFill>
          <a:ln>
            <a:noFill/>
          </a:ln>
          <a:effectLst/>
        </p:spPr>
        <p:txBody>
          <a:bodyPr wrap="square" lIns="0" tIns="0" rIns="0" bIns="0" anchor="ctr" anchorCtr="0">
            <a:noAutofit/>
          </a:bodyPr>
          <a:lstStyle/>
          <a:p>
            <a:pPr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6" name="Oval 5">
            <a:extLst>
              <a:ext uri="{FF2B5EF4-FFF2-40B4-BE49-F238E27FC236}">
                <a16:creationId xmlns:a16="http://schemas.microsoft.com/office/drawing/2014/main" id="{F4A6AB87-230A-83C2-8A28-162D928F6B40}"/>
              </a:ext>
            </a:extLst>
          </p:cNvPr>
          <p:cNvSpPr/>
          <p:nvPr userDrawn="1"/>
        </p:nvSpPr>
        <p:spPr bwMode="auto">
          <a:xfrm>
            <a:off x="4109346" y="2345208"/>
            <a:ext cx="1162742" cy="1162742"/>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
        <p:nvSpPr>
          <p:cNvPr id="7" name="Oval 6">
            <a:extLst>
              <a:ext uri="{FF2B5EF4-FFF2-40B4-BE49-F238E27FC236}">
                <a16:creationId xmlns:a16="http://schemas.microsoft.com/office/drawing/2014/main" id="{2C004A13-B52F-B583-6B1F-E376B63D0210}"/>
              </a:ext>
            </a:extLst>
          </p:cNvPr>
          <p:cNvSpPr/>
          <p:nvPr userDrawn="1"/>
        </p:nvSpPr>
        <p:spPr bwMode="auto">
          <a:xfrm>
            <a:off x="6921502" y="2345208"/>
            <a:ext cx="1162742" cy="1162742"/>
          </a:xfrm>
          <a:prstGeom prst="ellipse">
            <a:avLst/>
          </a:prstGeom>
          <a:gradFill flip="none" rotWithShape="1">
            <a:gsLst>
              <a:gs pos="79000">
                <a:srgbClr val="D1448B"/>
              </a:gs>
              <a:gs pos="24000">
                <a:schemeClr val="accent2"/>
              </a:gs>
            </a:gsLst>
            <a:lin ang="13500000" scaled="1"/>
            <a:tileRect/>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8" name="Oval 7">
            <a:extLst>
              <a:ext uri="{FF2B5EF4-FFF2-40B4-BE49-F238E27FC236}">
                <a16:creationId xmlns:a16="http://schemas.microsoft.com/office/drawing/2014/main" id="{9AFEC9CE-0ED1-5DF7-E15E-778AA4DD398A}"/>
              </a:ext>
            </a:extLst>
          </p:cNvPr>
          <p:cNvSpPr/>
          <p:nvPr userDrawn="1"/>
        </p:nvSpPr>
        <p:spPr bwMode="auto">
          <a:xfrm>
            <a:off x="9733656" y="2345208"/>
            <a:ext cx="1162742" cy="1162742"/>
          </a:xfrm>
          <a:prstGeom prst="ellipse">
            <a:avLst/>
          </a:prstGeom>
          <a:gradFill flip="none" rotWithShape="1">
            <a:gsLst>
              <a:gs pos="79000">
                <a:srgbClr val="C03BC4"/>
              </a:gs>
              <a:gs pos="35000">
                <a:srgbClr val="D1448B"/>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dirty="0">
              <a:ln w="3175">
                <a:noFill/>
              </a:ln>
              <a:gradFill flip="none" rotWithShape="1">
                <a:gsLst>
                  <a:gs pos="20183">
                    <a:srgbClr val="FFFFFF"/>
                  </a:gs>
                  <a:gs pos="42000">
                    <a:srgbClr val="FFFFFF"/>
                  </a:gs>
                </a:gsLst>
                <a:lin ang="2700000" scaled="0"/>
                <a:tileRect/>
              </a:gradFill>
              <a:ea typeface="+mn-lt"/>
              <a:cs typeface="+mn-lt"/>
              <a:sym typeface="+mn-lt"/>
            </a:endParaRPr>
          </a:p>
        </p:txBody>
      </p:sp>
    </p:spTree>
    <p:extLst>
      <p:ext uri="{BB962C8B-B14F-4D97-AF65-F5344CB8AC3E}">
        <p14:creationId xmlns:p14="http://schemas.microsoft.com/office/powerpoint/2010/main" val="2349958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Five text with icons Pi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2D0882C-5CF8-0E56-4DC9-F5DD7757825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AA620CD4-AE48-F5D0-F071-A02B419C989B}"/>
              </a:ext>
              <a:ext uri="{C183D7F6-B498-43B3-948B-1728B52AA6E4}">
                <adec:decorative xmlns:adec="http://schemas.microsoft.com/office/drawing/2017/decorative" val="1"/>
              </a:ext>
            </a:extLst>
          </p:cNvPr>
          <p:cNvSpPr/>
          <p:nvPr userDrawn="1"/>
        </p:nvSpPr>
        <p:spPr bwMode="auto">
          <a:xfrm>
            <a:off x="592137" y="1857830"/>
            <a:ext cx="11007726" cy="3743233"/>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9" name="Oval 8">
            <a:extLst>
              <a:ext uri="{FF2B5EF4-FFF2-40B4-BE49-F238E27FC236}">
                <a16:creationId xmlns:a16="http://schemas.microsoft.com/office/drawing/2014/main" id="{80302D8E-593F-F4E7-FC1C-38D795EC96B9}"/>
              </a:ext>
            </a:extLst>
          </p:cNvPr>
          <p:cNvSpPr/>
          <p:nvPr userDrawn="1"/>
        </p:nvSpPr>
        <p:spPr bwMode="auto">
          <a:xfrm>
            <a:off x="1284198"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3895635"/>
            <a:ext cx="2010049" cy="369332"/>
          </a:xfrm>
        </p:spPr>
        <p:txBody>
          <a:bodyPr anchor="t"/>
          <a:lstStyle>
            <a:lvl1pPr marL="0" indent="0" algn="ctr">
              <a:buNone/>
              <a:defRPr sz="2400">
                <a:latin typeface="+mj-lt"/>
              </a:defRPr>
            </a:lvl1pPr>
          </a:lstStyle>
          <a:p>
            <a:pPr lvl="0"/>
            <a:r>
              <a:rPr lang="en-US"/>
              <a:t>Insert text</a:t>
            </a:r>
          </a:p>
        </p:txBody>
      </p:sp>
      <p:sp>
        <p:nvSpPr>
          <p:cNvPr id="5" name="Text Placeholder 19">
            <a:extLst>
              <a:ext uri="{FF2B5EF4-FFF2-40B4-BE49-F238E27FC236}">
                <a16:creationId xmlns:a16="http://schemas.microsoft.com/office/drawing/2014/main" id="{2A27CA04-DD6C-DA7E-53A6-137B88FAAFA5}"/>
              </a:ext>
            </a:extLst>
          </p:cNvPr>
          <p:cNvSpPr>
            <a:spLocks noGrp="1"/>
          </p:cNvSpPr>
          <p:nvPr>
            <p:ph type="body" sz="quarter" idx="11" hasCustomPrompt="1"/>
          </p:nvPr>
        </p:nvSpPr>
        <p:spPr>
          <a:xfrm>
            <a:off x="2907437" y="3895635"/>
            <a:ext cx="2010049" cy="369332"/>
          </a:xfrm>
        </p:spPr>
        <p:txBody>
          <a:bodyPr anchor="t"/>
          <a:lstStyle>
            <a:lvl1pPr marL="0" indent="0" algn="ctr">
              <a:buNone/>
              <a:defRPr sz="2400">
                <a:latin typeface="+mj-lt"/>
              </a:defRPr>
            </a:lvl1pPr>
          </a:lstStyle>
          <a:p>
            <a:pPr lvl="0"/>
            <a:r>
              <a:rPr lang="en-US"/>
              <a:t>Insert text</a:t>
            </a:r>
          </a:p>
        </p:txBody>
      </p:sp>
      <p:sp>
        <p:nvSpPr>
          <p:cNvPr id="6" name="Text Placeholder 19">
            <a:extLst>
              <a:ext uri="{FF2B5EF4-FFF2-40B4-BE49-F238E27FC236}">
                <a16:creationId xmlns:a16="http://schemas.microsoft.com/office/drawing/2014/main" id="{E361BC5D-8B35-74E1-026F-66FAD8E0F396}"/>
              </a:ext>
            </a:extLst>
          </p:cNvPr>
          <p:cNvSpPr>
            <a:spLocks noGrp="1"/>
          </p:cNvSpPr>
          <p:nvPr>
            <p:ph type="body" sz="quarter" idx="12" hasCustomPrompt="1"/>
          </p:nvPr>
        </p:nvSpPr>
        <p:spPr>
          <a:xfrm>
            <a:off x="5090974" y="3895635"/>
            <a:ext cx="2010049" cy="369332"/>
          </a:xfrm>
        </p:spPr>
        <p:txBody>
          <a:bodyPr anchor="t"/>
          <a:lstStyle>
            <a:lvl1pPr marL="0" indent="0" algn="ctr">
              <a:buNone/>
              <a:defRPr sz="2400">
                <a:latin typeface="+mj-lt"/>
              </a:defRPr>
            </a:lvl1pPr>
          </a:lstStyle>
          <a:p>
            <a:pPr lvl="0"/>
            <a:r>
              <a:rPr lang="en-US"/>
              <a:t>Insert text</a:t>
            </a:r>
          </a:p>
        </p:txBody>
      </p:sp>
      <p:sp>
        <p:nvSpPr>
          <p:cNvPr id="7" name="Text Placeholder 19">
            <a:extLst>
              <a:ext uri="{FF2B5EF4-FFF2-40B4-BE49-F238E27FC236}">
                <a16:creationId xmlns:a16="http://schemas.microsoft.com/office/drawing/2014/main" id="{58FF01AC-40EC-E68C-1720-0BB340AC5875}"/>
              </a:ext>
            </a:extLst>
          </p:cNvPr>
          <p:cNvSpPr>
            <a:spLocks noGrp="1"/>
          </p:cNvSpPr>
          <p:nvPr>
            <p:ph type="body" sz="quarter" idx="13" hasCustomPrompt="1"/>
          </p:nvPr>
        </p:nvSpPr>
        <p:spPr>
          <a:xfrm>
            <a:off x="7274511" y="3895635"/>
            <a:ext cx="2010049" cy="369332"/>
          </a:xfrm>
        </p:spPr>
        <p:txBody>
          <a:bodyPr anchor="t"/>
          <a:lstStyle>
            <a:lvl1pPr marL="0" indent="0" algn="ctr">
              <a:buNone/>
              <a:defRPr sz="2400">
                <a:latin typeface="+mj-lt"/>
              </a:defRPr>
            </a:lvl1pPr>
          </a:lstStyle>
          <a:p>
            <a:pPr lvl="0"/>
            <a:r>
              <a:rPr lang="en-US"/>
              <a:t>Insert text</a:t>
            </a:r>
          </a:p>
        </p:txBody>
      </p:sp>
      <p:sp>
        <p:nvSpPr>
          <p:cNvPr id="8" name="Text Placeholder 19">
            <a:extLst>
              <a:ext uri="{FF2B5EF4-FFF2-40B4-BE49-F238E27FC236}">
                <a16:creationId xmlns:a16="http://schemas.microsoft.com/office/drawing/2014/main" id="{61EAA826-EAD4-46FD-0B96-90D91A8A5F8E}"/>
              </a:ext>
            </a:extLst>
          </p:cNvPr>
          <p:cNvSpPr>
            <a:spLocks noGrp="1"/>
          </p:cNvSpPr>
          <p:nvPr>
            <p:ph type="body" sz="quarter" idx="14" hasCustomPrompt="1"/>
          </p:nvPr>
        </p:nvSpPr>
        <p:spPr>
          <a:xfrm>
            <a:off x="9458051" y="3895635"/>
            <a:ext cx="2010049" cy="369332"/>
          </a:xfrm>
        </p:spPr>
        <p:txBody>
          <a:bodyPr anchor="t"/>
          <a:lstStyle>
            <a:lvl1pPr marL="0" indent="0" algn="ctr">
              <a:buNone/>
              <a:defRPr sz="2400">
                <a:latin typeface="+mj-lt"/>
              </a:defRPr>
            </a:lvl1pPr>
          </a:lstStyle>
          <a:p>
            <a:pPr lvl="0"/>
            <a:r>
              <a:rPr lang="en-US"/>
              <a:t>Insert text</a:t>
            </a:r>
          </a:p>
        </p:txBody>
      </p:sp>
      <p:sp>
        <p:nvSpPr>
          <p:cNvPr id="22" name="Oval 21">
            <a:extLst>
              <a:ext uri="{FF2B5EF4-FFF2-40B4-BE49-F238E27FC236}">
                <a16:creationId xmlns:a16="http://schemas.microsoft.com/office/drawing/2014/main" id="{CC59FC60-8CEE-E99E-2D8E-C4346C1F010B}"/>
              </a:ext>
            </a:extLst>
          </p:cNvPr>
          <p:cNvSpPr/>
          <p:nvPr userDrawn="1"/>
        </p:nvSpPr>
        <p:spPr bwMode="auto">
          <a:xfrm>
            <a:off x="3467736"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61D67296-26A0-866C-5FE5-BC993DAC01BD}"/>
              </a:ext>
            </a:extLst>
          </p:cNvPr>
          <p:cNvSpPr/>
          <p:nvPr userDrawn="1"/>
        </p:nvSpPr>
        <p:spPr bwMode="auto">
          <a:xfrm>
            <a:off x="5651274"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936BE10E-97C0-1F95-0CC4-9E127EF0D9F5}"/>
              </a:ext>
            </a:extLst>
          </p:cNvPr>
          <p:cNvSpPr/>
          <p:nvPr userDrawn="1"/>
        </p:nvSpPr>
        <p:spPr bwMode="auto">
          <a:xfrm>
            <a:off x="7834812"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16B2DD31-682E-7BA2-0600-55E436632CB1}"/>
              </a:ext>
            </a:extLst>
          </p:cNvPr>
          <p:cNvSpPr/>
          <p:nvPr userDrawn="1"/>
        </p:nvSpPr>
        <p:spPr bwMode="auto">
          <a:xfrm>
            <a:off x="10018349" y="250884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0E35D61B-329B-2D7C-53D6-13DF67E5BF88}"/>
              </a:ext>
            </a:extLst>
          </p:cNvPr>
          <p:cNvCxnSpPr>
            <a:cxnSpLocks/>
          </p:cNvCxnSpPr>
          <p:nvPr userDrawn="1"/>
        </p:nvCxnSpPr>
        <p:spPr>
          <a:xfrm>
            <a:off x="2820693"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E0F193-B7E7-E111-CF51-19C3420F51F5}"/>
              </a:ext>
            </a:extLst>
          </p:cNvPr>
          <p:cNvCxnSpPr>
            <a:cxnSpLocks/>
          </p:cNvCxnSpPr>
          <p:nvPr userDrawn="1"/>
        </p:nvCxnSpPr>
        <p:spPr>
          <a:xfrm>
            <a:off x="5004230"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5A6872-D4D8-1512-53F9-6DAA88447696}"/>
              </a:ext>
            </a:extLst>
          </p:cNvPr>
          <p:cNvCxnSpPr>
            <a:cxnSpLocks/>
          </p:cNvCxnSpPr>
          <p:nvPr userDrawn="1"/>
        </p:nvCxnSpPr>
        <p:spPr>
          <a:xfrm>
            <a:off x="7187767"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75BA12-F8F6-A6FD-2E4E-6F8B604B7510}"/>
              </a:ext>
            </a:extLst>
          </p:cNvPr>
          <p:cNvCxnSpPr>
            <a:cxnSpLocks/>
          </p:cNvCxnSpPr>
          <p:nvPr userDrawn="1"/>
        </p:nvCxnSpPr>
        <p:spPr>
          <a:xfrm>
            <a:off x="9371304" y="3895635"/>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3F78804-0B24-26FA-24BD-7E88AEE451DC}"/>
              </a:ext>
            </a:extLst>
          </p:cNvPr>
          <p:cNvSpPr/>
          <p:nvPr userDrawn="1"/>
        </p:nvSpPr>
        <p:spPr bwMode="auto">
          <a:xfrm>
            <a:off x="3149601" y="5270500"/>
            <a:ext cx="5892800" cy="622892"/>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2" name="Text Placeholder 19">
            <a:extLst>
              <a:ext uri="{FF2B5EF4-FFF2-40B4-BE49-F238E27FC236}">
                <a16:creationId xmlns:a16="http://schemas.microsoft.com/office/drawing/2014/main" id="{F0A6D71C-8A01-7D6B-D8F5-F8BD018267F7}"/>
              </a:ext>
            </a:extLst>
          </p:cNvPr>
          <p:cNvSpPr>
            <a:spLocks noGrp="1"/>
          </p:cNvSpPr>
          <p:nvPr>
            <p:ph type="body" sz="quarter" idx="15" hasCustomPrompt="1"/>
          </p:nvPr>
        </p:nvSpPr>
        <p:spPr>
          <a:xfrm>
            <a:off x="3484881" y="5397280"/>
            <a:ext cx="5222240" cy="369332"/>
          </a:xfrm>
        </p:spPr>
        <p:txBody>
          <a:bodyPr anchor="ct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28622059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Five text with icons and Title 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F700E3-0320-DD67-54AF-066AA9F81C4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67CF5FA9-8641-7FA4-F769-F6220A1582C5}"/>
              </a:ext>
              <a:ext uri="{C183D7F6-B498-43B3-948B-1728B52AA6E4}">
                <adec:decorative xmlns:adec="http://schemas.microsoft.com/office/drawing/2017/decorative" val="1"/>
              </a:ext>
            </a:extLst>
          </p:cNvPr>
          <p:cNvSpPr/>
          <p:nvPr userDrawn="1"/>
        </p:nvSpPr>
        <p:spPr bwMode="auto">
          <a:xfrm>
            <a:off x="592137" y="2119086"/>
            <a:ext cx="11007726" cy="3481977"/>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2D9CFB25-37FF-383A-D2E9-5DA03334027D}"/>
              </a:ext>
            </a:extLst>
          </p:cNvPr>
          <p:cNvSpPr/>
          <p:nvPr userDrawn="1"/>
        </p:nvSpPr>
        <p:spPr bwMode="auto">
          <a:xfrm>
            <a:off x="1284198"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2" name="Text Placeholder 19">
            <a:extLst>
              <a:ext uri="{FF2B5EF4-FFF2-40B4-BE49-F238E27FC236}">
                <a16:creationId xmlns:a16="http://schemas.microsoft.com/office/drawing/2014/main" id="{D4801EEC-46FC-9497-DEF0-65D2F1477B4C}"/>
              </a:ext>
            </a:extLst>
          </p:cNvPr>
          <p:cNvSpPr>
            <a:spLocks noGrp="1"/>
          </p:cNvSpPr>
          <p:nvPr>
            <p:ph type="body" sz="quarter" idx="10" hasCustomPrompt="1"/>
          </p:nvPr>
        </p:nvSpPr>
        <p:spPr>
          <a:xfrm>
            <a:off x="723900" y="4490720"/>
            <a:ext cx="2010049" cy="369332"/>
          </a:xfrm>
        </p:spPr>
        <p:txBody>
          <a:bodyPr anchor="t"/>
          <a:lstStyle>
            <a:lvl1pPr marL="0" indent="0" algn="ctr">
              <a:buNone/>
              <a:defRPr sz="2400">
                <a:latin typeface="+mj-lt"/>
              </a:defRPr>
            </a:lvl1pPr>
          </a:lstStyle>
          <a:p>
            <a:pPr lvl="0"/>
            <a:r>
              <a:rPr lang="en-US"/>
              <a:t>Insert text</a:t>
            </a:r>
          </a:p>
        </p:txBody>
      </p:sp>
      <p:sp>
        <p:nvSpPr>
          <p:cNvPr id="38" name="Text Placeholder 19">
            <a:extLst>
              <a:ext uri="{FF2B5EF4-FFF2-40B4-BE49-F238E27FC236}">
                <a16:creationId xmlns:a16="http://schemas.microsoft.com/office/drawing/2014/main" id="{DCE0C84F-E9EE-44D2-6294-58F992CBBB54}"/>
              </a:ext>
            </a:extLst>
          </p:cNvPr>
          <p:cNvSpPr>
            <a:spLocks noGrp="1"/>
          </p:cNvSpPr>
          <p:nvPr>
            <p:ph type="body" sz="quarter" idx="16" hasCustomPrompt="1"/>
          </p:nvPr>
        </p:nvSpPr>
        <p:spPr>
          <a:xfrm>
            <a:off x="2907437" y="4490720"/>
            <a:ext cx="2010049" cy="369332"/>
          </a:xfrm>
        </p:spPr>
        <p:txBody>
          <a:bodyPr anchor="t"/>
          <a:lstStyle>
            <a:lvl1pPr marL="0" indent="0" algn="ctr">
              <a:buNone/>
              <a:defRPr sz="2400">
                <a:latin typeface="+mj-lt"/>
              </a:defRPr>
            </a:lvl1pPr>
          </a:lstStyle>
          <a:p>
            <a:pPr lvl="0"/>
            <a:r>
              <a:rPr lang="en-US"/>
              <a:t>Insert text</a:t>
            </a:r>
          </a:p>
        </p:txBody>
      </p:sp>
      <p:sp>
        <p:nvSpPr>
          <p:cNvPr id="39" name="Text Placeholder 19">
            <a:extLst>
              <a:ext uri="{FF2B5EF4-FFF2-40B4-BE49-F238E27FC236}">
                <a16:creationId xmlns:a16="http://schemas.microsoft.com/office/drawing/2014/main" id="{6431F52C-B113-D2A9-195A-718C8D2FFF97}"/>
              </a:ext>
            </a:extLst>
          </p:cNvPr>
          <p:cNvSpPr>
            <a:spLocks noGrp="1"/>
          </p:cNvSpPr>
          <p:nvPr>
            <p:ph type="body" sz="quarter" idx="17" hasCustomPrompt="1"/>
          </p:nvPr>
        </p:nvSpPr>
        <p:spPr>
          <a:xfrm>
            <a:off x="5090974" y="4490720"/>
            <a:ext cx="2010049" cy="369332"/>
          </a:xfrm>
        </p:spPr>
        <p:txBody>
          <a:bodyPr anchor="t"/>
          <a:lstStyle>
            <a:lvl1pPr marL="0" indent="0" algn="ctr">
              <a:buNone/>
              <a:defRPr sz="2400">
                <a:latin typeface="+mj-lt"/>
              </a:defRPr>
            </a:lvl1pPr>
          </a:lstStyle>
          <a:p>
            <a:pPr lvl="0"/>
            <a:r>
              <a:rPr lang="en-US"/>
              <a:t>Insert text</a:t>
            </a:r>
          </a:p>
        </p:txBody>
      </p:sp>
      <p:sp>
        <p:nvSpPr>
          <p:cNvPr id="40" name="Text Placeholder 19">
            <a:extLst>
              <a:ext uri="{FF2B5EF4-FFF2-40B4-BE49-F238E27FC236}">
                <a16:creationId xmlns:a16="http://schemas.microsoft.com/office/drawing/2014/main" id="{7E4FDF3C-7518-FB6A-C68B-AB92D21ED3C3}"/>
              </a:ext>
            </a:extLst>
          </p:cNvPr>
          <p:cNvSpPr>
            <a:spLocks noGrp="1"/>
          </p:cNvSpPr>
          <p:nvPr>
            <p:ph type="body" sz="quarter" idx="18" hasCustomPrompt="1"/>
          </p:nvPr>
        </p:nvSpPr>
        <p:spPr>
          <a:xfrm>
            <a:off x="7274511" y="4490720"/>
            <a:ext cx="2010049" cy="369332"/>
          </a:xfrm>
        </p:spPr>
        <p:txBody>
          <a:bodyPr anchor="t"/>
          <a:lstStyle>
            <a:lvl1pPr marL="0" indent="0" algn="ctr">
              <a:buNone/>
              <a:defRPr sz="2400">
                <a:latin typeface="+mj-lt"/>
              </a:defRPr>
            </a:lvl1pPr>
          </a:lstStyle>
          <a:p>
            <a:pPr lvl="0"/>
            <a:r>
              <a:rPr lang="en-US"/>
              <a:t>Insert text</a:t>
            </a:r>
          </a:p>
        </p:txBody>
      </p:sp>
      <p:sp>
        <p:nvSpPr>
          <p:cNvPr id="41" name="Text Placeholder 19">
            <a:extLst>
              <a:ext uri="{FF2B5EF4-FFF2-40B4-BE49-F238E27FC236}">
                <a16:creationId xmlns:a16="http://schemas.microsoft.com/office/drawing/2014/main" id="{2B549746-93CF-8D52-AF77-548A64F1E25A}"/>
              </a:ext>
            </a:extLst>
          </p:cNvPr>
          <p:cNvSpPr>
            <a:spLocks noGrp="1"/>
          </p:cNvSpPr>
          <p:nvPr>
            <p:ph type="body" sz="quarter" idx="19" hasCustomPrompt="1"/>
          </p:nvPr>
        </p:nvSpPr>
        <p:spPr>
          <a:xfrm>
            <a:off x="9458051" y="4490720"/>
            <a:ext cx="2010049" cy="369332"/>
          </a:xfrm>
        </p:spPr>
        <p:txBody>
          <a:bodyPr anchor="t"/>
          <a:lstStyle>
            <a:lvl1pPr marL="0" indent="0" algn="ctr">
              <a:buNone/>
              <a:defRPr sz="2400">
                <a:latin typeface="+mj-lt"/>
              </a:defRPr>
            </a:lvl1pPr>
          </a:lstStyle>
          <a:p>
            <a:pPr lvl="0"/>
            <a:r>
              <a:rPr lang="en-US"/>
              <a:t>Insert text</a:t>
            </a:r>
          </a:p>
        </p:txBody>
      </p:sp>
      <p:sp>
        <p:nvSpPr>
          <p:cNvPr id="13" name="Oval 12">
            <a:extLst>
              <a:ext uri="{FF2B5EF4-FFF2-40B4-BE49-F238E27FC236}">
                <a16:creationId xmlns:a16="http://schemas.microsoft.com/office/drawing/2014/main" id="{4AC1951C-8B90-4A4B-3D97-6E287513F183}"/>
              </a:ext>
            </a:extLst>
          </p:cNvPr>
          <p:cNvSpPr/>
          <p:nvPr userDrawn="1"/>
        </p:nvSpPr>
        <p:spPr bwMode="auto">
          <a:xfrm>
            <a:off x="3467736"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D4E00795-4340-EEBA-FBCE-9271ABF662DA}"/>
              </a:ext>
            </a:extLst>
          </p:cNvPr>
          <p:cNvSpPr/>
          <p:nvPr userDrawn="1"/>
        </p:nvSpPr>
        <p:spPr bwMode="auto">
          <a:xfrm>
            <a:off x="5651274"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BCD9BF66-0AE6-FE54-441F-53B91A9BCDEA}"/>
              </a:ext>
            </a:extLst>
          </p:cNvPr>
          <p:cNvSpPr/>
          <p:nvPr userDrawn="1"/>
        </p:nvSpPr>
        <p:spPr bwMode="auto">
          <a:xfrm>
            <a:off x="7834812"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E3FB6A95-DB37-5F58-BF9F-CC7684B5C235}"/>
              </a:ext>
            </a:extLst>
          </p:cNvPr>
          <p:cNvSpPr/>
          <p:nvPr userDrawn="1"/>
        </p:nvSpPr>
        <p:spPr bwMode="auto">
          <a:xfrm>
            <a:off x="10018349" y="3103925"/>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CEE22B22-8822-4D6C-AE38-EA15D4BA3E64}"/>
              </a:ext>
            </a:extLst>
          </p:cNvPr>
          <p:cNvCxnSpPr>
            <a:cxnSpLocks/>
          </p:cNvCxnSpPr>
          <p:nvPr userDrawn="1"/>
        </p:nvCxnSpPr>
        <p:spPr>
          <a:xfrm>
            <a:off x="2820693"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9F2AD-DD77-869B-8983-CFB6DEA06DF6}"/>
              </a:ext>
            </a:extLst>
          </p:cNvPr>
          <p:cNvCxnSpPr>
            <a:cxnSpLocks/>
          </p:cNvCxnSpPr>
          <p:nvPr userDrawn="1"/>
        </p:nvCxnSpPr>
        <p:spPr>
          <a:xfrm>
            <a:off x="5004230"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2582F84-554E-8770-1263-A7D8034F7A7D}"/>
              </a:ext>
            </a:extLst>
          </p:cNvPr>
          <p:cNvCxnSpPr>
            <a:cxnSpLocks/>
          </p:cNvCxnSpPr>
          <p:nvPr userDrawn="1"/>
        </p:nvCxnSpPr>
        <p:spPr>
          <a:xfrm>
            <a:off x="7187767"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6E4BFB-D4FA-2B31-B17C-3405973FB03A}"/>
              </a:ext>
            </a:extLst>
          </p:cNvPr>
          <p:cNvCxnSpPr>
            <a:cxnSpLocks/>
          </p:cNvCxnSpPr>
          <p:nvPr userDrawn="1"/>
        </p:nvCxnSpPr>
        <p:spPr>
          <a:xfrm>
            <a:off x="9371304" y="4490720"/>
            <a:ext cx="0" cy="36933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9FA08C79-D7C6-25E8-E8A5-90C856F7058C}"/>
              </a:ext>
            </a:extLst>
          </p:cNvPr>
          <p:cNvSpPr/>
          <p:nvPr userDrawn="1"/>
        </p:nvSpPr>
        <p:spPr bwMode="auto">
          <a:xfrm>
            <a:off x="3178629" y="1767841"/>
            <a:ext cx="5834742" cy="720688"/>
          </a:xfrm>
          <a:prstGeom prst="roundRect">
            <a:avLst>
              <a:gd name="adj" fmla="val 50000"/>
            </a:avLst>
          </a:prstGeom>
          <a:solidFill>
            <a:srgbClr val="EAD5EA"/>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 Placeholder 19">
            <a:extLst>
              <a:ext uri="{FF2B5EF4-FFF2-40B4-BE49-F238E27FC236}">
                <a16:creationId xmlns:a16="http://schemas.microsoft.com/office/drawing/2014/main" id="{36DD6354-CE64-DA48-14B4-23163955FD5D}"/>
              </a:ext>
            </a:extLst>
          </p:cNvPr>
          <p:cNvSpPr>
            <a:spLocks noGrp="1"/>
          </p:cNvSpPr>
          <p:nvPr>
            <p:ph type="body" sz="quarter" idx="12" hasCustomPrompt="1"/>
          </p:nvPr>
        </p:nvSpPr>
        <p:spPr>
          <a:xfrm>
            <a:off x="3484880" y="1912742"/>
            <a:ext cx="5222240" cy="430887"/>
          </a:xfrm>
        </p:spPr>
        <p:txBody>
          <a:bodyPr anchor="ctr"/>
          <a:lstStyle>
            <a:lvl1pPr marL="0" indent="0" algn="ctr">
              <a:buNone/>
              <a:defRPr sz="2800">
                <a:latin typeface="+mj-lt"/>
              </a:defRPr>
            </a:lvl1pPr>
          </a:lstStyle>
          <a:p>
            <a:pPr lvl="0"/>
            <a:r>
              <a:rPr lang="en-US"/>
              <a:t>Insert text</a:t>
            </a:r>
          </a:p>
        </p:txBody>
      </p:sp>
    </p:spTree>
    <p:extLst>
      <p:ext uri="{BB962C8B-B14F-4D97-AF65-F5344CB8AC3E}">
        <p14:creationId xmlns:p14="http://schemas.microsoft.com/office/powerpoint/2010/main" val="40706927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Five text with icons and Title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B4AC02-BE64-0ECE-D86E-E22D4A12398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E0911042-1452-CDD7-C219-F4025E361B8F}"/>
              </a:ext>
              <a:ext uri="{C183D7F6-B498-43B3-948B-1728B52AA6E4}">
                <adec:decorative xmlns:adec="http://schemas.microsoft.com/office/drawing/2017/decorative" val="1"/>
              </a:ext>
            </a:extLst>
          </p:cNvPr>
          <p:cNvSpPr/>
          <p:nvPr userDrawn="1"/>
        </p:nvSpPr>
        <p:spPr bwMode="auto">
          <a:xfrm>
            <a:off x="592137" y="1384300"/>
            <a:ext cx="11007726" cy="48847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Oval 6">
            <a:extLst>
              <a:ext uri="{FF2B5EF4-FFF2-40B4-BE49-F238E27FC236}">
                <a16:creationId xmlns:a16="http://schemas.microsoft.com/office/drawing/2014/main" id="{04DAF275-B112-4C08-244C-780F3DFD0702}"/>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22" name="Oval 21">
            <a:extLst>
              <a:ext uri="{FF2B5EF4-FFF2-40B4-BE49-F238E27FC236}">
                <a16:creationId xmlns:a16="http://schemas.microsoft.com/office/drawing/2014/main" id="{DCEB41D5-E9CD-0689-7EAB-508C83F307B7}"/>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3" name="Oval 22">
            <a:extLst>
              <a:ext uri="{FF2B5EF4-FFF2-40B4-BE49-F238E27FC236}">
                <a16:creationId xmlns:a16="http://schemas.microsoft.com/office/drawing/2014/main" id="{1989CC78-6FA8-E717-F029-0DF2DBA3392F}"/>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4" name="Oval 23">
            <a:extLst>
              <a:ext uri="{FF2B5EF4-FFF2-40B4-BE49-F238E27FC236}">
                <a16:creationId xmlns:a16="http://schemas.microsoft.com/office/drawing/2014/main" id="{7884E8E8-F938-E620-2E20-A90F7E9849A0}"/>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5" name="Oval 24">
            <a:extLst>
              <a:ext uri="{FF2B5EF4-FFF2-40B4-BE49-F238E27FC236}">
                <a16:creationId xmlns:a16="http://schemas.microsoft.com/office/drawing/2014/main" id="{7105B49C-75C7-CC09-208D-C90BFB8B146F}"/>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6" name="Straight Connector 25">
            <a:extLst>
              <a:ext uri="{FF2B5EF4-FFF2-40B4-BE49-F238E27FC236}">
                <a16:creationId xmlns:a16="http://schemas.microsoft.com/office/drawing/2014/main" id="{666FAC68-305D-A007-9449-73307FD9D97B}"/>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F5066CF-3DE0-3279-9CAF-BE15C8BAD704}"/>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F9659D-6734-948A-42AA-C48C4DDCE0D6}"/>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443A07-56C3-ADA3-FB63-49AD8492D89A}"/>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745B58E3-ABCF-94DE-D9EA-DA687CDD2571}"/>
              </a:ext>
            </a:extLst>
          </p:cNvPr>
          <p:cNvSpPr/>
          <p:nvPr userDrawn="1"/>
        </p:nvSpPr>
        <p:spPr bwMode="auto">
          <a:xfrm>
            <a:off x="3149601"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1" name="TextBox 30">
            <a:extLst>
              <a:ext uri="{FF2B5EF4-FFF2-40B4-BE49-F238E27FC236}">
                <a16:creationId xmlns:a16="http://schemas.microsoft.com/office/drawing/2014/main" id="{E9D871F3-8FB3-D624-FA43-B38B9369A731}"/>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3" name="TextBox 32">
            <a:extLst>
              <a:ext uri="{FF2B5EF4-FFF2-40B4-BE49-F238E27FC236}">
                <a16:creationId xmlns:a16="http://schemas.microsoft.com/office/drawing/2014/main" id="{565F6A95-ACB4-B975-12D7-EFB5815678D1}"/>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5" name="TextBox 34">
            <a:extLst>
              <a:ext uri="{FF2B5EF4-FFF2-40B4-BE49-F238E27FC236}">
                <a16:creationId xmlns:a16="http://schemas.microsoft.com/office/drawing/2014/main" id="{0BBE79FE-D652-E641-259B-B21BAFB0112B}"/>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6" name="TextBox 35">
            <a:extLst>
              <a:ext uri="{FF2B5EF4-FFF2-40B4-BE49-F238E27FC236}">
                <a16:creationId xmlns:a16="http://schemas.microsoft.com/office/drawing/2014/main" id="{44317911-605B-E17E-CFC8-A8EF681CC280}"/>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7" name="TextBox 36">
            <a:extLst>
              <a:ext uri="{FF2B5EF4-FFF2-40B4-BE49-F238E27FC236}">
                <a16:creationId xmlns:a16="http://schemas.microsoft.com/office/drawing/2014/main" id="{633658F2-7F3B-0D71-46E6-23D6C462C42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8" name="Text Placeholder 19">
            <a:extLst>
              <a:ext uri="{FF2B5EF4-FFF2-40B4-BE49-F238E27FC236}">
                <a16:creationId xmlns:a16="http://schemas.microsoft.com/office/drawing/2014/main" id="{240835BD-E14F-F6BE-E67C-2CFBE964527D}"/>
              </a:ext>
            </a:extLst>
          </p:cNvPr>
          <p:cNvSpPr>
            <a:spLocks noGrp="1"/>
          </p:cNvSpPr>
          <p:nvPr>
            <p:ph type="body" sz="quarter" idx="15" hasCustomPrompt="1"/>
          </p:nvPr>
        </p:nvSpPr>
        <p:spPr>
          <a:xfrm>
            <a:off x="3484881" y="6068201"/>
            <a:ext cx="5222240" cy="369332"/>
          </a:xfrm>
        </p:spPr>
        <p:txBody>
          <a:bodyPr anchor="ctr"/>
          <a:lstStyle>
            <a:lvl1pPr marL="0" indent="0" algn="ctr">
              <a:buNone/>
              <a:defRPr sz="2400">
                <a:solidFill>
                  <a:schemeClr val="bg1"/>
                </a:solidFill>
                <a:latin typeface="+mj-lt"/>
              </a:defRPr>
            </a:lvl1pPr>
          </a:lstStyle>
          <a:p>
            <a:pPr lvl="0"/>
            <a:r>
              <a:rPr lang="en-US"/>
              <a:t>Insert text</a:t>
            </a: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44234"/>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44234"/>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44234"/>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44234"/>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44234"/>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29929789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ive text with icons and Title 2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FBE7D7-9AA1-6085-4974-C370757AC30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5F0A0703-BE04-42FB-C6C5-8196EAD1EE98}"/>
              </a:ext>
              <a:ext uri="{C183D7F6-B498-43B3-948B-1728B52AA6E4}">
                <adec:decorative xmlns:adec="http://schemas.microsoft.com/office/drawing/2017/decorative" val="1"/>
              </a:ext>
            </a:extLst>
          </p:cNvPr>
          <p:cNvSpPr/>
          <p:nvPr userDrawn="1"/>
        </p:nvSpPr>
        <p:spPr bwMode="auto">
          <a:xfrm>
            <a:off x="592137" y="1384300"/>
            <a:ext cx="11007726" cy="4606925"/>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6" name="Oval 5">
            <a:extLst>
              <a:ext uri="{FF2B5EF4-FFF2-40B4-BE49-F238E27FC236}">
                <a16:creationId xmlns:a16="http://schemas.microsoft.com/office/drawing/2014/main" id="{D4582047-0C92-77E9-50AD-F37236F4556E}"/>
              </a:ext>
            </a:extLst>
          </p:cNvPr>
          <p:cNvSpPr/>
          <p:nvPr userDrawn="1"/>
        </p:nvSpPr>
        <p:spPr bwMode="auto">
          <a:xfrm>
            <a:off x="1284198"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43" name="Text Placeholder 19">
            <a:extLst>
              <a:ext uri="{FF2B5EF4-FFF2-40B4-BE49-F238E27FC236}">
                <a16:creationId xmlns:a16="http://schemas.microsoft.com/office/drawing/2014/main" id="{855FA422-C610-5967-83A2-2F7D0B5284CC}"/>
              </a:ext>
            </a:extLst>
          </p:cNvPr>
          <p:cNvSpPr>
            <a:spLocks noGrp="1"/>
          </p:cNvSpPr>
          <p:nvPr>
            <p:ph type="body" sz="quarter" idx="10" hasCustomPrompt="1"/>
          </p:nvPr>
        </p:nvSpPr>
        <p:spPr>
          <a:xfrm>
            <a:off x="723900" y="2782044"/>
            <a:ext cx="2010049" cy="307777"/>
          </a:xfrm>
        </p:spPr>
        <p:txBody>
          <a:bodyPr anchor="t"/>
          <a:lstStyle>
            <a:lvl1pPr marL="0" indent="0" algn="ctr">
              <a:buNone/>
              <a:defRPr sz="2000">
                <a:latin typeface="+mj-lt"/>
              </a:defRPr>
            </a:lvl1pPr>
          </a:lstStyle>
          <a:p>
            <a:pPr lvl="0"/>
            <a:r>
              <a:rPr lang="en-US"/>
              <a:t>Insert text</a:t>
            </a:r>
          </a:p>
        </p:txBody>
      </p:sp>
      <p:sp>
        <p:nvSpPr>
          <p:cNvPr id="44" name="Text Placeholder 19">
            <a:extLst>
              <a:ext uri="{FF2B5EF4-FFF2-40B4-BE49-F238E27FC236}">
                <a16:creationId xmlns:a16="http://schemas.microsoft.com/office/drawing/2014/main" id="{904B2E24-5D0A-0B99-A095-D610C4B401B6}"/>
              </a:ext>
            </a:extLst>
          </p:cNvPr>
          <p:cNvSpPr>
            <a:spLocks noGrp="1"/>
          </p:cNvSpPr>
          <p:nvPr>
            <p:ph type="body" sz="quarter" idx="11" hasCustomPrompt="1"/>
          </p:nvPr>
        </p:nvSpPr>
        <p:spPr>
          <a:xfrm>
            <a:off x="2907437" y="2782044"/>
            <a:ext cx="2010049" cy="307777"/>
          </a:xfrm>
        </p:spPr>
        <p:txBody>
          <a:bodyPr anchor="t"/>
          <a:lstStyle>
            <a:lvl1pPr marL="0" indent="0" algn="ctr">
              <a:buNone/>
              <a:defRPr sz="2000">
                <a:latin typeface="+mj-lt"/>
              </a:defRPr>
            </a:lvl1pPr>
          </a:lstStyle>
          <a:p>
            <a:pPr lvl="0"/>
            <a:r>
              <a:rPr lang="en-US"/>
              <a:t>Insert text</a:t>
            </a:r>
          </a:p>
        </p:txBody>
      </p:sp>
      <p:sp>
        <p:nvSpPr>
          <p:cNvPr id="45" name="Text Placeholder 19">
            <a:extLst>
              <a:ext uri="{FF2B5EF4-FFF2-40B4-BE49-F238E27FC236}">
                <a16:creationId xmlns:a16="http://schemas.microsoft.com/office/drawing/2014/main" id="{157BC2BD-4899-AB3A-AF7D-223DED64CB9A}"/>
              </a:ext>
            </a:extLst>
          </p:cNvPr>
          <p:cNvSpPr>
            <a:spLocks noGrp="1"/>
          </p:cNvSpPr>
          <p:nvPr>
            <p:ph type="body" sz="quarter" idx="12" hasCustomPrompt="1"/>
          </p:nvPr>
        </p:nvSpPr>
        <p:spPr>
          <a:xfrm>
            <a:off x="5090974" y="2782044"/>
            <a:ext cx="2010049" cy="307777"/>
          </a:xfrm>
        </p:spPr>
        <p:txBody>
          <a:bodyPr anchor="t"/>
          <a:lstStyle>
            <a:lvl1pPr marL="0" indent="0" algn="ctr">
              <a:buNone/>
              <a:defRPr sz="2000">
                <a:latin typeface="+mj-lt"/>
              </a:defRPr>
            </a:lvl1pPr>
          </a:lstStyle>
          <a:p>
            <a:pPr lvl="0"/>
            <a:r>
              <a:rPr lang="en-US"/>
              <a:t>Insert text</a:t>
            </a:r>
          </a:p>
        </p:txBody>
      </p:sp>
      <p:sp>
        <p:nvSpPr>
          <p:cNvPr id="46" name="Text Placeholder 19">
            <a:extLst>
              <a:ext uri="{FF2B5EF4-FFF2-40B4-BE49-F238E27FC236}">
                <a16:creationId xmlns:a16="http://schemas.microsoft.com/office/drawing/2014/main" id="{38BB0EF8-0DCF-F655-D377-B6CC3E826FDD}"/>
              </a:ext>
            </a:extLst>
          </p:cNvPr>
          <p:cNvSpPr>
            <a:spLocks noGrp="1"/>
          </p:cNvSpPr>
          <p:nvPr>
            <p:ph type="body" sz="quarter" idx="13" hasCustomPrompt="1"/>
          </p:nvPr>
        </p:nvSpPr>
        <p:spPr>
          <a:xfrm>
            <a:off x="7274511" y="2782044"/>
            <a:ext cx="2010049" cy="307777"/>
          </a:xfrm>
        </p:spPr>
        <p:txBody>
          <a:bodyPr anchor="t"/>
          <a:lstStyle>
            <a:lvl1pPr marL="0" indent="0" algn="ctr">
              <a:buNone/>
              <a:defRPr sz="2000">
                <a:latin typeface="+mj-lt"/>
              </a:defRPr>
            </a:lvl1pPr>
          </a:lstStyle>
          <a:p>
            <a:pPr lvl="0"/>
            <a:r>
              <a:rPr lang="en-US"/>
              <a:t>Insert text</a:t>
            </a:r>
          </a:p>
        </p:txBody>
      </p:sp>
      <p:sp>
        <p:nvSpPr>
          <p:cNvPr id="47" name="Text Placeholder 19">
            <a:extLst>
              <a:ext uri="{FF2B5EF4-FFF2-40B4-BE49-F238E27FC236}">
                <a16:creationId xmlns:a16="http://schemas.microsoft.com/office/drawing/2014/main" id="{530348F4-9828-299E-15CE-99688308F13B}"/>
              </a:ext>
            </a:extLst>
          </p:cNvPr>
          <p:cNvSpPr>
            <a:spLocks noGrp="1"/>
          </p:cNvSpPr>
          <p:nvPr>
            <p:ph type="body" sz="quarter" idx="14" hasCustomPrompt="1"/>
          </p:nvPr>
        </p:nvSpPr>
        <p:spPr>
          <a:xfrm>
            <a:off x="9458051" y="2782044"/>
            <a:ext cx="2010049" cy="307777"/>
          </a:xfrm>
        </p:spPr>
        <p:txBody>
          <a:bodyPr anchor="t"/>
          <a:lstStyle>
            <a:lvl1pPr marL="0" indent="0" algn="ctr">
              <a:buNone/>
              <a:defRPr sz="2000">
                <a:latin typeface="+mj-lt"/>
              </a:defRPr>
            </a:lvl1pPr>
          </a:lstStyle>
          <a:p>
            <a:pPr lvl="0"/>
            <a:r>
              <a:rPr lang="en-US"/>
              <a:t>Insert text</a:t>
            </a:r>
          </a:p>
        </p:txBody>
      </p:sp>
      <p:sp>
        <p:nvSpPr>
          <p:cNvPr id="13" name="Oval 12">
            <a:extLst>
              <a:ext uri="{FF2B5EF4-FFF2-40B4-BE49-F238E27FC236}">
                <a16:creationId xmlns:a16="http://schemas.microsoft.com/office/drawing/2014/main" id="{F8A642F3-0DC1-C82B-3830-F7D948DC398F}"/>
              </a:ext>
            </a:extLst>
          </p:cNvPr>
          <p:cNvSpPr/>
          <p:nvPr userDrawn="1"/>
        </p:nvSpPr>
        <p:spPr bwMode="auto">
          <a:xfrm>
            <a:off x="3467736"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4FCF007-4F82-788E-D664-8219B097E3D8}"/>
              </a:ext>
            </a:extLst>
          </p:cNvPr>
          <p:cNvSpPr/>
          <p:nvPr userDrawn="1"/>
        </p:nvSpPr>
        <p:spPr bwMode="auto">
          <a:xfrm>
            <a:off x="5651274"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92C14A30-5400-E835-84B3-DB2ABF19E19A}"/>
              </a:ext>
            </a:extLst>
          </p:cNvPr>
          <p:cNvSpPr/>
          <p:nvPr userDrawn="1"/>
        </p:nvSpPr>
        <p:spPr bwMode="auto">
          <a:xfrm>
            <a:off x="7834812"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937B10EC-ACAA-9B90-9783-9D52C24FAF51}"/>
              </a:ext>
            </a:extLst>
          </p:cNvPr>
          <p:cNvSpPr/>
          <p:nvPr userDrawn="1"/>
        </p:nvSpPr>
        <p:spPr bwMode="auto">
          <a:xfrm>
            <a:off x="10018349" y="1617300"/>
            <a:ext cx="889452" cy="88945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1CDD19C0-D638-B120-7940-66E752266E05}"/>
              </a:ext>
            </a:extLst>
          </p:cNvPr>
          <p:cNvCxnSpPr>
            <a:cxnSpLocks/>
          </p:cNvCxnSpPr>
          <p:nvPr userDrawn="1"/>
        </p:nvCxnSpPr>
        <p:spPr>
          <a:xfrm>
            <a:off x="2820693"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763E6D-D5DD-CCDC-4A4A-B50156E6E0BD}"/>
              </a:ext>
            </a:extLst>
          </p:cNvPr>
          <p:cNvCxnSpPr>
            <a:cxnSpLocks/>
          </p:cNvCxnSpPr>
          <p:nvPr userDrawn="1"/>
        </p:nvCxnSpPr>
        <p:spPr>
          <a:xfrm>
            <a:off x="5004230"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EBDC46-75EF-248F-1709-CD9AA961C9AB}"/>
              </a:ext>
            </a:extLst>
          </p:cNvPr>
          <p:cNvCxnSpPr>
            <a:cxnSpLocks/>
          </p:cNvCxnSpPr>
          <p:nvPr userDrawn="1"/>
        </p:nvCxnSpPr>
        <p:spPr>
          <a:xfrm>
            <a:off x="7187767"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73DFB1-6102-9963-8F9B-CB41414BDC4B}"/>
              </a:ext>
            </a:extLst>
          </p:cNvPr>
          <p:cNvCxnSpPr>
            <a:cxnSpLocks/>
          </p:cNvCxnSpPr>
          <p:nvPr userDrawn="1"/>
        </p:nvCxnSpPr>
        <p:spPr>
          <a:xfrm>
            <a:off x="9371304" y="2751266"/>
            <a:ext cx="0" cy="3693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491322-413D-CE30-848A-E424DEDAB0B5}"/>
              </a:ext>
            </a:extLst>
          </p:cNvPr>
          <p:cNvSpPr txBox="1"/>
          <p:nvPr userDrawn="1"/>
        </p:nvSpPr>
        <p:spPr>
          <a:xfrm>
            <a:off x="752478"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2" name="TextBox 31">
            <a:extLst>
              <a:ext uri="{FF2B5EF4-FFF2-40B4-BE49-F238E27FC236}">
                <a16:creationId xmlns:a16="http://schemas.microsoft.com/office/drawing/2014/main" id="{CC4DC3EA-2D4D-55F5-D8BD-08F73EEFA6D3}"/>
              </a:ext>
            </a:extLst>
          </p:cNvPr>
          <p:cNvSpPr txBox="1"/>
          <p:nvPr userDrawn="1"/>
        </p:nvSpPr>
        <p:spPr>
          <a:xfrm>
            <a:off x="2907437"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4" name="TextBox 33">
            <a:extLst>
              <a:ext uri="{FF2B5EF4-FFF2-40B4-BE49-F238E27FC236}">
                <a16:creationId xmlns:a16="http://schemas.microsoft.com/office/drawing/2014/main" id="{214F8359-D6E9-1F8E-AF8C-949415131DA7}"/>
              </a:ext>
            </a:extLst>
          </p:cNvPr>
          <p:cNvSpPr txBox="1"/>
          <p:nvPr userDrawn="1"/>
        </p:nvSpPr>
        <p:spPr>
          <a:xfrm>
            <a:off x="5090974"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8" name="TextBox 37">
            <a:extLst>
              <a:ext uri="{FF2B5EF4-FFF2-40B4-BE49-F238E27FC236}">
                <a16:creationId xmlns:a16="http://schemas.microsoft.com/office/drawing/2014/main" id="{AEFC7BA5-1649-0036-41E8-71379B3BACA8}"/>
              </a:ext>
            </a:extLst>
          </p:cNvPr>
          <p:cNvSpPr txBox="1"/>
          <p:nvPr userDrawn="1"/>
        </p:nvSpPr>
        <p:spPr>
          <a:xfrm>
            <a:off x="727451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39" name="TextBox 38">
            <a:extLst>
              <a:ext uri="{FF2B5EF4-FFF2-40B4-BE49-F238E27FC236}">
                <a16:creationId xmlns:a16="http://schemas.microsoft.com/office/drawing/2014/main" id="{76B6D8F0-396F-0A5E-1D14-5E303E61D8C3}"/>
              </a:ext>
            </a:extLst>
          </p:cNvPr>
          <p:cNvSpPr txBox="1"/>
          <p:nvPr userDrawn="1"/>
        </p:nvSpPr>
        <p:spPr>
          <a:xfrm>
            <a:off x="9458051" y="3365112"/>
            <a:ext cx="2016478" cy="2445138"/>
          </a:xfrm>
          <a:prstGeom prst="roundRect">
            <a:avLst>
              <a:gd name="adj" fmla="val 3192"/>
            </a:avLst>
          </a:prstGeom>
          <a:solidFill>
            <a:srgbClr val="FFFFFF">
              <a:alpha val="30000"/>
            </a:srgbClr>
          </a:solidFill>
        </p:spPr>
        <p:txBody>
          <a:bodyPr wrap="square" lIns="97971" tIns="514351" rIns="97971" bIns="0" rtlCol="0" anchor="t">
            <a:normAutofit/>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9" name="Text Placeholder 19">
            <a:extLst>
              <a:ext uri="{FF2B5EF4-FFF2-40B4-BE49-F238E27FC236}">
                <a16:creationId xmlns:a16="http://schemas.microsoft.com/office/drawing/2014/main" id="{881DEBE3-8A0F-103B-586F-2479DC5EB806}"/>
              </a:ext>
            </a:extLst>
          </p:cNvPr>
          <p:cNvSpPr>
            <a:spLocks noGrp="1"/>
          </p:cNvSpPr>
          <p:nvPr>
            <p:ph type="body" sz="quarter" idx="16" hasCustomPrompt="1"/>
          </p:nvPr>
        </p:nvSpPr>
        <p:spPr>
          <a:xfrm>
            <a:off x="859878" y="3445366"/>
            <a:ext cx="1801678" cy="2284630"/>
          </a:xfrm>
        </p:spPr>
        <p:txBody>
          <a:bodyPr anchor="t"/>
          <a:lstStyle>
            <a:lvl1pPr marL="0" indent="0" algn="ctr">
              <a:buNone/>
              <a:defRPr sz="1800">
                <a:latin typeface="+mn-lt"/>
              </a:defRPr>
            </a:lvl1pPr>
          </a:lstStyle>
          <a:p>
            <a:pPr lvl="0"/>
            <a:r>
              <a:rPr lang="en-US"/>
              <a:t>Insert text</a:t>
            </a:r>
          </a:p>
        </p:txBody>
      </p:sp>
      <p:sp>
        <p:nvSpPr>
          <p:cNvPr id="50" name="Text Placeholder 19">
            <a:extLst>
              <a:ext uri="{FF2B5EF4-FFF2-40B4-BE49-F238E27FC236}">
                <a16:creationId xmlns:a16="http://schemas.microsoft.com/office/drawing/2014/main" id="{C921E642-427F-B6E3-89ED-6218FF59386F}"/>
              </a:ext>
            </a:extLst>
          </p:cNvPr>
          <p:cNvSpPr>
            <a:spLocks noGrp="1"/>
          </p:cNvSpPr>
          <p:nvPr>
            <p:ph type="body" sz="quarter" idx="17" hasCustomPrompt="1"/>
          </p:nvPr>
        </p:nvSpPr>
        <p:spPr>
          <a:xfrm>
            <a:off x="3011623" y="3445366"/>
            <a:ext cx="1801678" cy="2284630"/>
          </a:xfrm>
        </p:spPr>
        <p:txBody>
          <a:bodyPr anchor="t"/>
          <a:lstStyle>
            <a:lvl1pPr marL="0" indent="0" algn="ctr">
              <a:buNone/>
              <a:defRPr sz="1800">
                <a:latin typeface="+mn-lt"/>
              </a:defRPr>
            </a:lvl1pPr>
          </a:lstStyle>
          <a:p>
            <a:pPr lvl="0"/>
            <a:r>
              <a:rPr lang="en-US"/>
              <a:t>Insert text</a:t>
            </a:r>
          </a:p>
        </p:txBody>
      </p:sp>
      <p:sp>
        <p:nvSpPr>
          <p:cNvPr id="51" name="Text Placeholder 19">
            <a:extLst>
              <a:ext uri="{FF2B5EF4-FFF2-40B4-BE49-F238E27FC236}">
                <a16:creationId xmlns:a16="http://schemas.microsoft.com/office/drawing/2014/main" id="{CB154531-8E3F-C581-F32D-DB4DB43972C2}"/>
              </a:ext>
            </a:extLst>
          </p:cNvPr>
          <p:cNvSpPr>
            <a:spLocks noGrp="1"/>
          </p:cNvSpPr>
          <p:nvPr>
            <p:ph type="body" sz="quarter" idx="18" hasCustomPrompt="1"/>
          </p:nvPr>
        </p:nvSpPr>
        <p:spPr>
          <a:xfrm>
            <a:off x="5195160" y="3445366"/>
            <a:ext cx="1801678" cy="2284630"/>
          </a:xfrm>
        </p:spPr>
        <p:txBody>
          <a:bodyPr anchor="t"/>
          <a:lstStyle>
            <a:lvl1pPr marL="0" indent="0" algn="ctr">
              <a:buNone/>
              <a:defRPr sz="1800">
                <a:latin typeface="+mn-lt"/>
              </a:defRPr>
            </a:lvl1pPr>
          </a:lstStyle>
          <a:p>
            <a:pPr lvl="0"/>
            <a:r>
              <a:rPr lang="en-US"/>
              <a:t>Insert text</a:t>
            </a:r>
          </a:p>
        </p:txBody>
      </p:sp>
      <p:sp>
        <p:nvSpPr>
          <p:cNvPr id="52" name="Text Placeholder 19">
            <a:extLst>
              <a:ext uri="{FF2B5EF4-FFF2-40B4-BE49-F238E27FC236}">
                <a16:creationId xmlns:a16="http://schemas.microsoft.com/office/drawing/2014/main" id="{9C583887-4DBD-8DB6-5AEE-C735068852C9}"/>
              </a:ext>
            </a:extLst>
          </p:cNvPr>
          <p:cNvSpPr>
            <a:spLocks noGrp="1"/>
          </p:cNvSpPr>
          <p:nvPr>
            <p:ph type="body" sz="quarter" idx="19" hasCustomPrompt="1"/>
          </p:nvPr>
        </p:nvSpPr>
        <p:spPr>
          <a:xfrm>
            <a:off x="7378697" y="3445366"/>
            <a:ext cx="1801678" cy="2284630"/>
          </a:xfrm>
        </p:spPr>
        <p:txBody>
          <a:bodyPr anchor="t"/>
          <a:lstStyle>
            <a:lvl1pPr marL="0" indent="0" algn="ctr">
              <a:buNone/>
              <a:defRPr sz="1800">
                <a:latin typeface="+mn-lt"/>
              </a:defRPr>
            </a:lvl1pPr>
          </a:lstStyle>
          <a:p>
            <a:pPr lvl="0"/>
            <a:r>
              <a:rPr lang="en-US"/>
              <a:t>Insert text</a:t>
            </a:r>
          </a:p>
        </p:txBody>
      </p:sp>
      <p:sp>
        <p:nvSpPr>
          <p:cNvPr id="53" name="Text Placeholder 19">
            <a:extLst>
              <a:ext uri="{FF2B5EF4-FFF2-40B4-BE49-F238E27FC236}">
                <a16:creationId xmlns:a16="http://schemas.microsoft.com/office/drawing/2014/main" id="{FDBD7FE1-645D-6C50-5F21-8DD371E91C92}"/>
              </a:ext>
            </a:extLst>
          </p:cNvPr>
          <p:cNvSpPr>
            <a:spLocks noGrp="1"/>
          </p:cNvSpPr>
          <p:nvPr>
            <p:ph type="body" sz="quarter" idx="20" hasCustomPrompt="1"/>
          </p:nvPr>
        </p:nvSpPr>
        <p:spPr>
          <a:xfrm>
            <a:off x="9562237" y="3445366"/>
            <a:ext cx="1801678" cy="2284630"/>
          </a:xfrm>
        </p:spPr>
        <p:txBody>
          <a:bodyPr anchor="t"/>
          <a:lstStyle>
            <a:lvl1pPr marL="0" indent="0" algn="ctr">
              <a:buNone/>
              <a:defRPr sz="1800">
                <a:latin typeface="+mn-lt"/>
              </a:defRPr>
            </a:lvl1pPr>
          </a:lstStyle>
          <a:p>
            <a:pPr lvl="0"/>
            <a:r>
              <a:rPr lang="en-US"/>
              <a:t>Insert text</a:t>
            </a:r>
          </a:p>
        </p:txBody>
      </p:sp>
    </p:spTree>
    <p:extLst>
      <p:ext uri="{BB962C8B-B14F-4D97-AF65-F5344CB8AC3E}">
        <p14:creationId xmlns:p14="http://schemas.microsoft.com/office/powerpoint/2010/main" val="15034268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2044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hree text with icon and plus sign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DEFE94-BC05-F4F4-F640-0629A65047B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AB6A3D33-F493-F1D8-B9D5-0F5BE6977367}"/>
              </a:ext>
              <a:ext uri="{C183D7F6-B498-43B3-948B-1728B52AA6E4}">
                <adec:decorative xmlns:adec="http://schemas.microsoft.com/office/drawing/2017/decorative" val="1"/>
              </a:ext>
            </a:extLst>
          </p:cNvPr>
          <p:cNvSpPr/>
          <p:nvPr userDrawn="1"/>
        </p:nvSpPr>
        <p:spPr bwMode="auto">
          <a:xfrm>
            <a:off x="592136"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6D366157-0224-12B0-1973-6C6AFAE383E2}"/>
              </a:ext>
              <a:ext uri="{C183D7F6-B498-43B3-948B-1728B52AA6E4}">
                <adec:decorative xmlns:adec="http://schemas.microsoft.com/office/drawing/2017/decorative" val="1"/>
              </a:ext>
            </a:extLst>
          </p:cNvPr>
          <p:cNvSpPr/>
          <p:nvPr userDrawn="1"/>
        </p:nvSpPr>
        <p:spPr bwMode="auto">
          <a:xfrm>
            <a:off x="4357380"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8" name="Rectangle: Rounded Corners 7">
            <a:extLst>
              <a:ext uri="{FF2B5EF4-FFF2-40B4-BE49-F238E27FC236}">
                <a16:creationId xmlns:a16="http://schemas.microsoft.com/office/drawing/2014/main" id="{7A5798D4-2E2D-4065-9CA4-002D64FAC2DA}"/>
              </a:ext>
              <a:ext uri="{C183D7F6-B498-43B3-948B-1728B52AA6E4}">
                <adec:decorative xmlns:adec="http://schemas.microsoft.com/office/drawing/2017/decorative" val="1"/>
              </a:ext>
            </a:extLst>
          </p:cNvPr>
          <p:cNvSpPr/>
          <p:nvPr userDrawn="1"/>
        </p:nvSpPr>
        <p:spPr bwMode="auto">
          <a:xfrm>
            <a:off x="8122624" y="2052320"/>
            <a:ext cx="3494700" cy="377729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Text Placeholder 19">
            <a:extLst>
              <a:ext uri="{FF2B5EF4-FFF2-40B4-BE49-F238E27FC236}">
                <a16:creationId xmlns:a16="http://schemas.microsoft.com/office/drawing/2014/main" id="{B6E5ECC6-D7C9-1D1A-7203-3247EF17C589}"/>
              </a:ext>
            </a:extLst>
          </p:cNvPr>
          <p:cNvSpPr>
            <a:spLocks noGrp="1"/>
          </p:cNvSpPr>
          <p:nvPr>
            <p:ph type="body" sz="quarter" idx="10" hasCustomPrompt="1"/>
          </p:nvPr>
        </p:nvSpPr>
        <p:spPr>
          <a:xfrm>
            <a:off x="792772" y="4558188"/>
            <a:ext cx="3093428" cy="430887"/>
          </a:xfrm>
        </p:spPr>
        <p:txBody>
          <a:bodyPr anchor="t"/>
          <a:lstStyle>
            <a:lvl1pPr marL="0" indent="0" algn="ctr">
              <a:buNone/>
              <a:defRPr sz="2800">
                <a:latin typeface="+mj-lt"/>
              </a:defRPr>
            </a:lvl1pPr>
          </a:lstStyle>
          <a:p>
            <a:pPr lvl="0"/>
            <a:r>
              <a:rPr lang="en-US"/>
              <a:t>Insert text</a:t>
            </a: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4558016" y="4558188"/>
            <a:ext cx="3093428" cy="430887"/>
          </a:xfrm>
        </p:spPr>
        <p:txBody>
          <a:bodyPr anchor="t"/>
          <a:lstStyle>
            <a:lvl1pPr marL="0" indent="0" algn="ctr">
              <a:buNone/>
              <a:defRPr sz="28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8323260" y="4558188"/>
            <a:ext cx="3093428" cy="430887"/>
          </a:xfrm>
        </p:spPr>
        <p:txBody>
          <a:bodyPr anchor="t"/>
          <a:lstStyle>
            <a:lvl1pPr marL="0" indent="0" algn="ctr">
              <a:buNone/>
              <a:defRPr sz="2800">
                <a:latin typeface="+mj-lt"/>
              </a:defRPr>
            </a:lvl1pPr>
          </a:lstStyle>
          <a:p>
            <a:pPr lvl="0"/>
            <a:r>
              <a:rPr lang="en-US"/>
              <a:t>Insert text</a:t>
            </a:r>
          </a:p>
        </p:txBody>
      </p:sp>
      <p:sp>
        <p:nvSpPr>
          <p:cNvPr id="12" name="Oval 11">
            <a:extLst>
              <a:ext uri="{FF2B5EF4-FFF2-40B4-BE49-F238E27FC236}">
                <a16:creationId xmlns:a16="http://schemas.microsoft.com/office/drawing/2014/main" id="{8BAC7297-C3ED-C54B-FD33-23678185983A}"/>
              </a:ext>
            </a:extLst>
          </p:cNvPr>
          <p:cNvSpPr/>
          <p:nvPr userDrawn="1"/>
        </p:nvSpPr>
        <p:spPr bwMode="auto">
          <a:xfrm>
            <a:off x="1602397"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2" name="Oval 21">
            <a:extLst>
              <a:ext uri="{FF2B5EF4-FFF2-40B4-BE49-F238E27FC236}">
                <a16:creationId xmlns:a16="http://schemas.microsoft.com/office/drawing/2014/main" id="{A7364CA1-AD2B-B537-686B-022735AE83A5}"/>
              </a:ext>
            </a:extLst>
          </p:cNvPr>
          <p:cNvSpPr/>
          <p:nvPr userDrawn="1"/>
        </p:nvSpPr>
        <p:spPr bwMode="auto">
          <a:xfrm>
            <a:off x="5367641"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23" name="Oval 22">
            <a:extLst>
              <a:ext uri="{FF2B5EF4-FFF2-40B4-BE49-F238E27FC236}">
                <a16:creationId xmlns:a16="http://schemas.microsoft.com/office/drawing/2014/main" id="{D9F90310-0AFB-5150-232D-2B2341C5D64B}"/>
              </a:ext>
            </a:extLst>
          </p:cNvPr>
          <p:cNvSpPr/>
          <p:nvPr userDrawn="1"/>
        </p:nvSpPr>
        <p:spPr bwMode="auto">
          <a:xfrm>
            <a:off x="9132885" y="2602363"/>
            <a:ext cx="1474178" cy="147417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grpSp>
        <p:nvGrpSpPr>
          <p:cNvPr id="24" name="Group 23">
            <a:extLst>
              <a:ext uri="{FF2B5EF4-FFF2-40B4-BE49-F238E27FC236}">
                <a16:creationId xmlns:a16="http://schemas.microsoft.com/office/drawing/2014/main" id="{C2C3C8DA-F1F1-680D-5197-B134FAA8AD93}"/>
              </a:ext>
            </a:extLst>
          </p:cNvPr>
          <p:cNvGrpSpPr/>
          <p:nvPr userDrawn="1"/>
        </p:nvGrpSpPr>
        <p:grpSpPr>
          <a:xfrm>
            <a:off x="3941913" y="3660775"/>
            <a:ext cx="560390" cy="560388"/>
            <a:chOff x="3981176" y="3730234"/>
            <a:chExt cx="502920" cy="502920"/>
          </a:xfrm>
        </p:grpSpPr>
        <p:sp>
          <p:nvSpPr>
            <p:cNvPr id="25" name="Oval 24">
              <a:extLst>
                <a:ext uri="{FF2B5EF4-FFF2-40B4-BE49-F238E27FC236}">
                  <a16:creationId xmlns:a16="http://schemas.microsoft.com/office/drawing/2014/main" id="{D2FE9C2B-071F-6D03-D1E5-226295C07E5E}"/>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6" name="Graphic 35">
              <a:extLst>
                <a:ext uri="{FF2B5EF4-FFF2-40B4-BE49-F238E27FC236}">
                  <a16:creationId xmlns:a16="http://schemas.microsoft.com/office/drawing/2014/main" id="{6F0617CE-A84F-3EF8-4470-5BFAD0D3676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7" name="Group 26">
            <a:extLst>
              <a:ext uri="{FF2B5EF4-FFF2-40B4-BE49-F238E27FC236}">
                <a16:creationId xmlns:a16="http://schemas.microsoft.com/office/drawing/2014/main" id="{E0EC2BE9-7FF6-5FD5-E82C-E3FB9CC6F891}"/>
              </a:ext>
            </a:extLst>
          </p:cNvPr>
          <p:cNvGrpSpPr/>
          <p:nvPr userDrawn="1"/>
        </p:nvGrpSpPr>
        <p:grpSpPr>
          <a:xfrm>
            <a:off x="7707157" y="3660775"/>
            <a:ext cx="560390" cy="560388"/>
            <a:chOff x="3981176" y="3730234"/>
            <a:chExt cx="502920" cy="502920"/>
          </a:xfrm>
        </p:grpSpPr>
        <p:sp>
          <p:nvSpPr>
            <p:cNvPr id="28" name="Oval 27">
              <a:extLst>
                <a:ext uri="{FF2B5EF4-FFF2-40B4-BE49-F238E27FC236}">
                  <a16:creationId xmlns:a16="http://schemas.microsoft.com/office/drawing/2014/main" id="{C54B7152-7AF0-7984-8CC9-67D7D0683FF9}"/>
                </a:ext>
                <a:ext uri="{C183D7F6-B498-43B3-948B-1728B52AA6E4}">
                  <adec:decorative xmlns:adec="http://schemas.microsoft.com/office/drawing/2017/decorative" val="1"/>
                </a:ext>
              </a:extLst>
            </p:cNvPr>
            <p:cNvSpPr/>
            <p:nvPr/>
          </p:nvSpPr>
          <p:spPr bwMode="auto">
            <a:xfrm>
              <a:off x="3981176" y="3730234"/>
              <a:ext cx="502920" cy="502920"/>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9" name="Graphic 35">
              <a:extLst>
                <a:ext uri="{FF2B5EF4-FFF2-40B4-BE49-F238E27FC236}">
                  <a16:creationId xmlns:a16="http://schemas.microsoft.com/office/drawing/2014/main" id="{8C5F9F49-345D-C45B-C9C8-062D25185B11}"/>
                </a:ext>
                <a:ext uri="{C183D7F6-B498-43B3-948B-1728B52AA6E4}">
                  <adec:decorative xmlns:adec="http://schemas.microsoft.com/office/drawing/2017/decorative" val="1"/>
                </a:ext>
              </a:extLst>
            </p:cNvPr>
            <p:cNvSpPr/>
            <p:nvPr/>
          </p:nvSpPr>
          <p:spPr>
            <a:xfrm>
              <a:off x="4109172" y="3858232"/>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spTree>
    <p:extLst>
      <p:ext uri="{BB962C8B-B14F-4D97-AF65-F5344CB8AC3E}">
        <p14:creationId xmlns:p14="http://schemas.microsoft.com/office/powerpoint/2010/main" val="1290851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Step slide with plus sig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1D7EBB-CD71-E97E-FF26-F51EB544BA0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Rounded Corners 4">
            <a:extLst>
              <a:ext uri="{FF2B5EF4-FFF2-40B4-BE49-F238E27FC236}">
                <a16:creationId xmlns:a16="http://schemas.microsoft.com/office/drawing/2014/main" id="{F6DB8EF4-1F33-AA31-9B8E-F78E0A9D74EB}"/>
              </a:ext>
            </a:extLst>
          </p:cNvPr>
          <p:cNvSpPr/>
          <p:nvPr userDrawn="1"/>
        </p:nvSpPr>
        <p:spPr bwMode="auto">
          <a:xfrm>
            <a:off x="587375" y="4411118"/>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 name="Rectangle: Rounded Corners 5">
            <a:extLst>
              <a:ext uri="{FF2B5EF4-FFF2-40B4-BE49-F238E27FC236}">
                <a16:creationId xmlns:a16="http://schemas.microsoft.com/office/drawing/2014/main" id="{49191495-4024-1FBD-DE00-8198400FDF98}"/>
              </a:ext>
            </a:extLst>
          </p:cNvPr>
          <p:cNvSpPr/>
          <p:nvPr userDrawn="1"/>
        </p:nvSpPr>
        <p:spPr bwMode="auto">
          <a:xfrm>
            <a:off x="4314143" y="4411118"/>
            <a:ext cx="3568477" cy="1081476"/>
          </a:xfrm>
          <a:prstGeom prst="roundRect">
            <a:avLst>
              <a:gd name="adj" fmla="val 1450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9" name="Rectangle: Rounded Corners 17">
            <a:extLst>
              <a:ext uri="{FF2B5EF4-FFF2-40B4-BE49-F238E27FC236}">
                <a16:creationId xmlns:a16="http://schemas.microsoft.com/office/drawing/2014/main" id="{1C371C7D-43E2-3439-A5F3-F68D504AB607}"/>
              </a:ext>
            </a:extLst>
          </p:cNvPr>
          <p:cNvSpPr/>
          <p:nvPr userDrawn="1"/>
        </p:nvSpPr>
        <p:spPr bwMode="auto">
          <a:xfrm>
            <a:off x="8040911" y="3219182"/>
            <a:ext cx="3568477" cy="1081476"/>
          </a:xfrm>
          <a:prstGeom prst="roundRect">
            <a:avLst>
              <a:gd name="adj" fmla="val 13429"/>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0" name="Rectangle: Rounded Corners 30">
            <a:extLst>
              <a:ext uri="{FF2B5EF4-FFF2-40B4-BE49-F238E27FC236}">
                <a16:creationId xmlns:a16="http://schemas.microsoft.com/office/drawing/2014/main" id="{02C42D19-3526-7F77-EAD1-DBAD5F731DBA}"/>
              </a:ext>
            </a:extLst>
          </p:cNvPr>
          <p:cNvSpPr/>
          <p:nvPr userDrawn="1"/>
        </p:nvSpPr>
        <p:spPr bwMode="auto">
          <a:xfrm>
            <a:off x="8040911" y="4411118"/>
            <a:ext cx="3568477" cy="1081476"/>
          </a:xfrm>
          <a:prstGeom prst="roundRect">
            <a:avLst>
              <a:gd name="adj" fmla="val 14868"/>
            </a:avLst>
          </a:prstGeom>
          <a:solidFill>
            <a:srgbClr val="FFFFFF">
              <a:alpha val="70000"/>
            </a:srgbClr>
          </a:solidFill>
        </p:spPr>
        <p:txBody>
          <a:bodyPr wrap="square" lIns="91440" tIns="91440" rIns="91440" bIns="91440" rtlCol="0" anchor="ctr">
            <a:normAutofit/>
          </a:bodyPr>
          <a:lstStyle/>
          <a:p>
            <a:pPr lvl="0" algn="ctr" defTabSz="914367" fontAlgn="base">
              <a:spcBef>
                <a:spcPct val="0"/>
              </a:spcBef>
              <a:spcAft>
                <a:spcPct val="0"/>
              </a:spcAft>
            </a:pPr>
            <a:endParaRPr lang="en-US" sz="1600" b="1" kern="0" dirty="0">
              <a:ln w="3175">
                <a:noFill/>
              </a:ln>
              <a:latin typeface="+mj-lt"/>
              <a:cs typeface="Segoe UI" pitchFamily="34" charset="0"/>
            </a:endParaRPr>
          </a:p>
        </p:txBody>
      </p:sp>
      <p:sp>
        <p:nvSpPr>
          <p:cNvPr id="11" name="Rectangle: Rounded Corners 17">
            <a:extLst>
              <a:ext uri="{FF2B5EF4-FFF2-40B4-BE49-F238E27FC236}">
                <a16:creationId xmlns:a16="http://schemas.microsoft.com/office/drawing/2014/main" id="{DA726962-7307-11F2-D0F6-97F7E09EDEBF}"/>
              </a:ext>
            </a:extLst>
          </p:cNvPr>
          <p:cNvSpPr/>
          <p:nvPr userDrawn="1"/>
        </p:nvSpPr>
        <p:spPr bwMode="auto">
          <a:xfrm>
            <a:off x="8040911" y="2027245"/>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3" name="Rectangle: Rounded Corners 12">
            <a:extLst>
              <a:ext uri="{FF2B5EF4-FFF2-40B4-BE49-F238E27FC236}">
                <a16:creationId xmlns:a16="http://schemas.microsoft.com/office/drawing/2014/main" id="{52DE5F9F-E084-B744-AE9E-4DF8BE0BF30C}"/>
              </a:ext>
            </a:extLst>
          </p:cNvPr>
          <p:cNvSpPr/>
          <p:nvPr userDrawn="1"/>
        </p:nvSpPr>
        <p:spPr bwMode="auto">
          <a:xfrm>
            <a:off x="4314143" y="3216772"/>
            <a:ext cx="3568477" cy="1081476"/>
          </a:xfrm>
          <a:prstGeom prst="roundRect">
            <a:avLst>
              <a:gd name="adj" fmla="val 14508"/>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F2831996-D2A4-3A67-47C9-69FF2497B88D}"/>
              </a:ext>
            </a:extLst>
          </p:cNvPr>
          <p:cNvGrpSpPr/>
          <p:nvPr userDrawn="1"/>
        </p:nvGrpSpPr>
        <p:grpSpPr>
          <a:xfrm>
            <a:off x="5916403" y="4172709"/>
            <a:ext cx="363954" cy="363953"/>
            <a:chOff x="3981182" y="3730229"/>
            <a:chExt cx="502921" cy="502919"/>
          </a:xfrm>
        </p:grpSpPr>
        <p:sp>
          <p:nvSpPr>
            <p:cNvPr id="15" name="Oval 14">
              <a:extLst>
                <a:ext uri="{FF2B5EF4-FFF2-40B4-BE49-F238E27FC236}">
                  <a16:creationId xmlns:a16="http://schemas.microsoft.com/office/drawing/2014/main" id="{BD8A6E88-E9DA-A918-D2B3-B627591EA75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6" name="Graphic 35">
              <a:extLst>
                <a:ext uri="{FF2B5EF4-FFF2-40B4-BE49-F238E27FC236}">
                  <a16:creationId xmlns:a16="http://schemas.microsoft.com/office/drawing/2014/main" id="{DB645B40-D523-5AA1-5F12-DC8B3489B1F8}"/>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17" name="Group 16">
            <a:extLst>
              <a:ext uri="{FF2B5EF4-FFF2-40B4-BE49-F238E27FC236}">
                <a16:creationId xmlns:a16="http://schemas.microsoft.com/office/drawing/2014/main" id="{96991732-4BA0-67D2-D215-D1FB23E8A2A1}"/>
              </a:ext>
            </a:extLst>
          </p:cNvPr>
          <p:cNvGrpSpPr/>
          <p:nvPr userDrawn="1"/>
        </p:nvGrpSpPr>
        <p:grpSpPr>
          <a:xfrm>
            <a:off x="9643171" y="2981977"/>
            <a:ext cx="363954" cy="363953"/>
            <a:chOff x="3981182" y="3730229"/>
            <a:chExt cx="502921" cy="502919"/>
          </a:xfrm>
        </p:grpSpPr>
        <p:sp>
          <p:nvSpPr>
            <p:cNvPr id="18" name="Oval 17">
              <a:extLst>
                <a:ext uri="{FF2B5EF4-FFF2-40B4-BE49-F238E27FC236}">
                  <a16:creationId xmlns:a16="http://schemas.microsoft.com/office/drawing/2014/main" id="{24F419BB-26A1-10A3-85F4-4CAE854769CB}"/>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9" name="Graphic 35">
              <a:extLst>
                <a:ext uri="{FF2B5EF4-FFF2-40B4-BE49-F238E27FC236}">
                  <a16:creationId xmlns:a16="http://schemas.microsoft.com/office/drawing/2014/main" id="{720F628E-3D33-F54E-67C3-63F73AC617F2}"/>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grpSp>
        <p:nvGrpSpPr>
          <p:cNvPr id="20" name="Group 19">
            <a:extLst>
              <a:ext uri="{FF2B5EF4-FFF2-40B4-BE49-F238E27FC236}">
                <a16:creationId xmlns:a16="http://schemas.microsoft.com/office/drawing/2014/main" id="{07C02F30-3161-CCDE-F6DE-919271729E8F}"/>
              </a:ext>
            </a:extLst>
          </p:cNvPr>
          <p:cNvGrpSpPr/>
          <p:nvPr userDrawn="1"/>
        </p:nvGrpSpPr>
        <p:grpSpPr>
          <a:xfrm>
            <a:off x="9643171" y="4173914"/>
            <a:ext cx="363954" cy="363953"/>
            <a:chOff x="3981182" y="3730229"/>
            <a:chExt cx="502921" cy="502919"/>
          </a:xfrm>
        </p:grpSpPr>
        <p:sp>
          <p:nvSpPr>
            <p:cNvPr id="21" name="Oval 20">
              <a:extLst>
                <a:ext uri="{FF2B5EF4-FFF2-40B4-BE49-F238E27FC236}">
                  <a16:creationId xmlns:a16="http://schemas.microsoft.com/office/drawing/2014/main" id="{18F80F5A-BF5B-2DCD-1A7A-189E8F66B174}"/>
                </a:ext>
                <a:ext uri="{C183D7F6-B498-43B3-948B-1728B52AA6E4}">
                  <adec:decorative xmlns:adec="http://schemas.microsoft.com/office/drawing/2017/decorative" val="1"/>
                </a:ext>
              </a:extLst>
            </p:cNvPr>
            <p:cNvSpPr/>
            <p:nvPr/>
          </p:nvSpPr>
          <p:spPr bwMode="auto">
            <a:xfrm>
              <a:off x="3981182" y="3730229"/>
              <a:ext cx="502921" cy="502919"/>
            </a:xfrm>
            <a:prstGeom prst="ellipse">
              <a:avLst/>
            </a:prstGeom>
            <a:gradFill>
              <a:gsLst>
                <a:gs pos="79000">
                  <a:srgbClr val="C03BC4"/>
                </a:gs>
                <a:gs pos="35000">
                  <a:srgbClr val="D1448B"/>
                </a:gs>
              </a:gsLst>
              <a:path path="circle">
                <a:fillToRect l="100000" t="100000"/>
              </a:path>
            </a:gradFill>
            <a:ln w="25400">
              <a:solidFill>
                <a:schemeClr val="bg1"/>
              </a:solidFill>
            </a:ln>
            <a:effectLst/>
          </p:spPr>
          <p:txBody>
            <a:bodyPr wrap="square" lIns="0" tIns="0" rIns="0" bIns="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32" name="Graphic 35">
              <a:extLst>
                <a:ext uri="{FF2B5EF4-FFF2-40B4-BE49-F238E27FC236}">
                  <a16:creationId xmlns:a16="http://schemas.microsoft.com/office/drawing/2014/main" id="{91FAE03F-ECA2-F67B-E324-82978968CA95}"/>
                </a:ext>
                <a:ext uri="{C183D7F6-B498-43B3-948B-1728B52AA6E4}">
                  <adec:decorative xmlns:adec="http://schemas.microsoft.com/office/drawing/2017/decorative" val="1"/>
                </a:ext>
              </a:extLst>
            </p:cNvPr>
            <p:cNvSpPr/>
            <p:nvPr/>
          </p:nvSpPr>
          <p:spPr>
            <a:xfrm>
              <a:off x="4109171" y="3858233"/>
              <a:ext cx="246928" cy="246928"/>
            </a:xfrm>
            <a:custGeom>
              <a:avLst/>
              <a:gdLst>
                <a:gd name="connsiteX0" fmla="*/ 84611 w 171450"/>
                <a:gd name="connsiteY0" fmla="*/ 67 h 171450"/>
                <a:gd name="connsiteX1" fmla="*/ 85725 w 171450"/>
                <a:gd name="connsiteY1" fmla="*/ 0 h 171450"/>
                <a:gd name="connsiteX2" fmla="*/ 95183 w 171450"/>
                <a:gd name="connsiteY2" fmla="*/ 8411 h 171450"/>
                <a:gd name="connsiteX3" fmla="*/ 95250 w 171450"/>
                <a:gd name="connsiteY3" fmla="*/ 9525 h 171450"/>
                <a:gd name="connsiteX4" fmla="*/ 95250 w 171450"/>
                <a:gd name="connsiteY4" fmla="*/ 76200 h 171450"/>
                <a:gd name="connsiteX5" fmla="*/ 161925 w 171450"/>
                <a:gd name="connsiteY5" fmla="*/ 76200 h 171450"/>
                <a:gd name="connsiteX6" fmla="*/ 171383 w 171450"/>
                <a:gd name="connsiteY6" fmla="*/ 84611 h 171450"/>
                <a:gd name="connsiteX7" fmla="*/ 171450 w 171450"/>
                <a:gd name="connsiteY7" fmla="*/ 85725 h 171450"/>
                <a:gd name="connsiteX8" fmla="*/ 163039 w 171450"/>
                <a:gd name="connsiteY8" fmla="*/ 95183 h 171450"/>
                <a:gd name="connsiteX9" fmla="*/ 161925 w 171450"/>
                <a:gd name="connsiteY9" fmla="*/ 95250 h 171450"/>
                <a:gd name="connsiteX10" fmla="*/ 95250 w 171450"/>
                <a:gd name="connsiteY10" fmla="*/ 95250 h 171450"/>
                <a:gd name="connsiteX11" fmla="*/ 95250 w 171450"/>
                <a:gd name="connsiteY11" fmla="*/ 161925 h 171450"/>
                <a:gd name="connsiteX12" fmla="*/ 86839 w 171450"/>
                <a:gd name="connsiteY12" fmla="*/ 171383 h 171450"/>
                <a:gd name="connsiteX13" fmla="*/ 85725 w 171450"/>
                <a:gd name="connsiteY13" fmla="*/ 171450 h 171450"/>
                <a:gd name="connsiteX14" fmla="*/ 76267 w 171450"/>
                <a:gd name="connsiteY14" fmla="*/ 163039 h 171450"/>
                <a:gd name="connsiteX15" fmla="*/ 76200 w 171450"/>
                <a:gd name="connsiteY15" fmla="*/ 161925 h 171450"/>
                <a:gd name="connsiteX16" fmla="*/ 76200 w 171450"/>
                <a:gd name="connsiteY16" fmla="*/ 95250 h 171450"/>
                <a:gd name="connsiteX17" fmla="*/ 9525 w 171450"/>
                <a:gd name="connsiteY17" fmla="*/ 95250 h 171450"/>
                <a:gd name="connsiteX18" fmla="*/ 67 w 171450"/>
                <a:gd name="connsiteY18" fmla="*/ 86839 h 171450"/>
                <a:gd name="connsiteX19" fmla="*/ 0 w 171450"/>
                <a:gd name="connsiteY19" fmla="*/ 85725 h 171450"/>
                <a:gd name="connsiteX20" fmla="*/ 8411 w 171450"/>
                <a:gd name="connsiteY20" fmla="*/ 76267 h 171450"/>
                <a:gd name="connsiteX21" fmla="*/ 9525 w 171450"/>
                <a:gd name="connsiteY21" fmla="*/ 76200 h 171450"/>
                <a:gd name="connsiteX22" fmla="*/ 76200 w 171450"/>
                <a:gd name="connsiteY22" fmla="*/ 76200 h 171450"/>
                <a:gd name="connsiteX23" fmla="*/ 76200 w 171450"/>
                <a:gd name="connsiteY23" fmla="*/ 9525 h 171450"/>
                <a:gd name="connsiteX24" fmla="*/ 84611 w 171450"/>
                <a:gd name="connsiteY24" fmla="*/ 67 h 171450"/>
                <a:gd name="connsiteX25" fmla="*/ 85725 w 171450"/>
                <a:gd name="connsiteY25" fmla="*/ 0 h 171450"/>
                <a:gd name="connsiteX26" fmla="*/ 84611 w 171450"/>
                <a:gd name="connsiteY26" fmla="*/ 6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50" h="171450">
                  <a:moveTo>
                    <a:pt x="84611" y="67"/>
                  </a:moveTo>
                  <a:lnTo>
                    <a:pt x="85725" y="0"/>
                  </a:lnTo>
                  <a:cubicBezTo>
                    <a:pt x="90554" y="1"/>
                    <a:pt x="94618" y="3615"/>
                    <a:pt x="95183" y="8411"/>
                  </a:cubicBezTo>
                  <a:lnTo>
                    <a:pt x="95250" y="9525"/>
                  </a:lnTo>
                  <a:lnTo>
                    <a:pt x="95250" y="76200"/>
                  </a:lnTo>
                  <a:lnTo>
                    <a:pt x="161925" y="76200"/>
                  </a:lnTo>
                  <a:cubicBezTo>
                    <a:pt x="166754" y="76201"/>
                    <a:pt x="170819" y="79815"/>
                    <a:pt x="171383" y="84611"/>
                  </a:cubicBezTo>
                  <a:lnTo>
                    <a:pt x="171450" y="85725"/>
                  </a:lnTo>
                  <a:cubicBezTo>
                    <a:pt x="171449" y="90554"/>
                    <a:pt x="167835" y="94618"/>
                    <a:pt x="163039" y="95183"/>
                  </a:cubicBezTo>
                  <a:lnTo>
                    <a:pt x="161925" y="95250"/>
                  </a:lnTo>
                  <a:lnTo>
                    <a:pt x="95250" y="95250"/>
                  </a:lnTo>
                  <a:lnTo>
                    <a:pt x="95250" y="161925"/>
                  </a:lnTo>
                  <a:cubicBezTo>
                    <a:pt x="95249" y="166754"/>
                    <a:pt x="91635" y="170819"/>
                    <a:pt x="86839" y="171383"/>
                  </a:cubicBezTo>
                  <a:lnTo>
                    <a:pt x="85725" y="171450"/>
                  </a:lnTo>
                  <a:cubicBezTo>
                    <a:pt x="80896" y="171449"/>
                    <a:pt x="76832" y="167835"/>
                    <a:pt x="76267" y="163039"/>
                  </a:cubicBezTo>
                  <a:lnTo>
                    <a:pt x="76200" y="161925"/>
                  </a:lnTo>
                  <a:lnTo>
                    <a:pt x="76200" y="95250"/>
                  </a:lnTo>
                  <a:lnTo>
                    <a:pt x="9525" y="95250"/>
                  </a:lnTo>
                  <a:cubicBezTo>
                    <a:pt x="4696" y="95249"/>
                    <a:pt x="632" y="91635"/>
                    <a:pt x="67" y="86839"/>
                  </a:cubicBezTo>
                  <a:lnTo>
                    <a:pt x="0" y="85725"/>
                  </a:lnTo>
                  <a:cubicBezTo>
                    <a:pt x="1" y="80896"/>
                    <a:pt x="3615" y="76832"/>
                    <a:pt x="8411" y="76267"/>
                  </a:cubicBezTo>
                  <a:lnTo>
                    <a:pt x="9525" y="76200"/>
                  </a:lnTo>
                  <a:lnTo>
                    <a:pt x="76200" y="76200"/>
                  </a:lnTo>
                  <a:lnTo>
                    <a:pt x="76200" y="9525"/>
                  </a:lnTo>
                  <a:cubicBezTo>
                    <a:pt x="76201" y="4696"/>
                    <a:pt x="79815" y="632"/>
                    <a:pt x="84611" y="67"/>
                  </a:cubicBezTo>
                  <a:lnTo>
                    <a:pt x="85725" y="0"/>
                  </a:lnTo>
                  <a:lnTo>
                    <a:pt x="84611" y="67"/>
                  </a:lnTo>
                  <a:close/>
                </a:path>
              </a:pathLst>
            </a:custGeom>
            <a:solidFill>
              <a:schemeClr val="bg1"/>
            </a:solidFill>
            <a:effectLst/>
            <a:extLst>
              <a:ext uri="{AF507438-7753-43E0-B8FC-AC1667EBCBE1}">
                <a14:hiddenEffects xmlns:a14="http://schemas.microsoft.com/office/drawing/2010/main">
                  <a:effectLst>
                    <a:outerShdw blurRad="63500" algn="tl" rotWithShape="0">
                      <a:schemeClr val="bg1">
                        <a:lumMod val="50000"/>
                        <a:alpha val="30000"/>
                      </a:schemeClr>
                    </a:outerShdw>
                  </a:effectLst>
                </a14:hiddenEffects>
              </a:ext>
            </a:extLst>
          </p:spPr>
          <p:txBody>
            <a:bodyPr wrap="square" lIns="0" tIns="0" rIns="0" bIns="0" rtlCol="0" anchor="ctr" anchorCtr="0">
              <a:noAutofit/>
            </a:bodyPr>
            <a:lstStyle>
              <a:defPPr>
                <a:defRPr lang="en-US"/>
              </a:defPPr>
              <a:lvl1pPr marL="0" algn="l" defTabSz="2438251" rtl="0" eaLnBrk="1" latinLnBrk="0" hangingPunct="1">
                <a:defRPr sz="4707" kern="1200">
                  <a:solidFill>
                    <a:schemeClr val="tx1"/>
                  </a:solidFill>
                  <a:latin typeface="+mn-lt"/>
                  <a:ea typeface="+mn-ea"/>
                  <a:cs typeface="+mn-cs"/>
                </a:defRPr>
              </a:lvl1pPr>
              <a:lvl2pPr marL="1219124" algn="l" defTabSz="2438251" rtl="0" eaLnBrk="1" latinLnBrk="0" hangingPunct="1">
                <a:defRPr sz="4707" kern="1200">
                  <a:solidFill>
                    <a:schemeClr val="tx1"/>
                  </a:solidFill>
                  <a:latin typeface="+mn-lt"/>
                  <a:ea typeface="+mn-ea"/>
                  <a:cs typeface="+mn-cs"/>
                </a:defRPr>
              </a:lvl2pPr>
              <a:lvl3pPr marL="2438251" algn="l" defTabSz="2438251" rtl="0" eaLnBrk="1" latinLnBrk="0" hangingPunct="1">
                <a:defRPr sz="4707" kern="1200">
                  <a:solidFill>
                    <a:schemeClr val="tx1"/>
                  </a:solidFill>
                  <a:latin typeface="+mn-lt"/>
                  <a:ea typeface="+mn-ea"/>
                  <a:cs typeface="+mn-cs"/>
                </a:defRPr>
              </a:lvl3pPr>
              <a:lvl4pPr marL="3657375" algn="l" defTabSz="2438251" rtl="0" eaLnBrk="1" latinLnBrk="0" hangingPunct="1">
                <a:defRPr sz="4707" kern="1200">
                  <a:solidFill>
                    <a:schemeClr val="tx1"/>
                  </a:solidFill>
                  <a:latin typeface="+mn-lt"/>
                  <a:ea typeface="+mn-ea"/>
                  <a:cs typeface="+mn-cs"/>
                </a:defRPr>
              </a:lvl4pPr>
              <a:lvl5pPr marL="4876502" algn="l" defTabSz="2438251" rtl="0" eaLnBrk="1" latinLnBrk="0" hangingPunct="1">
                <a:defRPr sz="4707" kern="1200">
                  <a:solidFill>
                    <a:schemeClr val="tx1"/>
                  </a:solidFill>
                  <a:latin typeface="+mn-lt"/>
                  <a:ea typeface="+mn-ea"/>
                  <a:cs typeface="+mn-cs"/>
                </a:defRPr>
              </a:lvl5pPr>
              <a:lvl6pPr marL="6095629" algn="l" defTabSz="2438251" rtl="0" eaLnBrk="1" latinLnBrk="0" hangingPunct="1">
                <a:defRPr sz="4707" kern="1200">
                  <a:solidFill>
                    <a:schemeClr val="tx1"/>
                  </a:solidFill>
                  <a:latin typeface="+mn-lt"/>
                  <a:ea typeface="+mn-ea"/>
                  <a:cs typeface="+mn-cs"/>
                </a:defRPr>
              </a:lvl6pPr>
              <a:lvl7pPr marL="7314753" algn="l" defTabSz="2438251" rtl="0" eaLnBrk="1" latinLnBrk="0" hangingPunct="1">
                <a:defRPr sz="4707" kern="1200">
                  <a:solidFill>
                    <a:schemeClr val="tx1"/>
                  </a:solidFill>
                  <a:latin typeface="+mn-lt"/>
                  <a:ea typeface="+mn-ea"/>
                  <a:cs typeface="+mn-cs"/>
                </a:defRPr>
              </a:lvl7pPr>
              <a:lvl8pPr marL="8533877" algn="l" defTabSz="2438251" rtl="0" eaLnBrk="1" latinLnBrk="0" hangingPunct="1">
                <a:defRPr sz="4707" kern="1200">
                  <a:solidFill>
                    <a:schemeClr val="tx1"/>
                  </a:solidFill>
                  <a:latin typeface="+mn-lt"/>
                  <a:ea typeface="+mn-ea"/>
                  <a:cs typeface="+mn-cs"/>
                </a:defRPr>
              </a:lvl8pPr>
              <a:lvl9pPr marL="9753007" algn="l" defTabSz="2438251" rtl="0" eaLnBrk="1" latinLnBrk="0" hangingPunct="1">
                <a:defRPr sz="4707" kern="1200">
                  <a:solidFill>
                    <a:schemeClr val="tx1"/>
                  </a:solidFill>
                  <a:latin typeface="+mn-lt"/>
                  <a:ea typeface="+mn-ea"/>
                  <a:cs typeface="+mn-cs"/>
                </a:defRPr>
              </a:lvl9pPr>
            </a:lstStyle>
            <a:p>
              <a:pPr algn="ctr" defTabSz="2275878" fontAlgn="base">
                <a:spcBef>
                  <a:spcPct val="0"/>
                </a:spcBef>
                <a:spcAft>
                  <a:spcPts val="2987"/>
                </a:spcAft>
                <a:buSzPct val="90000"/>
              </a:pPr>
              <a:endParaRPr lang="en-US" sz="6969" dirty="0">
                <a:solidFill>
                  <a:srgbClr val="FFFFFF"/>
                </a:solidFill>
                <a:latin typeface="Segoe UI Semibold"/>
              </a:endParaRPr>
            </a:p>
          </p:txBody>
        </p:sp>
      </p:grpSp>
      <p:cxnSp>
        <p:nvCxnSpPr>
          <p:cNvPr id="34" name="Straight Arrow Connector 33">
            <a:extLst>
              <a:ext uri="{FF2B5EF4-FFF2-40B4-BE49-F238E27FC236}">
                <a16:creationId xmlns:a16="http://schemas.microsoft.com/office/drawing/2014/main" id="{24C914BE-5050-C7BF-C172-4C2476BEC68D}"/>
              </a:ext>
            </a:extLst>
          </p:cNvPr>
          <p:cNvCxnSpPr>
            <a:cxnSpLocks/>
          </p:cNvCxnSpPr>
          <p:nvPr userDrawn="1"/>
        </p:nvCxnSpPr>
        <p:spPr>
          <a:xfrm>
            <a:off x="587375" y="5910552"/>
            <a:ext cx="11022013" cy="0"/>
          </a:xfrm>
          <a:prstGeom prst="straightConnector1">
            <a:avLst/>
          </a:prstGeom>
          <a:ln w="1270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6696057-CC9D-F906-F357-0B9205E5BA7B}"/>
              </a:ext>
            </a:extLst>
          </p:cNvPr>
          <p:cNvSpPr/>
          <p:nvPr userDrawn="1"/>
        </p:nvSpPr>
        <p:spPr bwMode="auto">
          <a:xfrm>
            <a:off x="2636520" y="5666554"/>
            <a:ext cx="6990080" cy="487996"/>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1" name="Text Placeholder 19">
            <a:extLst>
              <a:ext uri="{FF2B5EF4-FFF2-40B4-BE49-F238E27FC236}">
                <a16:creationId xmlns:a16="http://schemas.microsoft.com/office/drawing/2014/main" id="{68ABE05C-369D-C182-65D0-C9475EA8CD0C}"/>
              </a:ext>
            </a:extLst>
          </p:cNvPr>
          <p:cNvSpPr>
            <a:spLocks noGrp="1"/>
          </p:cNvSpPr>
          <p:nvPr>
            <p:ph type="body" sz="quarter" idx="11" hasCustomPrompt="1"/>
          </p:nvPr>
        </p:nvSpPr>
        <p:spPr>
          <a:xfrm>
            <a:off x="2783841" y="5756664"/>
            <a:ext cx="6695438" cy="307777"/>
          </a:xfrm>
        </p:spPr>
        <p:txBody>
          <a:bodyPr anchor="ctr"/>
          <a:lstStyle>
            <a:lvl1pPr marL="0" indent="0" algn="ctr">
              <a:buNone/>
              <a:defRPr sz="2000">
                <a:latin typeface="+mj-lt"/>
              </a:defRPr>
            </a:lvl1pPr>
          </a:lstStyle>
          <a:p>
            <a:pPr lvl="0"/>
            <a:r>
              <a:rPr lang="en-US"/>
              <a:t>Insert text</a:t>
            </a:r>
          </a:p>
        </p:txBody>
      </p:sp>
      <p:sp>
        <p:nvSpPr>
          <p:cNvPr id="33" name="Text Placeholder 19">
            <a:extLst>
              <a:ext uri="{FF2B5EF4-FFF2-40B4-BE49-F238E27FC236}">
                <a16:creationId xmlns:a16="http://schemas.microsoft.com/office/drawing/2014/main" id="{D7EBD7BA-C6E6-EBF7-3F74-42AAA9BC2DCD}"/>
              </a:ext>
            </a:extLst>
          </p:cNvPr>
          <p:cNvSpPr>
            <a:spLocks noGrp="1"/>
          </p:cNvSpPr>
          <p:nvPr>
            <p:ph type="body" sz="quarter" idx="12" hasCustomPrompt="1"/>
          </p:nvPr>
        </p:nvSpPr>
        <p:spPr>
          <a:xfrm>
            <a:off x="4439170" y="3619011"/>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7" name="Text Placeholder 19">
            <a:extLst>
              <a:ext uri="{FF2B5EF4-FFF2-40B4-BE49-F238E27FC236}">
                <a16:creationId xmlns:a16="http://schemas.microsoft.com/office/drawing/2014/main" id="{401A70FE-06F7-C76B-95C1-1B31128A9872}"/>
              </a:ext>
            </a:extLst>
          </p:cNvPr>
          <p:cNvSpPr>
            <a:spLocks noGrp="1"/>
          </p:cNvSpPr>
          <p:nvPr>
            <p:ph type="body" sz="quarter" idx="13" hasCustomPrompt="1"/>
          </p:nvPr>
        </p:nvSpPr>
        <p:spPr>
          <a:xfrm>
            <a:off x="712402" y="4813357"/>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8" name="Text Placeholder 19">
            <a:extLst>
              <a:ext uri="{FF2B5EF4-FFF2-40B4-BE49-F238E27FC236}">
                <a16:creationId xmlns:a16="http://schemas.microsoft.com/office/drawing/2014/main" id="{6E7CA8B8-227F-CA2F-DEE8-12C16BD8B288}"/>
              </a:ext>
            </a:extLst>
          </p:cNvPr>
          <p:cNvSpPr>
            <a:spLocks noGrp="1"/>
          </p:cNvSpPr>
          <p:nvPr>
            <p:ph type="body" sz="quarter" idx="14" hasCustomPrompt="1"/>
          </p:nvPr>
        </p:nvSpPr>
        <p:spPr>
          <a:xfrm>
            <a:off x="8165938" y="2429484"/>
            <a:ext cx="3318422" cy="276999"/>
          </a:xfrm>
        </p:spPr>
        <p:txBody>
          <a:bodyPr anchor="ctr"/>
          <a:lstStyle>
            <a:lvl1pPr marL="0" indent="0" algn="ctr">
              <a:buNone/>
              <a:defRPr sz="1800">
                <a:solidFill>
                  <a:schemeClr val="bg1"/>
                </a:solidFill>
                <a:latin typeface="+mj-lt"/>
              </a:defRPr>
            </a:lvl1pPr>
          </a:lstStyle>
          <a:p>
            <a:pPr lvl="0"/>
            <a:r>
              <a:rPr lang="en-US"/>
              <a:t>Insert text</a:t>
            </a:r>
          </a:p>
        </p:txBody>
      </p:sp>
      <p:sp>
        <p:nvSpPr>
          <p:cNvPr id="39" name="Text Placeholder 19">
            <a:extLst>
              <a:ext uri="{FF2B5EF4-FFF2-40B4-BE49-F238E27FC236}">
                <a16:creationId xmlns:a16="http://schemas.microsoft.com/office/drawing/2014/main" id="{4382D060-386D-278B-7491-FA8761C2DA9E}"/>
              </a:ext>
            </a:extLst>
          </p:cNvPr>
          <p:cNvSpPr>
            <a:spLocks noGrp="1"/>
          </p:cNvSpPr>
          <p:nvPr>
            <p:ph type="body" sz="quarter" idx="15" hasCustomPrompt="1"/>
          </p:nvPr>
        </p:nvSpPr>
        <p:spPr>
          <a:xfrm>
            <a:off x="8165938" y="3621421"/>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0" name="Text Placeholder 19">
            <a:extLst>
              <a:ext uri="{FF2B5EF4-FFF2-40B4-BE49-F238E27FC236}">
                <a16:creationId xmlns:a16="http://schemas.microsoft.com/office/drawing/2014/main" id="{4762ACED-18A7-968F-ABE0-D18216A5153C}"/>
              </a:ext>
            </a:extLst>
          </p:cNvPr>
          <p:cNvSpPr>
            <a:spLocks noGrp="1"/>
          </p:cNvSpPr>
          <p:nvPr>
            <p:ph type="body" sz="quarter" idx="16" hasCustomPrompt="1"/>
          </p:nvPr>
        </p:nvSpPr>
        <p:spPr>
          <a:xfrm>
            <a:off x="8165938"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
        <p:nvSpPr>
          <p:cNvPr id="41" name="Text Placeholder 19">
            <a:extLst>
              <a:ext uri="{FF2B5EF4-FFF2-40B4-BE49-F238E27FC236}">
                <a16:creationId xmlns:a16="http://schemas.microsoft.com/office/drawing/2014/main" id="{F2BB1B07-0759-BCF0-29B9-AAFAE5571194}"/>
              </a:ext>
            </a:extLst>
          </p:cNvPr>
          <p:cNvSpPr>
            <a:spLocks noGrp="1"/>
          </p:cNvSpPr>
          <p:nvPr>
            <p:ph type="body" sz="quarter" idx="17" hasCustomPrompt="1"/>
          </p:nvPr>
        </p:nvSpPr>
        <p:spPr>
          <a:xfrm>
            <a:off x="4439170" y="4813357"/>
            <a:ext cx="3318422" cy="276999"/>
          </a:xfrm>
        </p:spPr>
        <p:txBody>
          <a:bodyPr anchor="ctr"/>
          <a:lstStyle>
            <a:lvl1pPr marL="0" indent="0" algn="ctr">
              <a:buNone/>
              <a:defRPr sz="1800">
                <a:solidFill>
                  <a:schemeClr val="tx1"/>
                </a:solidFill>
                <a:latin typeface="+mj-lt"/>
              </a:defRPr>
            </a:lvl1pPr>
          </a:lstStyle>
          <a:p>
            <a:pPr lvl="0"/>
            <a:r>
              <a:rPr lang="en-US"/>
              <a:t>Insert text</a:t>
            </a:r>
          </a:p>
        </p:txBody>
      </p:sp>
    </p:spTree>
    <p:extLst>
      <p:ext uri="{BB962C8B-B14F-4D97-AF65-F5344CB8AC3E}">
        <p14:creationId xmlns:p14="http://schemas.microsoft.com/office/powerpoint/2010/main" val="2635206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with five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5BD4D-E72D-331A-6110-813B273C65B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4" name="Rectangle: Rounded Corners 3">
            <a:extLst>
              <a:ext uri="{FF2B5EF4-FFF2-40B4-BE49-F238E27FC236}">
                <a16:creationId xmlns:a16="http://schemas.microsoft.com/office/drawing/2014/main" id="{2AE9BCAE-0BC2-4E20-9806-CA14198F5A19}"/>
              </a:ext>
              <a:ext uri="{C183D7F6-B498-43B3-948B-1728B52AA6E4}">
                <adec:decorative xmlns:adec="http://schemas.microsoft.com/office/drawing/2017/decorative" val="1"/>
              </a:ext>
            </a:extLst>
          </p:cNvPr>
          <p:cNvSpPr/>
          <p:nvPr userDrawn="1"/>
        </p:nvSpPr>
        <p:spPr bwMode="auto">
          <a:xfrm>
            <a:off x="592136" y="1651000"/>
            <a:ext cx="11025188" cy="46180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7" name="Rectangle: Rounded Corners 6">
            <a:extLst>
              <a:ext uri="{FF2B5EF4-FFF2-40B4-BE49-F238E27FC236}">
                <a16:creationId xmlns:a16="http://schemas.microsoft.com/office/drawing/2014/main" id="{0D504DF3-BA95-E2C4-2D7D-DA033A05E133}"/>
              </a:ext>
            </a:extLst>
          </p:cNvPr>
          <p:cNvSpPr/>
          <p:nvPr userDrawn="1"/>
        </p:nvSpPr>
        <p:spPr bwMode="auto">
          <a:xfrm>
            <a:off x="3900487" y="1381125"/>
            <a:ext cx="4391026" cy="53975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46" name="Text Placeholder 19">
            <a:extLst>
              <a:ext uri="{FF2B5EF4-FFF2-40B4-BE49-F238E27FC236}">
                <a16:creationId xmlns:a16="http://schemas.microsoft.com/office/drawing/2014/main" id="{75C791E7-9893-CC22-2ADA-7F985DA13D56}"/>
              </a:ext>
            </a:extLst>
          </p:cNvPr>
          <p:cNvSpPr>
            <a:spLocks noGrp="1"/>
          </p:cNvSpPr>
          <p:nvPr>
            <p:ph type="body" sz="quarter" idx="12" hasCustomPrompt="1"/>
          </p:nvPr>
        </p:nvSpPr>
        <p:spPr>
          <a:xfrm>
            <a:off x="4093369" y="1466334"/>
            <a:ext cx="4005262" cy="369332"/>
          </a:xfrm>
        </p:spPr>
        <p:txBody>
          <a:bodyPr anchor="ctr"/>
          <a:lstStyle>
            <a:lvl1pPr marL="0" marR="0" indent="0" algn="ctr" defTabSz="914222"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b="1" kern="1200" spc="0" baseline="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Insert text</a:t>
            </a:r>
          </a:p>
        </p:txBody>
      </p:sp>
      <p:sp>
        <p:nvSpPr>
          <p:cNvPr id="12" name="TextBox 11">
            <a:extLst>
              <a:ext uri="{FF2B5EF4-FFF2-40B4-BE49-F238E27FC236}">
                <a16:creationId xmlns:a16="http://schemas.microsoft.com/office/drawing/2014/main" id="{A390C3B6-9E9A-9B9E-AF09-EAFF24807F75}"/>
              </a:ext>
            </a:extLst>
          </p:cNvPr>
          <p:cNvSpPr txBox="1"/>
          <p:nvPr userDrawn="1"/>
        </p:nvSpPr>
        <p:spPr>
          <a:xfrm>
            <a:off x="742949" y="2065021"/>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2" name="TextBox 21">
            <a:extLst>
              <a:ext uri="{FF2B5EF4-FFF2-40B4-BE49-F238E27FC236}">
                <a16:creationId xmlns:a16="http://schemas.microsoft.com/office/drawing/2014/main" id="{04AB062E-8C16-7B57-F716-AE5C1BCCF292}"/>
              </a:ext>
            </a:extLst>
          </p:cNvPr>
          <p:cNvSpPr txBox="1"/>
          <p:nvPr userDrawn="1"/>
        </p:nvSpPr>
        <p:spPr>
          <a:xfrm>
            <a:off x="742949" y="2896139"/>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3" name="TextBox 22">
            <a:extLst>
              <a:ext uri="{FF2B5EF4-FFF2-40B4-BE49-F238E27FC236}">
                <a16:creationId xmlns:a16="http://schemas.microsoft.com/office/drawing/2014/main" id="{DA737BF6-63C8-544D-6387-EC271986A254}"/>
              </a:ext>
            </a:extLst>
          </p:cNvPr>
          <p:cNvSpPr txBox="1"/>
          <p:nvPr userDrawn="1"/>
        </p:nvSpPr>
        <p:spPr>
          <a:xfrm>
            <a:off x="742949" y="3727257"/>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4" name="TextBox 23">
            <a:extLst>
              <a:ext uri="{FF2B5EF4-FFF2-40B4-BE49-F238E27FC236}">
                <a16:creationId xmlns:a16="http://schemas.microsoft.com/office/drawing/2014/main" id="{06536E69-CABE-439E-0EAC-791D104D5E9D}"/>
              </a:ext>
            </a:extLst>
          </p:cNvPr>
          <p:cNvSpPr txBox="1"/>
          <p:nvPr userDrawn="1"/>
        </p:nvSpPr>
        <p:spPr>
          <a:xfrm>
            <a:off x="742949" y="4558375"/>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25" name="TextBox 24">
            <a:extLst>
              <a:ext uri="{FF2B5EF4-FFF2-40B4-BE49-F238E27FC236}">
                <a16:creationId xmlns:a16="http://schemas.microsoft.com/office/drawing/2014/main" id="{A945F86E-139D-C593-B299-DDD000ACB63A}"/>
              </a:ext>
            </a:extLst>
          </p:cNvPr>
          <p:cNvSpPr txBox="1"/>
          <p:nvPr userDrawn="1"/>
        </p:nvSpPr>
        <p:spPr>
          <a:xfrm>
            <a:off x="742949" y="5389492"/>
            <a:ext cx="10723562" cy="719209"/>
          </a:xfrm>
          <a:prstGeom prst="roundRect">
            <a:avLst/>
          </a:prstGeom>
          <a:solidFill>
            <a:srgbClr val="FFFFFF">
              <a:alpha val="20000"/>
            </a:srgbClr>
          </a:solidFill>
        </p:spPr>
        <p:txBody>
          <a:bodyPr wrap="square" lIns="97971" tIns="514351" rIns="97971" bIns="0" rtlCol="0" anchor="ctr">
            <a:normAutofit fontScale="32500" lnSpcReduction="20000"/>
          </a:bodyPr>
          <a:lstStyle>
            <a:defPPr>
              <a:defRPr lang="en-US"/>
            </a:defPPr>
            <a:lvl1pPr marR="0" lvl="0" indent="0" algn="ctr" defTabSz="1740645" fontAlgn="base">
              <a:lnSpc>
                <a:spcPct val="100000"/>
              </a:lnSpc>
              <a:spcBef>
                <a:spcPct val="0"/>
              </a:spcBef>
              <a:spcAft>
                <a:spcPct val="0"/>
              </a:spcAft>
              <a:buClrTx/>
              <a:buSzTx/>
              <a:buFontTx/>
              <a:buNone/>
              <a:tabLst/>
              <a:defRPr kumimoji="0" sz="3214" b="1" i="0" u="none" strike="noStrike" kern="0" cap="none" spc="0" normalizeH="0" baseline="0">
                <a:ln>
                  <a:noFill/>
                </a:ln>
                <a:effectLst/>
                <a:uLnTx/>
                <a:uFillTx/>
                <a:latin typeface="Segoe UI Variable Display Semib" pitchFamily="2" charset="0"/>
                <a:cs typeface="Segoe Sans Display Semibold"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endParaRPr lang="en-US" dirty="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28674" y="2301515"/>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cxnSp>
        <p:nvCxnSpPr>
          <p:cNvPr id="27" name="Straight Connector 26">
            <a:extLst>
              <a:ext uri="{FF2B5EF4-FFF2-40B4-BE49-F238E27FC236}">
                <a16:creationId xmlns:a16="http://schemas.microsoft.com/office/drawing/2014/main" id="{47331A65-ED04-5548-E6BE-554542BC7221}"/>
              </a:ext>
            </a:extLst>
          </p:cNvPr>
          <p:cNvCxnSpPr>
            <a:cxnSpLocks/>
          </p:cNvCxnSpPr>
          <p:nvPr userDrawn="1"/>
        </p:nvCxnSpPr>
        <p:spPr>
          <a:xfrm>
            <a:off x="2164398" y="2147626"/>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A402DFE-953D-BF57-2026-3E833C8E56D7}"/>
              </a:ext>
            </a:extLst>
          </p:cNvPr>
          <p:cNvCxnSpPr>
            <a:cxnSpLocks/>
          </p:cNvCxnSpPr>
          <p:nvPr userDrawn="1"/>
        </p:nvCxnSpPr>
        <p:spPr>
          <a:xfrm>
            <a:off x="2164398" y="2978744"/>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4EF065-B16C-9AA5-4C93-5C06FCBDD6C2}"/>
              </a:ext>
            </a:extLst>
          </p:cNvPr>
          <p:cNvCxnSpPr>
            <a:cxnSpLocks/>
          </p:cNvCxnSpPr>
          <p:nvPr userDrawn="1"/>
        </p:nvCxnSpPr>
        <p:spPr>
          <a:xfrm>
            <a:off x="2164398" y="3809862"/>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030E4B-4E24-F71C-19AF-93412496F6AD}"/>
              </a:ext>
            </a:extLst>
          </p:cNvPr>
          <p:cNvCxnSpPr>
            <a:cxnSpLocks/>
          </p:cNvCxnSpPr>
          <p:nvPr userDrawn="1"/>
        </p:nvCxnSpPr>
        <p:spPr>
          <a:xfrm>
            <a:off x="2164398" y="4640980"/>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CA4BF68-DB91-F295-5863-E5B92AD7ECC0}"/>
              </a:ext>
            </a:extLst>
          </p:cNvPr>
          <p:cNvCxnSpPr>
            <a:cxnSpLocks/>
          </p:cNvCxnSpPr>
          <p:nvPr userDrawn="1"/>
        </p:nvCxnSpPr>
        <p:spPr>
          <a:xfrm>
            <a:off x="2164398" y="5472097"/>
            <a:ext cx="0" cy="55399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19">
            <a:extLst>
              <a:ext uri="{FF2B5EF4-FFF2-40B4-BE49-F238E27FC236}">
                <a16:creationId xmlns:a16="http://schemas.microsoft.com/office/drawing/2014/main" id="{D55C8022-2C1F-1A16-C2CC-A7D6E20EFE12}"/>
              </a:ext>
            </a:extLst>
          </p:cNvPr>
          <p:cNvSpPr>
            <a:spLocks noGrp="1"/>
          </p:cNvSpPr>
          <p:nvPr>
            <p:ph type="body" sz="quarter" idx="14" hasCustomPrompt="1"/>
          </p:nvPr>
        </p:nvSpPr>
        <p:spPr>
          <a:xfrm>
            <a:off x="828674" y="3132633"/>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7E21129B-3352-3177-F487-3976C3D35342}"/>
              </a:ext>
            </a:extLst>
          </p:cNvPr>
          <p:cNvSpPr>
            <a:spLocks noGrp="1"/>
          </p:cNvSpPr>
          <p:nvPr>
            <p:ph type="body" sz="quarter" idx="15" hasCustomPrompt="1"/>
          </p:nvPr>
        </p:nvSpPr>
        <p:spPr>
          <a:xfrm>
            <a:off x="828674" y="3963751"/>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F6360B5F-AAF9-7C2D-A753-BA07D20115BF}"/>
              </a:ext>
            </a:extLst>
          </p:cNvPr>
          <p:cNvSpPr>
            <a:spLocks noGrp="1"/>
          </p:cNvSpPr>
          <p:nvPr>
            <p:ph type="body" sz="quarter" idx="16" hasCustomPrompt="1"/>
          </p:nvPr>
        </p:nvSpPr>
        <p:spPr>
          <a:xfrm>
            <a:off x="828674" y="4794869"/>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A02AFC05-DFD1-F709-66B8-486BF38BB972}"/>
              </a:ext>
            </a:extLst>
          </p:cNvPr>
          <p:cNvSpPr>
            <a:spLocks noGrp="1"/>
          </p:cNvSpPr>
          <p:nvPr>
            <p:ph type="body" sz="quarter" idx="17" hasCustomPrompt="1"/>
          </p:nvPr>
        </p:nvSpPr>
        <p:spPr>
          <a:xfrm>
            <a:off x="828674" y="5625986"/>
            <a:ext cx="1252537" cy="246221"/>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6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903220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with 10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217FB6-A966-7D65-2279-5A8AC657B0F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lstStyle>
            <a:lvl1pPr algn="ctr">
              <a:defRPr sz="3600"/>
            </a:lvl1pPr>
          </a:lstStyle>
          <a:p>
            <a:r>
              <a:rPr lang="en-US"/>
              <a:t>Click to edit Master title style</a:t>
            </a:r>
          </a:p>
        </p:txBody>
      </p:sp>
      <p:sp>
        <p:nvSpPr>
          <p:cNvPr id="5" name="Rectangle: Top Corners Rounded 125">
            <a:extLst>
              <a:ext uri="{FF2B5EF4-FFF2-40B4-BE49-F238E27FC236}">
                <a16:creationId xmlns:a16="http://schemas.microsoft.com/office/drawing/2014/main" id="{C61C236E-B755-6F32-4B8E-E62730471386}"/>
              </a:ext>
              <a:ext uri="{C183D7F6-B498-43B3-948B-1728B52AA6E4}">
                <adec:decorative xmlns:adec="http://schemas.microsoft.com/office/drawing/2017/decorative" val="1"/>
              </a:ext>
            </a:extLst>
          </p:cNvPr>
          <p:cNvSpPr/>
          <p:nvPr userDrawn="1"/>
        </p:nvSpPr>
        <p:spPr bwMode="auto">
          <a:xfrm>
            <a:off x="581018" y="1702270"/>
            <a:ext cx="11029951" cy="4174013"/>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6" name="Rounded Rectangle 30">
            <a:extLst>
              <a:ext uri="{FF2B5EF4-FFF2-40B4-BE49-F238E27FC236}">
                <a16:creationId xmlns:a16="http://schemas.microsoft.com/office/drawing/2014/main" id="{20F99D0C-B114-F05F-E4BF-F5C8989CE52C}"/>
              </a:ext>
              <a:ext uri="{C183D7F6-B498-43B3-948B-1728B52AA6E4}">
                <adec:decorative xmlns:adec="http://schemas.microsoft.com/office/drawing/2017/decorative" val="1"/>
              </a:ext>
            </a:extLst>
          </p:cNvPr>
          <p:cNvSpPr/>
          <p:nvPr userDrawn="1"/>
        </p:nvSpPr>
        <p:spPr bwMode="auto">
          <a:xfrm>
            <a:off x="726427" y="5041337"/>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8" name="Rounded Rectangle 30">
            <a:extLst>
              <a:ext uri="{FF2B5EF4-FFF2-40B4-BE49-F238E27FC236}">
                <a16:creationId xmlns:a16="http://schemas.microsoft.com/office/drawing/2014/main" id="{728B55A4-6B01-CE5E-E124-B2A78A53E93B}"/>
              </a:ext>
              <a:ext uri="{C183D7F6-B498-43B3-948B-1728B52AA6E4}">
                <adec:decorative xmlns:adec="http://schemas.microsoft.com/office/drawing/2017/decorative" val="1"/>
              </a:ext>
            </a:extLst>
          </p:cNvPr>
          <p:cNvSpPr/>
          <p:nvPr userDrawn="1"/>
        </p:nvSpPr>
        <p:spPr bwMode="auto">
          <a:xfrm>
            <a:off x="726427" y="4233298"/>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9" name="Rounded Rectangle 30">
            <a:extLst>
              <a:ext uri="{FF2B5EF4-FFF2-40B4-BE49-F238E27FC236}">
                <a16:creationId xmlns:a16="http://schemas.microsoft.com/office/drawing/2014/main" id="{AE2FC2A1-A651-C5EF-90EE-48E4DF0D05E0}"/>
              </a:ext>
              <a:ext uri="{C183D7F6-B498-43B3-948B-1728B52AA6E4}">
                <adec:decorative xmlns:adec="http://schemas.microsoft.com/office/drawing/2017/decorative" val="1"/>
              </a:ext>
            </a:extLst>
          </p:cNvPr>
          <p:cNvSpPr/>
          <p:nvPr userDrawn="1"/>
        </p:nvSpPr>
        <p:spPr bwMode="auto">
          <a:xfrm>
            <a:off x="726427" y="3425259"/>
            <a:ext cx="10728447" cy="688903"/>
          </a:xfrm>
          <a:prstGeom prst="roundRect">
            <a:avLst>
              <a:gd name="adj" fmla="val 8427"/>
            </a:avLst>
          </a:prstGeom>
          <a:solidFill>
            <a:srgbClr val="FFFFFF">
              <a:alpha val="20000"/>
            </a:srgbClr>
          </a:solidFill>
        </p:spPr>
        <p:txBody>
          <a:bodyPr wrap="square" lIns="97971" tIns="514351" rIns="97971" bIns="0" rtlCol="0" anchor="ctr">
            <a:normAutofit fontScale="32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0" name="Rounded Rectangle 6">
            <a:extLst>
              <a:ext uri="{FF2B5EF4-FFF2-40B4-BE49-F238E27FC236}">
                <a16:creationId xmlns:a16="http://schemas.microsoft.com/office/drawing/2014/main" id="{78F61C80-19CF-851C-BB72-9D4C3568385F}"/>
              </a:ext>
              <a:ext uri="{C183D7F6-B498-43B3-948B-1728B52AA6E4}">
                <adec:decorative xmlns:adec="http://schemas.microsoft.com/office/drawing/2017/decorative" val="1"/>
              </a:ext>
            </a:extLst>
          </p:cNvPr>
          <p:cNvSpPr/>
          <p:nvPr userDrawn="1"/>
        </p:nvSpPr>
        <p:spPr bwMode="auto">
          <a:xfrm>
            <a:off x="726430"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1" name="Rounded Rectangle 22">
            <a:extLst>
              <a:ext uri="{FF2B5EF4-FFF2-40B4-BE49-F238E27FC236}">
                <a16:creationId xmlns:a16="http://schemas.microsoft.com/office/drawing/2014/main" id="{C0A63AB3-4F8B-578E-CC9C-FCD89D1BFB35}"/>
              </a:ext>
              <a:ext uri="{C183D7F6-B498-43B3-948B-1728B52AA6E4}">
                <adec:decorative xmlns:adec="http://schemas.microsoft.com/office/drawing/2017/decorative" val="1"/>
              </a:ext>
            </a:extLst>
          </p:cNvPr>
          <p:cNvSpPr/>
          <p:nvPr userDrawn="1"/>
        </p:nvSpPr>
        <p:spPr bwMode="auto">
          <a:xfrm>
            <a:off x="3830652"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3" name="Rounded Rectangle 22">
            <a:extLst>
              <a:ext uri="{FF2B5EF4-FFF2-40B4-BE49-F238E27FC236}">
                <a16:creationId xmlns:a16="http://schemas.microsoft.com/office/drawing/2014/main" id="{F3024114-1687-8CD7-B359-05333D215681}"/>
              </a:ext>
              <a:ext uri="{C183D7F6-B498-43B3-948B-1728B52AA6E4}">
                <adec:decorative xmlns:adec="http://schemas.microsoft.com/office/drawing/2017/decorative" val="1"/>
              </a:ext>
            </a:extLst>
          </p:cNvPr>
          <p:cNvSpPr/>
          <p:nvPr userDrawn="1"/>
        </p:nvSpPr>
        <p:spPr bwMode="auto">
          <a:xfrm>
            <a:off x="5382763"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4" name="Rounded Rectangle 26">
            <a:extLst>
              <a:ext uri="{FF2B5EF4-FFF2-40B4-BE49-F238E27FC236}">
                <a16:creationId xmlns:a16="http://schemas.microsoft.com/office/drawing/2014/main" id="{794E4DCF-4C5C-2F3D-F02B-A95802E74CDC}"/>
              </a:ext>
              <a:ext uri="{C183D7F6-B498-43B3-948B-1728B52AA6E4}">
                <adec:decorative xmlns:adec="http://schemas.microsoft.com/office/drawing/2017/decorative" val="1"/>
              </a:ext>
            </a:extLst>
          </p:cNvPr>
          <p:cNvSpPr/>
          <p:nvPr userDrawn="1"/>
        </p:nvSpPr>
        <p:spPr bwMode="auto">
          <a:xfrm>
            <a:off x="6934874"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5" name="Rounded Rectangle 26">
            <a:extLst>
              <a:ext uri="{FF2B5EF4-FFF2-40B4-BE49-F238E27FC236}">
                <a16:creationId xmlns:a16="http://schemas.microsoft.com/office/drawing/2014/main" id="{DF524747-709C-593C-F5D0-3878B2BDCF1A}"/>
              </a:ext>
              <a:ext uri="{C183D7F6-B498-43B3-948B-1728B52AA6E4}">
                <adec:decorative xmlns:adec="http://schemas.microsoft.com/office/drawing/2017/decorative" val="1"/>
              </a:ext>
            </a:extLst>
          </p:cNvPr>
          <p:cNvSpPr/>
          <p:nvPr userDrawn="1"/>
        </p:nvSpPr>
        <p:spPr bwMode="auto">
          <a:xfrm>
            <a:off x="1003909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6" name="Rounded Rectangle 18">
            <a:extLst>
              <a:ext uri="{FF2B5EF4-FFF2-40B4-BE49-F238E27FC236}">
                <a16:creationId xmlns:a16="http://schemas.microsoft.com/office/drawing/2014/main" id="{4881F5DC-48E7-C45C-F43F-6770BFB3C0AD}"/>
              </a:ext>
              <a:ext uri="{C183D7F6-B498-43B3-948B-1728B52AA6E4}">
                <adec:decorative xmlns:adec="http://schemas.microsoft.com/office/drawing/2017/decorative" val="1"/>
              </a:ext>
            </a:extLst>
          </p:cNvPr>
          <p:cNvSpPr/>
          <p:nvPr userDrawn="1"/>
        </p:nvSpPr>
        <p:spPr bwMode="auto">
          <a:xfrm>
            <a:off x="2278541"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7" name="Rounded Rectangle 22">
            <a:extLst>
              <a:ext uri="{FF2B5EF4-FFF2-40B4-BE49-F238E27FC236}">
                <a16:creationId xmlns:a16="http://schemas.microsoft.com/office/drawing/2014/main" id="{3EDF599A-A965-7B0D-39E1-04C502192E91}"/>
              </a:ext>
              <a:ext uri="{C183D7F6-B498-43B3-948B-1728B52AA6E4}">
                <adec:decorative xmlns:adec="http://schemas.microsoft.com/office/drawing/2017/decorative" val="1"/>
              </a:ext>
            </a:extLst>
          </p:cNvPr>
          <p:cNvSpPr/>
          <p:nvPr userDrawn="1"/>
        </p:nvSpPr>
        <p:spPr bwMode="auto">
          <a:xfrm>
            <a:off x="8486985" y="1869269"/>
            <a:ext cx="1426464" cy="1436854"/>
          </a:xfrm>
          <a:prstGeom prst="roundRect">
            <a:avLst>
              <a:gd name="adj" fmla="val 5399"/>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44691B43-A5E2-39F5-F676-5533536FE563}"/>
              </a:ext>
            </a:extLst>
          </p:cNvPr>
          <p:cNvSpPr>
            <a:spLocks noGrp="1"/>
          </p:cNvSpPr>
          <p:nvPr>
            <p:ph type="body" sz="quarter" idx="13" hasCustomPrompt="1"/>
          </p:nvPr>
        </p:nvSpPr>
        <p:spPr>
          <a:xfrm>
            <a:off x="813394"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3" name="Text Placeholder 19">
            <a:extLst>
              <a:ext uri="{FF2B5EF4-FFF2-40B4-BE49-F238E27FC236}">
                <a16:creationId xmlns:a16="http://schemas.microsoft.com/office/drawing/2014/main" id="{C988E39D-976A-93AA-D55A-AA8BCC63A1E6}"/>
              </a:ext>
            </a:extLst>
          </p:cNvPr>
          <p:cNvSpPr>
            <a:spLocks noGrp="1"/>
          </p:cNvSpPr>
          <p:nvPr>
            <p:ph type="body" sz="quarter" idx="14" hasCustomPrompt="1"/>
          </p:nvPr>
        </p:nvSpPr>
        <p:spPr>
          <a:xfrm>
            <a:off x="2365505"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4" name="Text Placeholder 19">
            <a:extLst>
              <a:ext uri="{FF2B5EF4-FFF2-40B4-BE49-F238E27FC236}">
                <a16:creationId xmlns:a16="http://schemas.microsoft.com/office/drawing/2014/main" id="{1D9C16AC-CAF4-BE45-CB5E-554638DA4C54}"/>
              </a:ext>
            </a:extLst>
          </p:cNvPr>
          <p:cNvSpPr>
            <a:spLocks noGrp="1"/>
          </p:cNvSpPr>
          <p:nvPr>
            <p:ph type="body" sz="quarter" idx="15" hasCustomPrompt="1"/>
          </p:nvPr>
        </p:nvSpPr>
        <p:spPr>
          <a:xfrm>
            <a:off x="3917616"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5" name="Text Placeholder 19">
            <a:extLst>
              <a:ext uri="{FF2B5EF4-FFF2-40B4-BE49-F238E27FC236}">
                <a16:creationId xmlns:a16="http://schemas.microsoft.com/office/drawing/2014/main" id="{C8D76B95-E5FB-FD09-1726-EBB6E61FFA8F}"/>
              </a:ext>
            </a:extLst>
          </p:cNvPr>
          <p:cNvSpPr>
            <a:spLocks noGrp="1"/>
          </p:cNvSpPr>
          <p:nvPr>
            <p:ph type="body" sz="quarter" idx="16" hasCustomPrompt="1"/>
          </p:nvPr>
        </p:nvSpPr>
        <p:spPr>
          <a:xfrm>
            <a:off x="5469727"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8B34E487-FCCE-0BF0-DA13-2BF476674334}"/>
              </a:ext>
            </a:extLst>
          </p:cNvPr>
          <p:cNvSpPr>
            <a:spLocks noGrp="1"/>
          </p:cNvSpPr>
          <p:nvPr>
            <p:ph type="body" sz="quarter" idx="17" hasCustomPrompt="1"/>
          </p:nvPr>
        </p:nvSpPr>
        <p:spPr>
          <a:xfrm>
            <a:off x="7021838"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0BEFA0AE-B0B1-EBC0-B980-FDF791EB1CA6}"/>
              </a:ext>
            </a:extLst>
          </p:cNvPr>
          <p:cNvSpPr>
            <a:spLocks noGrp="1"/>
          </p:cNvSpPr>
          <p:nvPr>
            <p:ph type="body" sz="quarter" idx="18" hasCustomPrompt="1"/>
          </p:nvPr>
        </p:nvSpPr>
        <p:spPr>
          <a:xfrm>
            <a:off x="857394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1F8DB80C-8461-500B-2283-6916A557B108}"/>
              </a:ext>
            </a:extLst>
          </p:cNvPr>
          <p:cNvSpPr>
            <a:spLocks noGrp="1"/>
          </p:cNvSpPr>
          <p:nvPr>
            <p:ph type="body" sz="quarter" idx="19" hasCustomPrompt="1"/>
          </p:nvPr>
        </p:nvSpPr>
        <p:spPr>
          <a:xfrm>
            <a:off x="10126059" y="2615827"/>
            <a:ext cx="1252537" cy="276999"/>
          </a:xfrm>
        </p:spPr>
        <p:txBody>
          <a:bodyPr anchor="t"/>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5402525" y="3631211"/>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34" name="Oval 33">
            <a:extLst>
              <a:ext uri="{FF2B5EF4-FFF2-40B4-BE49-F238E27FC236}">
                <a16:creationId xmlns:a16="http://schemas.microsoft.com/office/drawing/2014/main" id="{F0DC2FFC-A06D-88ED-E860-DD81E86CD96E}"/>
              </a:ext>
            </a:extLst>
          </p:cNvPr>
          <p:cNvSpPr/>
          <p:nvPr userDrawn="1"/>
        </p:nvSpPr>
        <p:spPr bwMode="auto">
          <a:xfrm>
            <a:off x="1155854"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5" name="Oval 34">
            <a:extLst>
              <a:ext uri="{FF2B5EF4-FFF2-40B4-BE49-F238E27FC236}">
                <a16:creationId xmlns:a16="http://schemas.microsoft.com/office/drawing/2014/main" id="{1AF53FBA-C1A3-4FAD-F7F9-60100EE5213A}"/>
              </a:ext>
            </a:extLst>
          </p:cNvPr>
          <p:cNvSpPr/>
          <p:nvPr userDrawn="1"/>
        </p:nvSpPr>
        <p:spPr bwMode="auto">
          <a:xfrm>
            <a:off x="2707965"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7" name="Oval 36">
            <a:extLst>
              <a:ext uri="{FF2B5EF4-FFF2-40B4-BE49-F238E27FC236}">
                <a16:creationId xmlns:a16="http://schemas.microsoft.com/office/drawing/2014/main" id="{2BB407AE-A6E3-75F6-112D-5834B75C510F}"/>
              </a:ext>
            </a:extLst>
          </p:cNvPr>
          <p:cNvSpPr/>
          <p:nvPr userDrawn="1"/>
        </p:nvSpPr>
        <p:spPr bwMode="auto">
          <a:xfrm>
            <a:off x="4260076"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8" name="Oval 37">
            <a:extLst>
              <a:ext uri="{FF2B5EF4-FFF2-40B4-BE49-F238E27FC236}">
                <a16:creationId xmlns:a16="http://schemas.microsoft.com/office/drawing/2014/main" id="{F285A4C7-7900-BC4C-3373-B84A18FC443E}"/>
              </a:ext>
            </a:extLst>
          </p:cNvPr>
          <p:cNvSpPr/>
          <p:nvPr userDrawn="1"/>
        </p:nvSpPr>
        <p:spPr bwMode="auto">
          <a:xfrm>
            <a:off x="5812187"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39" name="Oval 38">
            <a:extLst>
              <a:ext uri="{FF2B5EF4-FFF2-40B4-BE49-F238E27FC236}">
                <a16:creationId xmlns:a16="http://schemas.microsoft.com/office/drawing/2014/main" id="{E4B0BB4B-2113-9230-D913-C1A5B8D7B651}"/>
              </a:ext>
            </a:extLst>
          </p:cNvPr>
          <p:cNvSpPr/>
          <p:nvPr userDrawn="1"/>
        </p:nvSpPr>
        <p:spPr bwMode="auto">
          <a:xfrm>
            <a:off x="7364298"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0" name="Oval 39">
            <a:extLst>
              <a:ext uri="{FF2B5EF4-FFF2-40B4-BE49-F238E27FC236}">
                <a16:creationId xmlns:a16="http://schemas.microsoft.com/office/drawing/2014/main" id="{D8FE2EC6-A5DC-8D0E-E466-DA0ED131D192}"/>
              </a:ext>
            </a:extLst>
          </p:cNvPr>
          <p:cNvSpPr/>
          <p:nvPr userDrawn="1"/>
        </p:nvSpPr>
        <p:spPr bwMode="auto">
          <a:xfrm>
            <a:off x="891640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1" name="Oval 40">
            <a:extLst>
              <a:ext uri="{FF2B5EF4-FFF2-40B4-BE49-F238E27FC236}">
                <a16:creationId xmlns:a16="http://schemas.microsoft.com/office/drawing/2014/main" id="{FF78EB24-01EC-AB42-BAB8-D7E93BB3C45B}"/>
              </a:ext>
            </a:extLst>
          </p:cNvPr>
          <p:cNvSpPr/>
          <p:nvPr userDrawn="1"/>
        </p:nvSpPr>
        <p:spPr bwMode="auto">
          <a:xfrm>
            <a:off x="10468519" y="1970941"/>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2" name="Oval 41">
            <a:extLst>
              <a:ext uri="{FF2B5EF4-FFF2-40B4-BE49-F238E27FC236}">
                <a16:creationId xmlns:a16="http://schemas.microsoft.com/office/drawing/2014/main" id="{EDFFD705-15A6-AE2C-B942-17181D8E7911}"/>
              </a:ext>
            </a:extLst>
          </p:cNvPr>
          <p:cNvSpPr/>
          <p:nvPr userDrawn="1"/>
        </p:nvSpPr>
        <p:spPr bwMode="auto">
          <a:xfrm>
            <a:off x="4689498" y="3485903"/>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44" name="Oval 43">
            <a:extLst>
              <a:ext uri="{FF2B5EF4-FFF2-40B4-BE49-F238E27FC236}">
                <a16:creationId xmlns:a16="http://schemas.microsoft.com/office/drawing/2014/main" id="{515332FF-7845-D6F0-5DB4-8314F40C2435}"/>
              </a:ext>
            </a:extLst>
          </p:cNvPr>
          <p:cNvSpPr/>
          <p:nvPr userDrawn="1"/>
        </p:nvSpPr>
        <p:spPr bwMode="auto">
          <a:xfrm>
            <a:off x="4689498" y="4293942"/>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52" name="Oval 51">
            <a:extLst>
              <a:ext uri="{FF2B5EF4-FFF2-40B4-BE49-F238E27FC236}">
                <a16:creationId xmlns:a16="http://schemas.microsoft.com/office/drawing/2014/main" id="{25F8C2F1-61E7-976C-1654-F58D49778F19}"/>
              </a:ext>
            </a:extLst>
          </p:cNvPr>
          <p:cNvSpPr/>
          <p:nvPr userDrawn="1"/>
        </p:nvSpPr>
        <p:spPr bwMode="auto">
          <a:xfrm>
            <a:off x="4689498" y="5066545"/>
            <a:ext cx="567618" cy="567616"/>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60" name="Text Placeholder 19">
            <a:extLst>
              <a:ext uri="{FF2B5EF4-FFF2-40B4-BE49-F238E27FC236}">
                <a16:creationId xmlns:a16="http://schemas.microsoft.com/office/drawing/2014/main" id="{D3C65AD3-76F1-3EAD-8826-96FE73881F36}"/>
              </a:ext>
            </a:extLst>
          </p:cNvPr>
          <p:cNvSpPr>
            <a:spLocks noGrp="1"/>
          </p:cNvSpPr>
          <p:nvPr>
            <p:ph type="body" sz="quarter" idx="21" hasCustomPrompt="1"/>
          </p:nvPr>
        </p:nvSpPr>
        <p:spPr>
          <a:xfrm>
            <a:off x="5402525" y="4439250"/>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C815CD48-0482-A787-0B04-900886EB8878}"/>
              </a:ext>
            </a:extLst>
          </p:cNvPr>
          <p:cNvSpPr>
            <a:spLocks noGrp="1"/>
          </p:cNvSpPr>
          <p:nvPr>
            <p:ph type="body" sz="quarter" idx="22" hasCustomPrompt="1"/>
          </p:nvPr>
        </p:nvSpPr>
        <p:spPr>
          <a:xfrm>
            <a:off x="5402525" y="5247289"/>
            <a:ext cx="5844595" cy="276999"/>
          </a:xfrm>
        </p:spPr>
        <p:txBody>
          <a:bodyPr anchor="t"/>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18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365573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and icon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127320-7005-0B8F-8D4A-2669F798088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7" name="Rectangle: Top Corners Rounded 125">
            <a:extLst>
              <a:ext uri="{FF2B5EF4-FFF2-40B4-BE49-F238E27FC236}">
                <a16:creationId xmlns:a16="http://schemas.microsoft.com/office/drawing/2014/main" id="{5D19F6AB-6AD0-F2CD-24C1-01C446EFC9A0}"/>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ounded Rectangle 6">
            <a:extLst>
              <a:ext uri="{FF2B5EF4-FFF2-40B4-BE49-F238E27FC236}">
                <a16:creationId xmlns:a16="http://schemas.microsoft.com/office/drawing/2014/main" id="{F44608A2-5BE8-0BA7-0F5E-A8341087CCB3}"/>
              </a:ext>
              <a:ext uri="{C183D7F6-B498-43B3-948B-1728B52AA6E4}">
                <adec:decorative xmlns:adec="http://schemas.microsoft.com/office/drawing/2017/decorative" val="1"/>
              </a:ext>
            </a:extLst>
          </p:cNvPr>
          <p:cNvSpPr/>
          <p:nvPr userDrawn="1"/>
        </p:nvSpPr>
        <p:spPr bwMode="auto">
          <a:xfrm>
            <a:off x="5073777" y="720777"/>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8" name="Rounded Rectangle 6">
            <a:extLst>
              <a:ext uri="{FF2B5EF4-FFF2-40B4-BE49-F238E27FC236}">
                <a16:creationId xmlns:a16="http://schemas.microsoft.com/office/drawing/2014/main" id="{ED89FD42-F303-4981-768C-655311B12E65}"/>
              </a:ext>
              <a:ext uri="{C183D7F6-B498-43B3-948B-1728B52AA6E4}">
                <adec:decorative xmlns:adec="http://schemas.microsoft.com/office/drawing/2017/decorative" val="1"/>
              </a:ext>
            </a:extLst>
          </p:cNvPr>
          <p:cNvSpPr/>
          <p:nvPr userDrawn="1"/>
        </p:nvSpPr>
        <p:spPr bwMode="auto">
          <a:xfrm>
            <a:off x="5073777" y="210207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19" name="Rounded Rectangle 6">
            <a:extLst>
              <a:ext uri="{FF2B5EF4-FFF2-40B4-BE49-F238E27FC236}">
                <a16:creationId xmlns:a16="http://schemas.microsoft.com/office/drawing/2014/main" id="{3EACA95C-2727-E69C-8B84-D0466B9B1E4E}"/>
              </a:ext>
              <a:ext uri="{C183D7F6-B498-43B3-948B-1728B52AA6E4}">
                <adec:decorative xmlns:adec="http://schemas.microsoft.com/office/drawing/2017/decorative" val="1"/>
              </a:ext>
            </a:extLst>
          </p:cNvPr>
          <p:cNvSpPr/>
          <p:nvPr userDrawn="1"/>
        </p:nvSpPr>
        <p:spPr bwMode="auto">
          <a:xfrm>
            <a:off x="5073777" y="3483368"/>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0" name="Rounded Rectangle 6">
            <a:extLst>
              <a:ext uri="{FF2B5EF4-FFF2-40B4-BE49-F238E27FC236}">
                <a16:creationId xmlns:a16="http://schemas.microsoft.com/office/drawing/2014/main" id="{48098D8A-067D-CB9E-5F28-7E4CCA2E956A}"/>
              </a:ext>
              <a:ext uri="{C183D7F6-B498-43B3-948B-1728B52AA6E4}">
                <adec:decorative xmlns:adec="http://schemas.microsoft.com/office/drawing/2017/decorative" val="1"/>
              </a:ext>
            </a:extLst>
          </p:cNvPr>
          <p:cNvSpPr/>
          <p:nvPr userDrawn="1"/>
        </p:nvSpPr>
        <p:spPr bwMode="auto">
          <a:xfrm>
            <a:off x="5073777" y="4864663"/>
            <a:ext cx="6398270" cy="1272563"/>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1" name="Oval 20">
            <a:extLst>
              <a:ext uri="{FF2B5EF4-FFF2-40B4-BE49-F238E27FC236}">
                <a16:creationId xmlns:a16="http://schemas.microsoft.com/office/drawing/2014/main" id="{3F0C185B-AA98-3213-982F-F2F056ACC9E8}"/>
              </a:ext>
            </a:extLst>
          </p:cNvPr>
          <p:cNvSpPr/>
          <p:nvPr userDrawn="1"/>
        </p:nvSpPr>
        <p:spPr bwMode="auto">
          <a:xfrm>
            <a:off x="5236763" y="925059"/>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2" name="Oval 21">
            <a:extLst>
              <a:ext uri="{FF2B5EF4-FFF2-40B4-BE49-F238E27FC236}">
                <a16:creationId xmlns:a16="http://schemas.microsoft.com/office/drawing/2014/main" id="{81A269F0-ACF6-DEE5-39B0-FE100B1B3C0A}"/>
              </a:ext>
            </a:extLst>
          </p:cNvPr>
          <p:cNvSpPr/>
          <p:nvPr userDrawn="1"/>
        </p:nvSpPr>
        <p:spPr bwMode="auto">
          <a:xfrm>
            <a:off x="5236763" y="230635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3" name="Oval 22">
            <a:extLst>
              <a:ext uri="{FF2B5EF4-FFF2-40B4-BE49-F238E27FC236}">
                <a16:creationId xmlns:a16="http://schemas.microsoft.com/office/drawing/2014/main" id="{510839B6-EC3D-2ADE-38B6-29D43C8A76FC}"/>
              </a:ext>
            </a:extLst>
          </p:cNvPr>
          <p:cNvSpPr/>
          <p:nvPr userDrawn="1"/>
        </p:nvSpPr>
        <p:spPr bwMode="auto">
          <a:xfrm>
            <a:off x="5236763" y="3687650"/>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24" name="Oval 23">
            <a:extLst>
              <a:ext uri="{FF2B5EF4-FFF2-40B4-BE49-F238E27FC236}">
                <a16:creationId xmlns:a16="http://schemas.microsoft.com/office/drawing/2014/main" id="{EF96E6A5-7978-3C05-675D-292658B1789E}"/>
              </a:ext>
            </a:extLst>
          </p:cNvPr>
          <p:cNvSpPr/>
          <p:nvPr userDrawn="1"/>
        </p:nvSpPr>
        <p:spPr bwMode="auto">
          <a:xfrm>
            <a:off x="5236763" y="5068945"/>
            <a:ext cx="864000" cy="86399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sym typeface="+mn-lt"/>
            </a:endParaRPr>
          </a:p>
        </p:txBody>
      </p:sp>
      <p:sp>
        <p:nvSpPr>
          <p:cNvPr id="59" name="Text Placeholder 19">
            <a:extLst>
              <a:ext uri="{FF2B5EF4-FFF2-40B4-BE49-F238E27FC236}">
                <a16:creationId xmlns:a16="http://schemas.microsoft.com/office/drawing/2014/main" id="{7703D0B7-4308-A571-2347-86E7E9442D29}"/>
              </a:ext>
            </a:extLst>
          </p:cNvPr>
          <p:cNvSpPr>
            <a:spLocks noGrp="1"/>
          </p:cNvSpPr>
          <p:nvPr>
            <p:ph type="body" sz="quarter" idx="20" hasCustomPrompt="1"/>
          </p:nvPr>
        </p:nvSpPr>
        <p:spPr>
          <a:xfrm>
            <a:off x="6263749" y="117239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9" name="Text Placeholder 19">
            <a:extLst>
              <a:ext uri="{FF2B5EF4-FFF2-40B4-BE49-F238E27FC236}">
                <a16:creationId xmlns:a16="http://schemas.microsoft.com/office/drawing/2014/main" id="{0370F8DA-9CBE-4A02-889D-FA4516D372C7}"/>
              </a:ext>
            </a:extLst>
          </p:cNvPr>
          <p:cNvSpPr>
            <a:spLocks noGrp="1"/>
          </p:cNvSpPr>
          <p:nvPr>
            <p:ph type="body" sz="quarter" idx="21" hasCustomPrompt="1"/>
          </p:nvPr>
        </p:nvSpPr>
        <p:spPr>
          <a:xfrm>
            <a:off x="6263749" y="255368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3EDA4E2E-A808-4776-8623-5EC4FDE90392}"/>
              </a:ext>
            </a:extLst>
          </p:cNvPr>
          <p:cNvSpPr>
            <a:spLocks noGrp="1"/>
          </p:cNvSpPr>
          <p:nvPr>
            <p:ph type="body" sz="quarter" idx="22" hasCustomPrompt="1"/>
          </p:nvPr>
        </p:nvSpPr>
        <p:spPr>
          <a:xfrm>
            <a:off x="6263749" y="3934983"/>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70AE4A08-6B4A-3142-2DDE-FBFC0CE234F0}"/>
              </a:ext>
            </a:extLst>
          </p:cNvPr>
          <p:cNvSpPr>
            <a:spLocks noGrp="1"/>
          </p:cNvSpPr>
          <p:nvPr>
            <p:ph type="body" sz="quarter" idx="23" hasCustomPrompt="1"/>
          </p:nvPr>
        </p:nvSpPr>
        <p:spPr>
          <a:xfrm>
            <a:off x="6263749" y="5316278"/>
            <a:ext cx="4983371" cy="369332"/>
          </a:xfrm>
        </p:spPr>
        <p:txBody>
          <a:bodyPr anchor="ct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118113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Left Title with four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BA40F2-B1F3-C439-7B8B-D50CB0CBD16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095978" cy="1107996"/>
          </a:xfrm>
        </p:spPr>
        <p:txBody>
          <a:bodyPr anchor="ctr"/>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 name="Rectangle: Top Corners Rounded 125">
            <a:extLst>
              <a:ext uri="{FF2B5EF4-FFF2-40B4-BE49-F238E27FC236}">
                <a16:creationId xmlns:a16="http://schemas.microsoft.com/office/drawing/2014/main" id="{48B7B503-1CCA-1AA0-1486-AB67508EA6D1}"/>
              </a:ext>
              <a:ext uri="{C183D7F6-B498-43B3-948B-1728B52AA6E4}">
                <adec:decorative xmlns:adec="http://schemas.microsoft.com/office/drawing/2017/decorative" val="1"/>
              </a:ext>
            </a:extLst>
          </p:cNvPr>
          <p:cNvSpPr/>
          <p:nvPr userDrawn="1"/>
        </p:nvSpPr>
        <p:spPr bwMode="auto">
          <a:xfrm>
            <a:off x="4934857" y="595087"/>
            <a:ext cx="6676111" cy="5667828"/>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cxnSp>
        <p:nvCxnSpPr>
          <p:cNvPr id="6" name="Straight Connector 5">
            <a:extLst>
              <a:ext uri="{FF2B5EF4-FFF2-40B4-BE49-F238E27FC236}">
                <a16:creationId xmlns:a16="http://schemas.microsoft.com/office/drawing/2014/main" id="{6AC13EF9-EE0B-6CB6-D411-545C7AC4F24D}"/>
              </a:ext>
            </a:extLst>
          </p:cNvPr>
          <p:cNvCxnSpPr>
            <a:cxnSpLocks/>
          </p:cNvCxnSpPr>
          <p:nvPr userDrawn="1"/>
        </p:nvCxnSpPr>
        <p:spPr>
          <a:xfrm>
            <a:off x="5174112" y="2012045"/>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816565-112D-E809-0F3C-D2C70AB974D1}"/>
              </a:ext>
            </a:extLst>
          </p:cNvPr>
          <p:cNvCxnSpPr>
            <a:cxnSpLocks/>
          </p:cNvCxnSpPr>
          <p:nvPr userDrawn="1"/>
        </p:nvCxnSpPr>
        <p:spPr>
          <a:xfrm>
            <a:off x="5174112" y="3429003"/>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1246A7-FFE7-962C-2272-8829F971627D}"/>
              </a:ext>
            </a:extLst>
          </p:cNvPr>
          <p:cNvCxnSpPr>
            <a:cxnSpLocks/>
          </p:cNvCxnSpPr>
          <p:nvPr userDrawn="1"/>
        </p:nvCxnSpPr>
        <p:spPr>
          <a:xfrm>
            <a:off x="5174112" y="4845961"/>
            <a:ext cx="619760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5174113" y="1118900"/>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39" name="Text Placeholder 19">
            <a:extLst>
              <a:ext uri="{FF2B5EF4-FFF2-40B4-BE49-F238E27FC236}">
                <a16:creationId xmlns:a16="http://schemas.microsoft.com/office/drawing/2014/main" id="{16219C21-4F05-EE14-4B4D-9431194F4EA1}"/>
              </a:ext>
            </a:extLst>
          </p:cNvPr>
          <p:cNvSpPr>
            <a:spLocks noGrp="1"/>
          </p:cNvSpPr>
          <p:nvPr>
            <p:ph type="body" sz="quarter" idx="14" hasCustomPrompt="1"/>
          </p:nvPr>
        </p:nvSpPr>
        <p:spPr>
          <a:xfrm>
            <a:off x="5174113" y="2535858"/>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0" name="Text Placeholder 19">
            <a:extLst>
              <a:ext uri="{FF2B5EF4-FFF2-40B4-BE49-F238E27FC236}">
                <a16:creationId xmlns:a16="http://schemas.microsoft.com/office/drawing/2014/main" id="{3B3A28D7-4C8C-4F07-A514-06333FBD4817}"/>
              </a:ext>
            </a:extLst>
          </p:cNvPr>
          <p:cNvSpPr>
            <a:spLocks noGrp="1"/>
          </p:cNvSpPr>
          <p:nvPr>
            <p:ph type="body" sz="quarter" idx="15" hasCustomPrompt="1"/>
          </p:nvPr>
        </p:nvSpPr>
        <p:spPr>
          <a:xfrm>
            <a:off x="5174113" y="3952816"/>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41" name="Text Placeholder 19">
            <a:extLst>
              <a:ext uri="{FF2B5EF4-FFF2-40B4-BE49-F238E27FC236}">
                <a16:creationId xmlns:a16="http://schemas.microsoft.com/office/drawing/2014/main" id="{1AB5EF6C-0FEE-8E22-180F-C73EB6F07BEB}"/>
              </a:ext>
            </a:extLst>
          </p:cNvPr>
          <p:cNvSpPr>
            <a:spLocks noGrp="1"/>
          </p:cNvSpPr>
          <p:nvPr>
            <p:ph type="body" sz="quarter" idx="16" hasCustomPrompt="1"/>
          </p:nvPr>
        </p:nvSpPr>
        <p:spPr>
          <a:xfrm>
            <a:off x="5174113" y="5369774"/>
            <a:ext cx="6197600" cy="369332"/>
          </a:xfrm>
        </p:spPr>
        <p:txBody>
          <a:bodyPr anchor="ctr">
            <a:noAutofit/>
          </a:bodyPr>
          <a:lstStyle>
            <a:lvl1pPr marL="0" marR="0" indent="0" algn="ctr"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42541106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with Picture and two text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6BC1D5-913C-4FD0-5A62-E921B14AB944}"/>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963" y="593725"/>
            <a:ext cx="6015037" cy="1107996"/>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a:t>
            </a:r>
            <a:br>
              <a:rPr lang="en-US"/>
            </a:br>
            <a:r>
              <a:rPr lang="en-US"/>
              <a:t>title style</a:t>
            </a:r>
          </a:p>
        </p:txBody>
      </p:sp>
      <p:sp>
        <p:nvSpPr>
          <p:cNvPr id="18" name="Rectangle: Rounded Corners 17">
            <a:extLst>
              <a:ext uri="{FF2B5EF4-FFF2-40B4-BE49-F238E27FC236}">
                <a16:creationId xmlns:a16="http://schemas.microsoft.com/office/drawing/2014/main" id="{669F94E4-DD09-4CD6-F3A5-B9AD56187D67}"/>
              </a:ext>
            </a:extLst>
          </p:cNvPr>
          <p:cNvSpPr/>
          <p:nvPr userDrawn="1"/>
        </p:nvSpPr>
        <p:spPr bwMode="auto">
          <a:xfrm>
            <a:off x="6807200" y="1147762"/>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226440"/>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Rectangle: Rounded Corners 19">
            <a:extLst>
              <a:ext uri="{FF2B5EF4-FFF2-40B4-BE49-F238E27FC236}">
                <a16:creationId xmlns:a16="http://schemas.microsoft.com/office/drawing/2014/main" id="{CD5187B5-4F1A-9A48-9392-E1D312177079}"/>
              </a:ext>
            </a:extLst>
          </p:cNvPr>
          <p:cNvSpPr/>
          <p:nvPr userDrawn="1"/>
        </p:nvSpPr>
        <p:spPr bwMode="auto">
          <a:xfrm>
            <a:off x="371475" y="2017712"/>
            <a:ext cx="6334126" cy="4172645"/>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sp>
        <p:nvSpPr>
          <p:cNvPr id="21" name="Oval 20">
            <a:extLst>
              <a:ext uri="{FF2B5EF4-FFF2-40B4-BE49-F238E27FC236}">
                <a16:creationId xmlns:a16="http://schemas.microsoft.com/office/drawing/2014/main" id="{13DFE7CC-6BAE-AF7D-E785-BF67456BFB33}"/>
              </a:ext>
            </a:extLst>
          </p:cNvPr>
          <p:cNvSpPr/>
          <p:nvPr userDrawn="1"/>
        </p:nvSpPr>
        <p:spPr bwMode="auto">
          <a:xfrm>
            <a:off x="588963" y="2672072"/>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22" name="Oval 21">
            <a:extLst>
              <a:ext uri="{FF2B5EF4-FFF2-40B4-BE49-F238E27FC236}">
                <a16:creationId xmlns:a16="http://schemas.microsoft.com/office/drawing/2014/main" id="{1DA92108-8343-73F3-5CAF-1265D1A95D7D}"/>
              </a:ext>
            </a:extLst>
          </p:cNvPr>
          <p:cNvSpPr/>
          <p:nvPr userDrawn="1"/>
        </p:nvSpPr>
        <p:spPr bwMode="auto">
          <a:xfrm>
            <a:off x="588963" y="4758394"/>
            <a:ext cx="777602" cy="777602"/>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23" name="Straight Connector 22">
            <a:extLst>
              <a:ext uri="{FF2B5EF4-FFF2-40B4-BE49-F238E27FC236}">
                <a16:creationId xmlns:a16="http://schemas.microsoft.com/office/drawing/2014/main" id="{91B55235-AA68-F034-0576-FCE4C4F284F9}"/>
              </a:ext>
            </a:extLst>
          </p:cNvPr>
          <p:cNvCxnSpPr>
            <a:cxnSpLocks/>
          </p:cNvCxnSpPr>
          <p:nvPr userDrawn="1"/>
        </p:nvCxnSpPr>
        <p:spPr>
          <a:xfrm>
            <a:off x="1574569" y="4104034"/>
            <a:ext cx="488973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574569" y="2876207"/>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3ADA4AD7-2E8D-00F4-1155-F6ADB5040233}"/>
              </a:ext>
            </a:extLst>
          </p:cNvPr>
          <p:cNvSpPr>
            <a:spLocks noGrp="1"/>
          </p:cNvSpPr>
          <p:nvPr>
            <p:ph type="body" sz="quarter" idx="14" hasCustomPrompt="1"/>
          </p:nvPr>
        </p:nvSpPr>
        <p:spPr>
          <a:xfrm>
            <a:off x="1574569" y="4962529"/>
            <a:ext cx="4889731" cy="369332"/>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151181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with Picture and five text placeholder Pi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81D38F-D92A-A83E-809E-9672E4C8BC2A}"/>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Rounded Corners 3">
            <a:extLst>
              <a:ext uri="{FF2B5EF4-FFF2-40B4-BE49-F238E27FC236}">
                <a16:creationId xmlns:a16="http://schemas.microsoft.com/office/drawing/2014/main" id="{2A5462DB-1DE2-7D79-53E4-54479850C744}"/>
              </a:ext>
            </a:extLst>
          </p:cNvPr>
          <p:cNvSpPr/>
          <p:nvPr userDrawn="1"/>
        </p:nvSpPr>
        <p:spPr bwMode="auto">
          <a:xfrm>
            <a:off x="6807200" y="1278391"/>
            <a:ext cx="4802188" cy="5121275"/>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16B8C648-3CE6-0838-51F5-4325440E3E6B}"/>
              </a:ext>
            </a:extLst>
          </p:cNvPr>
          <p:cNvSpPr>
            <a:spLocks noGrp="1" noChangeAspect="1"/>
          </p:cNvSpPr>
          <p:nvPr>
            <p:ph type="pic" sz="quarter" idx="15" hasCustomPrompt="1"/>
          </p:nvPr>
        </p:nvSpPr>
        <p:spPr bwMode="ltGray">
          <a:xfrm>
            <a:off x="6877050" y="1357069"/>
            <a:ext cx="4662488" cy="4963918"/>
          </a:xfrm>
          <a:prstGeom prst="roundRect">
            <a:avLst>
              <a:gd name="adj" fmla="val 2931"/>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6" name="Rectangle: Rounded Corners 5">
            <a:extLst>
              <a:ext uri="{FF2B5EF4-FFF2-40B4-BE49-F238E27FC236}">
                <a16:creationId xmlns:a16="http://schemas.microsoft.com/office/drawing/2014/main" id="{2E4FB5AB-AAB5-39B1-0070-C4581EB4FE30}"/>
              </a:ext>
            </a:extLst>
          </p:cNvPr>
          <p:cNvSpPr/>
          <p:nvPr userDrawn="1"/>
        </p:nvSpPr>
        <p:spPr bwMode="auto">
          <a:xfrm>
            <a:off x="371475" y="1396879"/>
            <a:ext cx="6334126" cy="4884298"/>
          </a:xfrm>
          <a:prstGeom prst="roundRect">
            <a:avLst>
              <a:gd name="adj" fmla="val 2671"/>
            </a:avLst>
          </a:prstGeom>
          <a:solidFill>
            <a:srgbClr val="FFFFFF">
              <a:alpha val="20000"/>
            </a:srgbClr>
          </a:solidFill>
        </p:spPr>
        <p:txBody>
          <a:bodyPr wrap="square" lIns="97971" tIns="514351" rIns="97971" bIns="0" rtlCol="0" anchor="ctr">
            <a:normAutofit/>
          </a:bodyPr>
          <a:lstStyle/>
          <a:p>
            <a:pPr marR="0" lvl="0" indent="0" algn="ctr" defTabSz="1740645" fontAlgn="base">
              <a:lnSpc>
                <a:spcPct val="100000"/>
              </a:lnSpc>
              <a:spcBef>
                <a:spcPct val="0"/>
              </a:spcBef>
              <a:spcAft>
                <a:spcPct val="0"/>
              </a:spcAft>
              <a:buClrTx/>
              <a:buSzTx/>
              <a:buFontTx/>
              <a:buNone/>
              <a:tabLst/>
            </a:pPr>
            <a:endParaRPr kumimoji="0" lang="en-US" sz="3214" b="1" i="0" u="none" strike="noStrike" kern="0" cap="none" spc="0" normalizeH="0" baseline="0" dirty="0">
              <a:ln>
                <a:noFill/>
              </a:ln>
              <a:solidFill>
                <a:srgbClr val="000000"/>
              </a:solidFill>
              <a:effectLst/>
              <a:uLnTx/>
              <a:uFillTx/>
              <a:latin typeface="Segoe UI"/>
              <a:ea typeface="+mn-lt"/>
              <a:cs typeface="Segoe UI"/>
            </a:endParaRPr>
          </a:p>
        </p:txBody>
      </p:sp>
      <p:cxnSp>
        <p:nvCxnSpPr>
          <p:cNvPr id="7" name="Straight Connector 6">
            <a:extLst>
              <a:ext uri="{FF2B5EF4-FFF2-40B4-BE49-F238E27FC236}">
                <a16:creationId xmlns:a16="http://schemas.microsoft.com/office/drawing/2014/main" id="{9EB11F28-F3D3-8BD3-1AE6-68F993B67A78}"/>
              </a:ext>
            </a:extLst>
          </p:cNvPr>
          <p:cNvCxnSpPr>
            <a:cxnSpLocks/>
          </p:cNvCxnSpPr>
          <p:nvPr userDrawn="1"/>
        </p:nvCxnSpPr>
        <p:spPr>
          <a:xfrm>
            <a:off x="1362074" y="237373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6498E01-1DB3-4BA6-8F02-444778A6E266}"/>
              </a:ext>
            </a:extLst>
          </p:cNvPr>
          <p:cNvSpPr/>
          <p:nvPr userDrawn="1"/>
        </p:nvSpPr>
        <p:spPr bwMode="auto">
          <a:xfrm>
            <a:off x="588963" y="157053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36" name="Text Placeholder 19">
            <a:extLst>
              <a:ext uri="{FF2B5EF4-FFF2-40B4-BE49-F238E27FC236}">
                <a16:creationId xmlns:a16="http://schemas.microsoft.com/office/drawing/2014/main" id="{D8D1DF36-E191-7588-52E4-72A987783447}"/>
              </a:ext>
            </a:extLst>
          </p:cNvPr>
          <p:cNvSpPr>
            <a:spLocks noGrp="1"/>
          </p:cNvSpPr>
          <p:nvPr>
            <p:ph type="body" sz="quarter" idx="13" hasCustomPrompt="1"/>
          </p:nvPr>
        </p:nvSpPr>
        <p:spPr>
          <a:xfrm>
            <a:off x="1362075" y="1731420"/>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10" name="Oval 9">
            <a:extLst>
              <a:ext uri="{FF2B5EF4-FFF2-40B4-BE49-F238E27FC236}">
                <a16:creationId xmlns:a16="http://schemas.microsoft.com/office/drawing/2014/main" id="{4F767140-8153-B78E-96B6-48232DC28937}"/>
              </a:ext>
            </a:extLst>
          </p:cNvPr>
          <p:cNvSpPr/>
          <p:nvPr userDrawn="1"/>
        </p:nvSpPr>
        <p:spPr bwMode="auto">
          <a:xfrm>
            <a:off x="588963" y="254739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2" name="Oval 11">
            <a:extLst>
              <a:ext uri="{FF2B5EF4-FFF2-40B4-BE49-F238E27FC236}">
                <a16:creationId xmlns:a16="http://schemas.microsoft.com/office/drawing/2014/main" id="{AF3A32C0-6F9C-C5C9-1914-56808EC36FF5}"/>
              </a:ext>
            </a:extLst>
          </p:cNvPr>
          <p:cNvSpPr/>
          <p:nvPr userDrawn="1"/>
        </p:nvSpPr>
        <p:spPr bwMode="auto">
          <a:xfrm>
            <a:off x="588963" y="352425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4" name="Oval 13">
            <a:extLst>
              <a:ext uri="{FF2B5EF4-FFF2-40B4-BE49-F238E27FC236}">
                <a16:creationId xmlns:a16="http://schemas.microsoft.com/office/drawing/2014/main" id="{51DF8043-DF81-D7D3-2D6E-D21DC164D9DB}"/>
              </a:ext>
            </a:extLst>
          </p:cNvPr>
          <p:cNvSpPr/>
          <p:nvPr userDrawn="1"/>
        </p:nvSpPr>
        <p:spPr bwMode="auto">
          <a:xfrm>
            <a:off x="588963" y="450111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16" name="Oval 15">
            <a:extLst>
              <a:ext uri="{FF2B5EF4-FFF2-40B4-BE49-F238E27FC236}">
                <a16:creationId xmlns:a16="http://schemas.microsoft.com/office/drawing/2014/main" id="{6C96BA59-C3DB-35F1-BA4E-2425F49BDB0D}"/>
              </a:ext>
            </a:extLst>
          </p:cNvPr>
          <p:cNvSpPr/>
          <p:nvPr userDrawn="1"/>
        </p:nvSpPr>
        <p:spPr bwMode="auto">
          <a:xfrm>
            <a:off x="588963" y="5477970"/>
            <a:ext cx="629558" cy="629558"/>
          </a:xfrm>
          <a:prstGeom prst="ellipse">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cxnSp>
        <p:nvCxnSpPr>
          <p:cNvPr id="19" name="Straight Connector 18">
            <a:extLst>
              <a:ext uri="{FF2B5EF4-FFF2-40B4-BE49-F238E27FC236}">
                <a16:creationId xmlns:a16="http://schemas.microsoft.com/office/drawing/2014/main" id="{992FAD2F-DE20-3B88-83D2-7E7842608446}"/>
              </a:ext>
            </a:extLst>
          </p:cNvPr>
          <p:cNvCxnSpPr>
            <a:cxnSpLocks/>
          </p:cNvCxnSpPr>
          <p:nvPr userDrawn="1"/>
        </p:nvCxnSpPr>
        <p:spPr>
          <a:xfrm>
            <a:off x="1362074" y="335059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0C99A8-9C53-B00B-FEBF-D3A53BE8199C}"/>
              </a:ext>
            </a:extLst>
          </p:cNvPr>
          <p:cNvCxnSpPr>
            <a:cxnSpLocks/>
          </p:cNvCxnSpPr>
          <p:nvPr userDrawn="1"/>
        </p:nvCxnSpPr>
        <p:spPr>
          <a:xfrm>
            <a:off x="1362074" y="432745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08A74C6-7DDA-6D7B-2EEA-FFCE4E397FC4}"/>
              </a:ext>
            </a:extLst>
          </p:cNvPr>
          <p:cNvCxnSpPr>
            <a:cxnSpLocks/>
          </p:cNvCxnSpPr>
          <p:nvPr userDrawn="1"/>
        </p:nvCxnSpPr>
        <p:spPr>
          <a:xfrm>
            <a:off x="1362074" y="5304319"/>
            <a:ext cx="5102226"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93408"/>
            <a:ext cx="11018520" cy="553998"/>
          </a:xfrm>
        </p:spPr>
        <p:txBody>
          <a:bodyPr anchor="t"/>
          <a:lstStyle>
            <a:lvl1pPr marL="0" algn="l"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Text Placeholder 19">
            <a:extLst>
              <a:ext uri="{FF2B5EF4-FFF2-40B4-BE49-F238E27FC236}">
                <a16:creationId xmlns:a16="http://schemas.microsoft.com/office/drawing/2014/main" id="{673F0131-7164-1CBF-67D6-0082F8CF560F}"/>
              </a:ext>
            </a:extLst>
          </p:cNvPr>
          <p:cNvSpPr>
            <a:spLocks noGrp="1"/>
          </p:cNvSpPr>
          <p:nvPr>
            <p:ph type="body" sz="quarter" idx="16" hasCustomPrompt="1"/>
          </p:nvPr>
        </p:nvSpPr>
        <p:spPr>
          <a:xfrm>
            <a:off x="1362075" y="270828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03AB9E77-59E4-ADAF-5857-3814088C2AD2}"/>
              </a:ext>
            </a:extLst>
          </p:cNvPr>
          <p:cNvSpPr>
            <a:spLocks noGrp="1"/>
          </p:cNvSpPr>
          <p:nvPr>
            <p:ph type="body" sz="quarter" idx="17" hasCustomPrompt="1"/>
          </p:nvPr>
        </p:nvSpPr>
        <p:spPr>
          <a:xfrm>
            <a:off x="1362075" y="368514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1" name="Text Placeholder 19">
            <a:extLst>
              <a:ext uri="{FF2B5EF4-FFF2-40B4-BE49-F238E27FC236}">
                <a16:creationId xmlns:a16="http://schemas.microsoft.com/office/drawing/2014/main" id="{41BBC3F4-FAF3-518D-4E6F-6D8729F754C8}"/>
              </a:ext>
            </a:extLst>
          </p:cNvPr>
          <p:cNvSpPr>
            <a:spLocks noGrp="1"/>
          </p:cNvSpPr>
          <p:nvPr>
            <p:ph type="body" sz="quarter" idx="18" hasCustomPrompt="1"/>
          </p:nvPr>
        </p:nvSpPr>
        <p:spPr>
          <a:xfrm>
            <a:off x="1362075" y="466200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
        <p:nvSpPr>
          <p:cNvPr id="32" name="Text Placeholder 19">
            <a:extLst>
              <a:ext uri="{FF2B5EF4-FFF2-40B4-BE49-F238E27FC236}">
                <a16:creationId xmlns:a16="http://schemas.microsoft.com/office/drawing/2014/main" id="{8F94C03D-6DC6-0B49-445F-7F3E27B96E0B}"/>
              </a:ext>
            </a:extLst>
          </p:cNvPr>
          <p:cNvSpPr>
            <a:spLocks noGrp="1"/>
          </p:cNvSpPr>
          <p:nvPr>
            <p:ph type="body" sz="quarter" idx="19" hasCustomPrompt="1"/>
          </p:nvPr>
        </p:nvSpPr>
        <p:spPr>
          <a:xfrm>
            <a:off x="1362075" y="5638861"/>
            <a:ext cx="5102226" cy="307777"/>
          </a:xfrm>
        </p:spPr>
        <p:txBody>
          <a:bodyPr anchor="ctr">
            <a:noAutofit/>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tab pos="1486807" algn="l"/>
              </a:tabLst>
              <a:defRPr lang="en-US" sz="20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23685967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meline slide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9A592D-1CB0-0EC4-7141-9E1533C1BDC6}"/>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5" name="Rectangle: Rounded Corners 4">
            <a:extLst>
              <a:ext uri="{FF2B5EF4-FFF2-40B4-BE49-F238E27FC236}">
                <a16:creationId xmlns:a16="http://schemas.microsoft.com/office/drawing/2014/main" id="{2D8BCD7F-385B-3D84-E163-B73B75A67D74}"/>
              </a:ext>
            </a:extLst>
          </p:cNvPr>
          <p:cNvSpPr/>
          <p:nvPr userDrawn="1"/>
        </p:nvSpPr>
        <p:spPr bwMode="auto">
          <a:xfrm>
            <a:off x="571499" y="1439862"/>
            <a:ext cx="11049000" cy="4832350"/>
          </a:xfrm>
          <a:prstGeom prst="roundRect">
            <a:avLst>
              <a:gd name="adj" fmla="val 242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defTabSz="2320245" fontAlgn="base">
              <a:spcBef>
                <a:spcPct val="0"/>
              </a:spcBef>
              <a:spcAft>
                <a:spcPct val="0"/>
              </a:spcAft>
            </a:pPr>
            <a:endParaRPr lang="en-US" sz="1600" b="1" kern="0" dirty="0">
              <a:gradFill>
                <a:gsLst>
                  <a:gs pos="0">
                    <a:srgbClr val="000000"/>
                  </a:gs>
                  <a:gs pos="99000">
                    <a:srgbClr val="000000"/>
                  </a:gs>
                </a:gsLst>
                <a:path path="circle">
                  <a:fillToRect r="100000" b="100000"/>
                </a:path>
              </a:gradFill>
              <a:ea typeface="+mn-lt"/>
              <a:cs typeface="+mn-lt"/>
              <a:sym typeface="+mn-lt"/>
            </a:endParaRPr>
          </a:p>
        </p:txBody>
      </p:sp>
      <p:sp>
        <p:nvSpPr>
          <p:cNvPr id="9" name="Rectangle 8">
            <a:extLst>
              <a:ext uri="{FF2B5EF4-FFF2-40B4-BE49-F238E27FC236}">
                <a16:creationId xmlns:a16="http://schemas.microsoft.com/office/drawing/2014/main" id="{2C41CB4D-B8E2-BE49-873A-46508A4CE9F6}"/>
              </a:ext>
            </a:extLst>
          </p:cNvPr>
          <p:cNvSpPr/>
          <p:nvPr userDrawn="1"/>
        </p:nvSpPr>
        <p:spPr bwMode="auto">
          <a:xfrm>
            <a:off x="571499" y="3823276"/>
            <a:ext cx="11049000" cy="65523"/>
          </a:xfrm>
          <a:prstGeom prst="rect">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1" name="Oval 10">
            <a:extLst>
              <a:ext uri="{FF2B5EF4-FFF2-40B4-BE49-F238E27FC236}">
                <a16:creationId xmlns:a16="http://schemas.microsoft.com/office/drawing/2014/main" id="{44F9912B-044E-A06B-FAD2-F473C5628126}"/>
              </a:ext>
            </a:extLst>
          </p:cNvPr>
          <p:cNvSpPr/>
          <p:nvPr userDrawn="1"/>
        </p:nvSpPr>
        <p:spPr bwMode="auto">
          <a:xfrm>
            <a:off x="3435007"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3" name="Oval 12">
            <a:extLst>
              <a:ext uri="{FF2B5EF4-FFF2-40B4-BE49-F238E27FC236}">
                <a16:creationId xmlns:a16="http://schemas.microsoft.com/office/drawing/2014/main" id="{5A8FA8BD-B858-5B2B-0B90-72BBFB178620}"/>
              </a:ext>
            </a:extLst>
          </p:cNvPr>
          <p:cNvSpPr/>
          <p:nvPr userDrawn="1"/>
        </p:nvSpPr>
        <p:spPr bwMode="auto">
          <a:xfrm>
            <a:off x="5124968"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5" name="Oval 14">
            <a:extLst>
              <a:ext uri="{FF2B5EF4-FFF2-40B4-BE49-F238E27FC236}">
                <a16:creationId xmlns:a16="http://schemas.microsoft.com/office/drawing/2014/main" id="{0837E66F-00A7-6144-9F1A-577FFB1B4438}"/>
              </a:ext>
            </a:extLst>
          </p:cNvPr>
          <p:cNvSpPr/>
          <p:nvPr userDrawn="1"/>
        </p:nvSpPr>
        <p:spPr bwMode="auto">
          <a:xfrm>
            <a:off x="681493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7" name="Oval 16">
            <a:extLst>
              <a:ext uri="{FF2B5EF4-FFF2-40B4-BE49-F238E27FC236}">
                <a16:creationId xmlns:a16="http://schemas.microsoft.com/office/drawing/2014/main" id="{32CBC415-6628-8B6B-8257-EEBD48096FEC}"/>
              </a:ext>
            </a:extLst>
          </p:cNvPr>
          <p:cNvSpPr/>
          <p:nvPr userDrawn="1"/>
        </p:nvSpPr>
        <p:spPr bwMode="auto">
          <a:xfrm>
            <a:off x="8504891"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8" name="Rectangle: Rounded Corners 17">
            <a:extLst>
              <a:ext uri="{FF2B5EF4-FFF2-40B4-BE49-F238E27FC236}">
                <a16:creationId xmlns:a16="http://schemas.microsoft.com/office/drawing/2014/main" id="{7DC40ECF-7EFD-72E6-DA2E-E0CAC1718C22}"/>
              </a:ext>
            </a:extLst>
          </p:cNvPr>
          <p:cNvSpPr/>
          <p:nvPr userDrawn="1"/>
        </p:nvSpPr>
        <p:spPr bwMode="auto">
          <a:xfrm>
            <a:off x="2388053"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60" name="Text Placeholder 19">
            <a:extLst>
              <a:ext uri="{FF2B5EF4-FFF2-40B4-BE49-F238E27FC236}">
                <a16:creationId xmlns:a16="http://schemas.microsoft.com/office/drawing/2014/main" id="{BA1BC455-8584-E103-401A-B6A91EF329AF}"/>
              </a:ext>
            </a:extLst>
          </p:cNvPr>
          <p:cNvSpPr>
            <a:spLocks noGrp="1"/>
          </p:cNvSpPr>
          <p:nvPr>
            <p:ph type="body" sz="quarter" idx="19" hasCustomPrompt="1"/>
          </p:nvPr>
        </p:nvSpPr>
        <p:spPr>
          <a:xfrm>
            <a:off x="2464661"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1" name="Text Placeholder 19">
            <a:extLst>
              <a:ext uri="{FF2B5EF4-FFF2-40B4-BE49-F238E27FC236}">
                <a16:creationId xmlns:a16="http://schemas.microsoft.com/office/drawing/2014/main" id="{5A4EDDDD-3E9E-3393-B55F-083737679F7A}"/>
              </a:ext>
            </a:extLst>
          </p:cNvPr>
          <p:cNvSpPr>
            <a:spLocks noGrp="1"/>
          </p:cNvSpPr>
          <p:nvPr>
            <p:ph type="body" sz="quarter" idx="20" hasCustomPrompt="1"/>
          </p:nvPr>
        </p:nvSpPr>
        <p:spPr>
          <a:xfrm>
            <a:off x="2464661"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22" name="Rectangle: Rounded Corners 21">
            <a:extLst>
              <a:ext uri="{FF2B5EF4-FFF2-40B4-BE49-F238E27FC236}">
                <a16:creationId xmlns:a16="http://schemas.microsoft.com/office/drawing/2014/main" id="{83B474C5-03C9-17E1-15A5-01E8661633C9}"/>
              </a:ext>
            </a:extLst>
          </p:cNvPr>
          <p:cNvSpPr/>
          <p:nvPr userDrawn="1"/>
        </p:nvSpPr>
        <p:spPr bwMode="auto">
          <a:xfrm>
            <a:off x="576797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3" name="Rectangle: Rounded Corners 22">
            <a:extLst>
              <a:ext uri="{FF2B5EF4-FFF2-40B4-BE49-F238E27FC236}">
                <a16:creationId xmlns:a16="http://schemas.microsoft.com/office/drawing/2014/main" id="{ED78F89A-3096-6417-305C-B24836A6FFD6}"/>
              </a:ext>
            </a:extLst>
          </p:cNvPr>
          <p:cNvSpPr/>
          <p:nvPr userDrawn="1"/>
        </p:nvSpPr>
        <p:spPr bwMode="auto">
          <a:xfrm>
            <a:off x="9147896" y="4235450"/>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6" name="Rectangle: Rounded Corners 25">
            <a:extLst>
              <a:ext uri="{FF2B5EF4-FFF2-40B4-BE49-F238E27FC236}">
                <a16:creationId xmlns:a16="http://schemas.microsoft.com/office/drawing/2014/main" id="{ADEF8697-11E6-C6BB-D64F-F1EB902C3256}"/>
              </a:ext>
            </a:extLst>
          </p:cNvPr>
          <p:cNvSpPr/>
          <p:nvPr userDrawn="1"/>
        </p:nvSpPr>
        <p:spPr bwMode="auto">
          <a:xfrm>
            <a:off x="698092"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74700"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34" name="Rectangle: Rounded Corners 33">
            <a:extLst>
              <a:ext uri="{FF2B5EF4-FFF2-40B4-BE49-F238E27FC236}">
                <a16:creationId xmlns:a16="http://schemas.microsoft.com/office/drawing/2014/main" id="{9799A532-BA32-CF28-FDD2-6B93C90F1BB3}"/>
              </a:ext>
            </a:extLst>
          </p:cNvPr>
          <p:cNvSpPr/>
          <p:nvPr userDrawn="1"/>
        </p:nvSpPr>
        <p:spPr bwMode="auto">
          <a:xfrm>
            <a:off x="4078014"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35" name="Rectangle: Rounded Corners 34">
            <a:extLst>
              <a:ext uri="{FF2B5EF4-FFF2-40B4-BE49-F238E27FC236}">
                <a16:creationId xmlns:a16="http://schemas.microsoft.com/office/drawing/2014/main" id="{FC94D8FE-021A-8B81-EF18-647E5E8F0911}"/>
              </a:ext>
            </a:extLst>
          </p:cNvPr>
          <p:cNvSpPr/>
          <p:nvPr userDrawn="1"/>
        </p:nvSpPr>
        <p:spPr bwMode="auto">
          <a:xfrm>
            <a:off x="7457937" y="1550788"/>
            <a:ext cx="2355846" cy="1925836"/>
          </a:xfrm>
          <a:prstGeom prst="roundRect">
            <a:avLst>
              <a:gd name="adj" fmla="val 5093"/>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cxnSp>
        <p:nvCxnSpPr>
          <p:cNvPr id="37" name="Straight Connector 36">
            <a:extLst>
              <a:ext uri="{FF2B5EF4-FFF2-40B4-BE49-F238E27FC236}">
                <a16:creationId xmlns:a16="http://schemas.microsoft.com/office/drawing/2014/main" id="{074A6FD9-D867-E909-33DD-55B3A61402B2}"/>
              </a:ext>
            </a:extLst>
          </p:cNvPr>
          <p:cNvCxnSpPr>
            <a:cxnSpLocks/>
            <a:stCxn id="38" idx="0"/>
            <a:endCxn id="26" idx="2"/>
          </p:cNvCxnSpPr>
          <p:nvPr userDrawn="1"/>
        </p:nvCxnSpPr>
        <p:spPr>
          <a:xfrm flipV="1">
            <a:off x="1876015"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5CE5F9B-9D19-CEE6-EA53-EB7963BCD050}"/>
              </a:ext>
            </a:extLst>
          </p:cNvPr>
          <p:cNvSpPr/>
          <p:nvPr userDrawn="1"/>
        </p:nvSpPr>
        <p:spPr bwMode="auto">
          <a:xfrm>
            <a:off x="1745046"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cxnSp>
        <p:nvCxnSpPr>
          <p:cNvPr id="39" name="Straight Connector 38">
            <a:extLst>
              <a:ext uri="{FF2B5EF4-FFF2-40B4-BE49-F238E27FC236}">
                <a16:creationId xmlns:a16="http://schemas.microsoft.com/office/drawing/2014/main" id="{AA733678-C9C0-A61E-2940-A9C181224E5B}"/>
              </a:ext>
            </a:extLst>
          </p:cNvPr>
          <p:cNvCxnSpPr>
            <a:cxnSpLocks/>
            <a:stCxn id="13" idx="0"/>
            <a:endCxn id="34" idx="2"/>
          </p:cNvCxnSpPr>
          <p:nvPr userDrawn="1"/>
        </p:nvCxnSpPr>
        <p:spPr>
          <a:xfrm flipV="1">
            <a:off x="5255937"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D7C596-F0C5-C02C-5F74-443D297B2B88}"/>
              </a:ext>
            </a:extLst>
          </p:cNvPr>
          <p:cNvCxnSpPr>
            <a:cxnSpLocks/>
          </p:cNvCxnSpPr>
          <p:nvPr userDrawn="1"/>
        </p:nvCxnSpPr>
        <p:spPr>
          <a:xfrm flipV="1">
            <a:off x="8635860" y="3476624"/>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18C69D-3CD2-0AE9-F24B-FE840AC7DBA6}"/>
              </a:ext>
            </a:extLst>
          </p:cNvPr>
          <p:cNvCxnSpPr>
            <a:cxnSpLocks/>
            <a:stCxn id="18" idx="0"/>
            <a:endCxn id="11" idx="4"/>
          </p:cNvCxnSpPr>
          <p:nvPr userDrawn="1"/>
        </p:nvCxnSpPr>
        <p:spPr>
          <a:xfrm flipV="1">
            <a:off x="3565976"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EC97C6-4078-8D06-01DB-FB83B4B6C867}"/>
              </a:ext>
            </a:extLst>
          </p:cNvPr>
          <p:cNvCxnSpPr>
            <a:cxnSpLocks/>
            <a:stCxn id="22" idx="0"/>
            <a:endCxn id="15" idx="4"/>
          </p:cNvCxnSpPr>
          <p:nvPr userDrawn="1"/>
        </p:nvCxnSpPr>
        <p:spPr>
          <a:xfrm flipV="1">
            <a:off x="694589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C9CC3-79E1-4573-E981-FA25018ECF47}"/>
              </a:ext>
            </a:extLst>
          </p:cNvPr>
          <p:cNvCxnSpPr>
            <a:cxnSpLocks/>
            <a:stCxn id="23" idx="0"/>
            <a:endCxn id="44" idx="4"/>
          </p:cNvCxnSpPr>
          <p:nvPr userDrawn="1"/>
        </p:nvCxnSpPr>
        <p:spPr>
          <a:xfrm flipV="1">
            <a:off x="10325819" y="3987006"/>
            <a:ext cx="0" cy="24844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EEFDF05-E43A-28F6-FD38-E63EF7C6403B}"/>
              </a:ext>
            </a:extLst>
          </p:cNvPr>
          <p:cNvSpPr/>
          <p:nvPr userDrawn="1"/>
        </p:nvSpPr>
        <p:spPr bwMode="auto">
          <a:xfrm>
            <a:off x="10194850" y="3725068"/>
            <a:ext cx="261938" cy="261938"/>
          </a:xfrm>
          <a:prstGeom prst="ellipse">
            <a:avLst/>
          </a:prstGeom>
          <a:gradFill>
            <a:gsLst>
              <a:gs pos="79000">
                <a:srgbClr val="C03BC4"/>
              </a:gs>
              <a:gs pos="35000">
                <a:srgbClr val="D1448B"/>
              </a:gs>
            </a:gsLst>
            <a:path path="circle">
              <a:fillToRect l="100000" t="100000"/>
            </a:path>
          </a:gradFill>
          <a:ln>
            <a:solidFill>
              <a:schemeClr val="bg1"/>
            </a:solid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55" name="Text Placeholder 19">
            <a:extLst>
              <a:ext uri="{FF2B5EF4-FFF2-40B4-BE49-F238E27FC236}">
                <a16:creationId xmlns:a16="http://schemas.microsoft.com/office/drawing/2014/main" id="{CE405535-5450-642F-B1E0-504C996EC3F3}"/>
              </a:ext>
            </a:extLst>
          </p:cNvPr>
          <p:cNvSpPr>
            <a:spLocks noGrp="1"/>
          </p:cNvSpPr>
          <p:nvPr>
            <p:ph type="body" sz="quarter" idx="14" hasCustomPrompt="1"/>
          </p:nvPr>
        </p:nvSpPr>
        <p:spPr>
          <a:xfrm>
            <a:off x="774700"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6" name="Text Placeholder 19">
            <a:extLst>
              <a:ext uri="{FF2B5EF4-FFF2-40B4-BE49-F238E27FC236}">
                <a16:creationId xmlns:a16="http://schemas.microsoft.com/office/drawing/2014/main" id="{DF4A569F-D036-45D8-68B2-F834A88F9418}"/>
              </a:ext>
            </a:extLst>
          </p:cNvPr>
          <p:cNvSpPr>
            <a:spLocks noGrp="1"/>
          </p:cNvSpPr>
          <p:nvPr>
            <p:ph type="body" sz="quarter" idx="15" hasCustomPrompt="1"/>
          </p:nvPr>
        </p:nvSpPr>
        <p:spPr>
          <a:xfrm>
            <a:off x="4154622"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7" name="Text Placeholder 19">
            <a:extLst>
              <a:ext uri="{FF2B5EF4-FFF2-40B4-BE49-F238E27FC236}">
                <a16:creationId xmlns:a16="http://schemas.microsoft.com/office/drawing/2014/main" id="{7FE86833-69AF-7ED6-9B0F-2596B238A494}"/>
              </a:ext>
            </a:extLst>
          </p:cNvPr>
          <p:cNvSpPr>
            <a:spLocks noGrp="1"/>
          </p:cNvSpPr>
          <p:nvPr>
            <p:ph type="body" sz="quarter" idx="16" hasCustomPrompt="1"/>
          </p:nvPr>
        </p:nvSpPr>
        <p:spPr>
          <a:xfrm>
            <a:off x="4154622"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58" name="Text Placeholder 19">
            <a:extLst>
              <a:ext uri="{FF2B5EF4-FFF2-40B4-BE49-F238E27FC236}">
                <a16:creationId xmlns:a16="http://schemas.microsoft.com/office/drawing/2014/main" id="{DBDF2C6A-60F6-40D6-AA74-CEA0C6E793B8}"/>
              </a:ext>
            </a:extLst>
          </p:cNvPr>
          <p:cNvSpPr>
            <a:spLocks noGrp="1"/>
          </p:cNvSpPr>
          <p:nvPr>
            <p:ph type="body" sz="quarter" idx="17" hasCustomPrompt="1"/>
          </p:nvPr>
        </p:nvSpPr>
        <p:spPr>
          <a:xfrm>
            <a:off x="7534545" y="1635575"/>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59" name="Text Placeholder 19">
            <a:extLst>
              <a:ext uri="{FF2B5EF4-FFF2-40B4-BE49-F238E27FC236}">
                <a16:creationId xmlns:a16="http://schemas.microsoft.com/office/drawing/2014/main" id="{8595CE2D-A527-C4FD-BE8D-789946ECE514}"/>
              </a:ext>
            </a:extLst>
          </p:cNvPr>
          <p:cNvSpPr>
            <a:spLocks noGrp="1"/>
          </p:cNvSpPr>
          <p:nvPr>
            <p:ph type="body" sz="quarter" idx="18" hasCustomPrompt="1"/>
          </p:nvPr>
        </p:nvSpPr>
        <p:spPr>
          <a:xfrm>
            <a:off x="7534545" y="1927508"/>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2" name="Text Placeholder 19">
            <a:extLst>
              <a:ext uri="{FF2B5EF4-FFF2-40B4-BE49-F238E27FC236}">
                <a16:creationId xmlns:a16="http://schemas.microsoft.com/office/drawing/2014/main" id="{3EE8FC1A-3F99-E4D8-7848-685838682F87}"/>
              </a:ext>
            </a:extLst>
          </p:cNvPr>
          <p:cNvSpPr>
            <a:spLocks noGrp="1"/>
          </p:cNvSpPr>
          <p:nvPr>
            <p:ph type="body" sz="quarter" idx="21" hasCustomPrompt="1"/>
          </p:nvPr>
        </p:nvSpPr>
        <p:spPr>
          <a:xfrm>
            <a:off x="584458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3" name="Text Placeholder 19">
            <a:extLst>
              <a:ext uri="{FF2B5EF4-FFF2-40B4-BE49-F238E27FC236}">
                <a16:creationId xmlns:a16="http://schemas.microsoft.com/office/drawing/2014/main" id="{15C13B4F-DBFA-5A37-6C42-721C093B65EA}"/>
              </a:ext>
            </a:extLst>
          </p:cNvPr>
          <p:cNvSpPr>
            <a:spLocks noGrp="1"/>
          </p:cNvSpPr>
          <p:nvPr>
            <p:ph type="body" sz="quarter" idx="22" hasCustomPrompt="1"/>
          </p:nvPr>
        </p:nvSpPr>
        <p:spPr>
          <a:xfrm>
            <a:off x="584458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
        <p:nvSpPr>
          <p:cNvPr id="64" name="Text Placeholder 19">
            <a:extLst>
              <a:ext uri="{FF2B5EF4-FFF2-40B4-BE49-F238E27FC236}">
                <a16:creationId xmlns:a16="http://schemas.microsoft.com/office/drawing/2014/main" id="{87044605-6ABD-EB66-8B13-40306EA8DA3E}"/>
              </a:ext>
            </a:extLst>
          </p:cNvPr>
          <p:cNvSpPr>
            <a:spLocks noGrp="1"/>
          </p:cNvSpPr>
          <p:nvPr>
            <p:ph type="body" sz="quarter" idx="23" hasCustomPrompt="1"/>
          </p:nvPr>
        </p:nvSpPr>
        <p:spPr>
          <a:xfrm>
            <a:off x="9224504" y="4320237"/>
            <a:ext cx="2202630" cy="207147"/>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600" kern="1200" spc="0" baseline="0" dirty="0">
                <a:solidFill>
                  <a:schemeClr val="tx1"/>
                </a:solidFill>
                <a:latin typeface="+mj-lt"/>
                <a:ea typeface="+mn-ea"/>
                <a:cs typeface="+mn-cs"/>
              </a:defRPr>
            </a:lvl1pPr>
          </a:lstStyle>
          <a:p>
            <a:pPr lvl="0"/>
            <a:r>
              <a:rPr lang="en-US"/>
              <a:t>Insert text</a:t>
            </a:r>
          </a:p>
        </p:txBody>
      </p:sp>
      <p:sp>
        <p:nvSpPr>
          <p:cNvPr id="65" name="Text Placeholder 19">
            <a:extLst>
              <a:ext uri="{FF2B5EF4-FFF2-40B4-BE49-F238E27FC236}">
                <a16:creationId xmlns:a16="http://schemas.microsoft.com/office/drawing/2014/main" id="{4A9EF958-AD8E-7C31-32EF-8971D2CBC13A}"/>
              </a:ext>
            </a:extLst>
          </p:cNvPr>
          <p:cNvSpPr>
            <a:spLocks noGrp="1"/>
          </p:cNvSpPr>
          <p:nvPr>
            <p:ph type="body" sz="quarter" idx="24" hasCustomPrompt="1"/>
          </p:nvPr>
        </p:nvSpPr>
        <p:spPr>
          <a:xfrm>
            <a:off x="9224504" y="4612171"/>
            <a:ext cx="2202630" cy="1450907"/>
          </a:xfrm>
        </p:spPr>
        <p:txBody>
          <a:bodyPr anchor="t">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400" kern="1200" spc="0" baseline="0" dirty="0">
                <a:solidFill>
                  <a:schemeClr val="tx1"/>
                </a:solidFill>
                <a:latin typeface="+mn-lt"/>
                <a:ea typeface="+mn-ea"/>
                <a:cs typeface="+mn-cs"/>
              </a:defRPr>
            </a:lvl1pPr>
          </a:lstStyle>
          <a:p>
            <a:pPr lvl="0"/>
            <a:r>
              <a:rPr lang="en-US"/>
              <a:t>Insert text</a:t>
            </a:r>
          </a:p>
        </p:txBody>
      </p:sp>
    </p:spTree>
    <p:extLst>
      <p:ext uri="{BB962C8B-B14F-4D97-AF65-F5344CB8AC3E}">
        <p14:creationId xmlns:p14="http://schemas.microsoft.com/office/powerpoint/2010/main" val="2087049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with four placeholder Pi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90AA4C-8F87-6D7A-C3AB-BE9AC8BDD84B}"/>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Top Corners Rounded 125">
            <a:extLst>
              <a:ext uri="{FF2B5EF4-FFF2-40B4-BE49-F238E27FC236}">
                <a16:creationId xmlns:a16="http://schemas.microsoft.com/office/drawing/2014/main" id="{D4562CE0-8B4D-AE66-8884-EE93315F27D4}"/>
              </a:ext>
              <a:ext uri="{C183D7F6-B498-43B3-948B-1728B52AA6E4}">
                <adec:decorative xmlns:adec="http://schemas.microsoft.com/office/drawing/2017/decorative" val="1"/>
              </a:ext>
            </a:extLst>
          </p:cNvPr>
          <p:cNvSpPr/>
          <p:nvPr userDrawn="1"/>
        </p:nvSpPr>
        <p:spPr bwMode="auto">
          <a:xfrm>
            <a:off x="2200387" y="1364343"/>
            <a:ext cx="7791226" cy="4898571"/>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ctr"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4" name="Rectangle: Rounded Corners 3">
            <a:extLst>
              <a:ext uri="{FF2B5EF4-FFF2-40B4-BE49-F238E27FC236}">
                <a16:creationId xmlns:a16="http://schemas.microsoft.com/office/drawing/2014/main" id="{3429B7E3-84AD-67A1-8069-AA5830C3A6CA}"/>
              </a:ext>
            </a:extLst>
          </p:cNvPr>
          <p:cNvSpPr/>
          <p:nvPr userDrawn="1"/>
        </p:nvSpPr>
        <p:spPr bwMode="auto">
          <a:xfrm>
            <a:off x="3149600" y="6010275"/>
            <a:ext cx="5892800" cy="48518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2400" b="1" kern="0" dirty="0">
              <a:ln w="3175">
                <a:noFill/>
              </a:ln>
              <a:solidFill>
                <a:schemeClr val="bg1"/>
              </a:solidFill>
              <a:latin typeface="+mj-lt"/>
              <a:cs typeface="Segoe UI" pitchFamily="34" charset="0"/>
            </a:endParaRPr>
          </a:p>
        </p:txBody>
      </p:sp>
      <p:sp>
        <p:nvSpPr>
          <p:cNvPr id="5" name="Rounded Rectangle 6">
            <a:extLst>
              <a:ext uri="{FF2B5EF4-FFF2-40B4-BE49-F238E27FC236}">
                <a16:creationId xmlns:a16="http://schemas.microsoft.com/office/drawing/2014/main" id="{F6961B98-51A2-63EC-0C7E-3ACA3F806515}"/>
              </a:ext>
              <a:ext uri="{C183D7F6-B498-43B3-948B-1728B52AA6E4}">
                <adec:decorative xmlns:adec="http://schemas.microsoft.com/office/drawing/2017/decorative" val="1"/>
              </a:ext>
            </a:extLst>
          </p:cNvPr>
          <p:cNvSpPr/>
          <p:nvPr userDrawn="1"/>
        </p:nvSpPr>
        <p:spPr bwMode="auto">
          <a:xfrm>
            <a:off x="2313051"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Rounded Rectangle 6">
            <a:extLst>
              <a:ext uri="{FF2B5EF4-FFF2-40B4-BE49-F238E27FC236}">
                <a16:creationId xmlns:a16="http://schemas.microsoft.com/office/drawing/2014/main" id="{91F47ECF-90D6-649D-E725-A31FE8DC9A0A}"/>
              </a:ext>
              <a:ext uri="{C183D7F6-B498-43B3-948B-1728B52AA6E4}">
                <adec:decorative xmlns:adec="http://schemas.microsoft.com/office/drawing/2017/decorative" val="1"/>
              </a:ext>
            </a:extLst>
          </p:cNvPr>
          <p:cNvSpPr/>
          <p:nvPr userDrawn="1"/>
        </p:nvSpPr>
        <p:spPr bwMode="auto">
          <a:xfrm>
            <a:off x="6156276" y="1492303"/>
            <a:ext cx="3722673" cy="1805574"/>
          </a:xfrm>
          <a:prstGeom prst="roundRect">
            <a:avLst>
              <a:gd name="adj" fmla="val 6541"/>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7" name="Rounded Rectangle 6">
            <a:extLst>
              <a:ext uri="{FF2B5EF4-FFF2-40B4-BE49-F238E27FC236}">
                <a16:creationId xmlns:a16="http://schemas.microsoft.com/office/drawing/2014/main" id="{1A64AA3D-323D-09DD-4E63-D383C0E5459D}"/>
              </a:ext>
              <a:ext uri="{C183D7F6-B498-43B3-948B-1728B52AA6E4}">
                <adec:decorative xmlns:adec="http://schemas.microsoft.com/office/drawing/2017/decorative" val="1"/>
              </a:ext>
            </a:extLst>
          </p:cNvPr>
          <p:cNvSpPr/>
          <p:nvPr userDrawn="1"/>
        </p:nvSpPr>
        <p:spPr bwMode="auto">
          <a:xfrm>
            <a:off x="2313051" y="3433138"/>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9" name="Rounded Rectangle 6">
            <a:extLst>
              <a:ext uri="{FF2B5EF4-FFF2-40B4-BE49-F238E27FC236}">
                <a16:creationId xmlns:a16="http://schemas.microsoft.com/office/drawing/2014/main" id="{1ACCE965-1519-ED4B-A47B-877786E7F163}"/>
              </a:ext>
              <a:ext uri="{C183D7F6-B498-43B3-948B-1728B52AA6E4}">
                <adec:decorative xmlns:adec="http://schemas.microsoft.com/office/drawing/2017/decorative" val="1"/>
              </a:ext>
            </a:extLst>
          </p:cNvPr>
          <p:cNvSpPr/>
          <p:nvPr userDrawn="1"/>
        </p:nvSpPr>
        <p:spPr bwMode="auto">
          <a:xfrm>
            <a:off x="2313051" y="4713137"/>
            <a:ext cx="7565898" cy="1144738"/>
          </a:xfrm>
          <a:prstGeom prst="roundRect">
            <a:avLst>
              <a:gd name="adj" fmla="val 9642"/>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335744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4" name="Text Placeholder 19">
            <a:extLst>
              <a:ext uri="{FF2B5EF4-FFF2-40B4-BE49-F238E27FC236}">
                <a16:creationId xmlns:a16="http://schemas.microsoft.com/office/drawing/2014/main" id="{45D46D7F-7680-B8BC-8728-C69131FDD1F0}"/>
              </a:ext>
            </a:extLst>
          </p:cNvPr>
          <p:cNvSpPr>
            <a:spLocks noGrp="1"/>
          </p:cNvSpPr>
          <p:nvPr>
            <p:ph type="body" sz="quarter" idx="14" hasCustomPrompt="1"/>
          </p:nvPr>
        </p:nvSpPr>
        <p:spPr>
          <a:xfrm>
            <a:off x="7195101" y="2210424"/>
            <a:ext cx="2586160"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E5FA480C-3C3C-22BC-26F3-644BFB9A7046}"/>
              </a:ext>
            </a:extLst>
          </p:cNvPr>
          <p:cNvSpPr>
            <a:spLocks noGrp="1"/>
          </p:cNvSpPr>
          <p:nvPr>
            <p:ph type="body" sz="quarter" idx="15" hasCustomPrompt="1"/>
          </p:nvPr>
        </p:nvSpPr>
        <p:spPr>
          <a:xfrm>
            <a:off x="5086349" y="3820841"/>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30" name="Text Placeholder 19">
            <a:extLst>
              <a:ext uri="{FF2B5EF4-FFF2-40B4-BE49-F238E27FC236}">
                <a16:creationId xmlns:a16="http://schemas.microsoft.com/office/drawing/2014/main" id="{EEADE0EE-8694-E81B-4AD3-12D99A27730F}"/>
              </a:ext>
            </a:extLst>
          </p:cNvPr>
          <p:cNvSpPr>
            <a:spLocks noGrp="1"/>
          </p:cNvSpPr>
          <p:nvPr>
            <p:ph type="body" sz="quarter" idx="17" hasCustomPrompt="1"/>
          </p:nvPr>
        </p:nvSpPr>
        <p:spPr>
          <a:xfrm>
            <a:off x="3396342" y="6068201"/>
            <a:ext cx="5399316" cy="369332"/>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bg1"/>
                </a:solidFill>
                <a:latin typeface="+mj-lt"/>
                <a:ea typeface="+mn-ea"/>
                <a:cs typeface="+mn-cs"/>
              </a:defRPr>
            </a:lvl1pPr>
          </a:lstStyle>
          <a:p>
            <a:pPr lvl="0"/>
            <a:r>
              <a:rPr lang="en-US"/>
              <a:t>Insert text</a:t>
            </a:r>
          </a:p>
        </p:txBody>
      </p:sp>
      <p:sp>
        <p:nvSpPr>
          <p:cNvPr id="20" name="Oval 19">
            <a:extLst>
              <a:ext uri="{FF2B5EF4-FFF2-40B4-BE49-F238E27FC236}">
                <a16:creationId xmlns:a16="http://schemas.microsoft.com/office/drawing/2014/main" id="{76A131B0-2875-4587-B561-D8A23EB42D04}"/>
              </a:ext>
            </a:extLst>
          </p:cNvPr>
          <p:cNvSpPr/>
          <p:nvPr userDrawn="1"/>
        </p:nvSpPr>
        <p:spPr bwMode="auto">
          <a:xfrm>
            <a:off x="2511757"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1" name="Oval 20">
            <a:extLst>
              <a:ext uri="{FF2B5EF4-FFF2-40B4-BE49-F238E27FC236}">
                <a16:creationId xmlns:a16="http://schemas.microsoft.com/office/drawing/2014/main" id="{D3B79A0C-E7C4-6A65-37CC-90C9427CAA37}"/>
              </a:ext>
            </a:extLst>
          </p:cNvPr>
          <p:cNvSpPr/>
          <p:nvPr userDrawn="1"/>
        </p:nvSpPr>
        <p:spPr bwMode="auto">
          <a:xfrm>
            <a:off x="6360489" y="2038061"/>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2" name="Oval 21">
            <a:extLst>
              <a:ext uri="{FF2B5EF4-FFF2-40B4-BE49-F238E27FC236}">
                <a16:creationId xmlns:a16="http://schemas.microsoft.com/office/drawing/2014/main" id="{9ECDF61F-B1B5-9032-978A-C676DF4AC20A}"/>
              </a:ext>
            </a:extLst>
          </p:cNvPr>
          <p:cNvSpPr/>
          <p:nvPr userDrawn="1"/>
        </p:nvSpPr>
        <p:spPr bwMode="auto">
          <a:xfrm>
            <a:off x="4185600" y="3648478"/>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3" name="Oval 22">
            <a:extLst>
              <a:ext uri="{FF2B5EF4-FFF2-40B4-BE49-F238E27FC236}">
                <a16:creationId xmlns:a16="http://schemas.microsoft.com/office/drawing/2014/main" id="{3B76A11E-C0C3-3BDB-F369-4BB04FF14B2D}"/>
              </a:ext>
            </a:extLst>
          </p:cNvPr>
          <p:cNvSpPr/>
          <p:nvPr userDrawn="1"/>
        </p:nvSpPr>
        <p:spPr bwMode="auto">
          <a:xfrm>
            <a:off x="4185600" y="4928477"/>
            <a:ext cx="714060" cy="714058"/>
          </a:xfrm>
          <a:prstGeom prst="ellipse">
            <a:avLst/>
          </a:prstGeom>
          <a:solidFill>
            <a:schemeClr val="bg1">
              <a:alpha val="50000"/>
            </a:schemeClr>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endParaRPr>
          </a:p>
        </p:txBody>
      </p:sp>
      <p:sp>
        <p:nvSpPr>
          <p:cNvPr id="29" name="Text Placeholder 19">
            <a:extLst>
              <a:ext uri="{FF2B5EF4-FFF2-40B4-BE49-F238E27FC236}">
                <a16:creationId xmlns:a16="http://schemas.microsoft.com/office/drawing/2014/main" id="{6161531E-CCCB-8575-020F-C53D93847C9E}"/>
              </a:ext>
            </a:extLst>
          </p:cNvPr>
          <p:cNvSpPr>
            <a:spLocks noGrp="1"/>
          </p:cNvSpPr>
          <p:nvPr>
            <p:ph type="body" sz="quarter" idx="16" hasCustomPrompt="1"/>
          </p:nvPr>
        </p:nvSpPr>
        <p:spPr>
          <a:xfrm>
            <a:off x="5086349" y="5100840"/>
            <a:ext cx="4694911" cy="369332"/>
          </a:xfrm>
        </p:spPr>
        <p:txBody>
          <a:bodyPr anchor="ctr">
            <a:noAutofit/>
          </a:bodyPr>
          <a:lstStyle>
            <a:lvl1pPr marL="0" marR="0" indent="0" algn="l"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3255316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42664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with percentag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32F4E-5E6B-5CB3-C3E3-B002E8FF9DA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8" name="Rectangle: Top Corners Rounded 125">
            <a:extLst>
              <a:ext uri="{FF2B5EF4-FFF2-40B4-BE49-F238E27FC236}">
                <a16:creationId xmlns:a16="http://schemas.microsoft.com/office/drawing/2014/main" id="{180168C0-BE92-2AB0-A173-D35ED279EBE7}"/>
              </a:ext>
              <a:ext uri="{C183D7F6-B498-43B3-948B-1728B52AA6E4}">
                <adec:decorative xmlns:adec="http://schemas.microsoft.com/office/drawing/2017/decorative" val="1"/>
              </a:ext>
            </a:extLst>
          </p:cNvPr>
          <p:cNvSpPr/>
          <p:nvPr userDrawn="1"/>
        </p:nvSpPr>
        <p:spPr bwMode="auto">
          <a:xfrm>
            <a:off x="583406"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0" name="Rectangle: Top Corners Rounded 125">
            <a:extLst>
              <a:ext uri="{FF2B5EF4-FFF2-40B4-BE49-F238E27FC236}">
                <a16:creationId xmlns:a16="http://schemas.microsoft.com/office/drawing/2014/main" id="{7E17D619-9A82-CBEA-BB99-382923668457}"/>
              </a:ext>
              <a:ext uri="{C183D7F6-B498-43B3-948B-1728B52AA6E4}">
                <adec:decorative xmlns:adec="http://schemas.microsoft.com/office/drawing/2017/decorative" val="1"/>
              </a:ext>
            </a:extLst>
          </p:cNvPr>
          <p:cNvSpPr/>
          <p:nvPr userDrawn="1"/>
        </p:nvSpPr>
        <p:spPr bwMode="auto">
          <a:xfrm>
            <a:off x="4331999"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2" name="Rectangle: Top Corners Rounded 125">
            <a:extLst>
              <a:ext uri="{FF2B5EF4-FFF2-40B4-BE49-F238E27FC236}">
                <a16:creationId xmlns:a16="http://schemas.microsoft.com/office/drawing/2014/main" id="{30508D70-2710-8D04-7D5F-70E990CE4DD2}"/>
              </a:ext>
              <a:ext uri="{C183D7F6-B498-43B3-948B-1728B52AA6E4}">
                <adec:decorative xmlns:adec="http://schemas.microsoft.com/office/drawing/2017/decorative" val="1"/>
              </a:ext>
            </a:extLst>
          </p:cNvPr>
          <p:cNvSpPr/>
          <p:nvPr userDrawn="1"/>
        </p:nvSpPr>
        <p:spPr bwMode="auto">
          <a:xfrm>
            <a:off x="8080593" y="2428240"/>
            <a:ext cx="3528001" cy="3505200"/>
          </a:xfrm>
          <a:prstGeom prst="roundRect">
            <a:avLst>
              <a:gd name="adj" fmla="val 32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000000"/>
                  </a:gs>
                  <a:gs pos="99000">
                    <a:srgbClr val="000000"/>
                  </a:gs>
                </a:gsLst>
                <a:path path="circle">
                  <a:fillToRect r="100000" b="100000"/>
                </a:path>
              </a:gradFill>
              <a:effectLst/>
              <a:uLnTx/>
              <a:uFillTx/>
              <a:ea typeface="+mn-lt"/>
              <a:cs typeface="+mn-lt"/>
              <a:sym typeface="+mn-lt"/>
            </a:endParaRPr>
          </a:p>
        </p:txBody>
      </p:sp>
      <p:sp>
        <p:nvSpPr>
          <p:cNvPr id="14" name="Oval 13">
            <a:extLst>
              <a:ext uri="{FF2B5EF4-FFF2-40B4-BE49-F238E27FC236}">
                <a16:creationId xmlns:a16="http://schemas.microsoft.com/office/drawing/2014/main" id="{93D60D49-421B-7F5F-CB61-24B399AF0072}"/>
              </a:ext>
            </a:extLst>
          </p:cNvPr>
          <p:cNvSpPr/>
          <p:nvPr userDrawn="1"/>
        </p:nvSpPr>
        <p:spPr bwMode="auto">
          <a:xfrm>
            <a:off x="1553656"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6" name="Oval 15">
            <a:extLst>
              <a:ext uri="{FF2B5EF4-FFF2-40B4-BE49-F238E27FC236}">
                <a16:creationId xmlns:a16="http://schemas.microsoft.com/office/drawing/2014/main" id="{4C8A10AD-35C3-7899-D08E-CDB0D28DE34A}"/>
              </a:ext>
            </a:extLst>
          </p:cNvPr>
          <p:cNvSpPr/>
          <p:nvPr userDrawn="1"/>
        </p:nvSpPr>
        <p:spPr bwMode="auto">
          <a:xfrm>
            <a:off x="5302250"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9" name="Oval 18">
            <a:extLst>
              <a:ext uri="{FF2B5EF4-FFF2-40B4-BE49-F238E27FC236}">
                <a16:creationId xmlns:a16="http://schemas.microsoft.com/office/drawing/2014/main" id="{61477897-1756-0740-74DF-E853DC832330}"/>
              </a:ext>
            </a:extLst>
          </p:cNvPr>
          <p:cNvSpPr/>
          <p:nvPr userDrawn="1"/>
        </p:nvSpPr>
        <p:spPr bwMode="auto">
          <a:xfrm>
            <a:off x="9050843" y="1635869"/>
            <a:ext cx="1587500" cy="158474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712093"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25" name="Rectangle: Rounded Corners 24">
            <a:extLst>
              <a:ext uri="{FF2B5EF4-FFF2-40B4-BE49-F238E27FC236}">
                <a16:creationId xmlns:a16="http://schemas.microsoft.com/office/drawing/2014/main" id="{5F71979A-6BC4-2DDC-7673-05DF659AF336}"/>
              </a:ext>
            </a:extLst>
          </p:cNvPr>
          <p:cNvSpPr/>
          <p:nvPr userDrawn="1"/>
        </p:nvSpPr>
        <p:spPr bwMode="auto">
          <a:xfrm>
            <a:off x="682278"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7" name="Rectangle: Rounded Corners 26">
            <a:extLst>
              <a:ext uri="{FF2B5EF4-FFF2-40B4-BE49-F238E27FC236}">
                <a16:creationId xmlns:a16="http://schemas.microsoft.com/office/drawing/2014/main" id="{543202F3-2030-D70A-6960-DDACBF65D693}"/>
              </a:ext>
            </a:extLst>
          </p:cNvPr>
          <p:cNvSpPr/>
          <p:nvPr userDrawn="1"/>
        </p:nvSpPr>
        <p:spPr bwMode="auto">
          <a:xfrm>
            <a:off x="4430872"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28" name="Rectangle: Rounded Corners 27">
            <a:extLst>
              <a:ext uri="{FF2B5EF4-FFF2-40B4-BE49-F238E27FC236}">
                <a16:creationId xmlns:a16="http://schemas.microsoft.com/office/drawing/2014/main" id="{ADFAAD63-A798-D02B-558C-DE73B16F3F02}"/>
              </a:ext>
            </a:extLst>
          </p:cNvPr>
          <p:cNvSpPr/>
          <p:nvPr userDrawn="1"/>
        </p:nvSpPr>
        <p:spPr bwMode="auto">
          <a:xfrm>
            <a:off x="8179465" y="4927600"/>
            <a:ext cx="3330257" cy="892175"/>
          </a:xfrm>
          <a:prstGeom prst="roundRect">
            <a:avLst>
              <a:gd name="adj" fmla="val 12180"/>
            </a:avLst>
          </a:prstGeom>
          <a:solidFill>
            <a:srgbClr val="FFFFFF">
              <a:alpha val="20000"/>
            </a:srgbClr>
          </a:solidFill>
        </p:spPr>
        <p:txBody>
          <a:bodyPr wrap="square" lIns="97971" tIns="514351" rIns="97971" bIns="0" rtlCol="0" anchor="ctr">
            <a:normAutofit fontScale="77500" lnSpcReduction="20000"/>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sym typeface="+mn-lt"/>
            </a:endParaRPr>
          </a:p>
        </p:txBody>
      </p:sp>
      <p:sp>
        <p:nvSpPr>
          <p:cNvPr id="47" name="Text Placeholder 19">
            <a:extLst>
              <a:ext uri="{FF2B5EF4-FFF2-40B4-BE49-F238E27FC236}">
                <a16:creationId xmlns:a16="http://schemas.microsoft.com/office/drawing/2014/main" id="{88E186EA-A71E-764F-F1EE-2113A6C93116}"/>
              </a:ext>
            </a:extLst>
          </p:cNvPr>
          <p:cNvSpPr>
            <a:spLocks noGrp="1"/>
          </p:cNvSpPr>
          <p:nvPr>
            <p:ph type="body" sz="quarter" idx="20" hasCustomPrompt="1"/>
          </p:nvPr>
        </p:nvSpPr>
        <p:spPr>
          <a:xfrm>
            <a:off x="732414"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0" name="Text Placeholder 19">
            <a:extLst>
              <a:ext uri="{FF2B5EF4-FFF2-40B4-BE49-F238E27FC236}">
                <a16:creationId xmlns:a16="http://schemas.microsoft.com/office/drawing/2014/main" id="{56DC5B6B-7CA2-0CE9-4CEA-722A17D06CD1}"/>
              </a:ext>
            </a:extLst>
          </p:cNvPr>
          <p:cNvSpPr>
            <a:spLocks noGrp="1"/>
          </p:cNvSpPr>
          <p:nvPr>
            <p:ph type="body" sz="quarter" idx="23" hasCustomPrompt="1"/>
          </p:nvPr>
        </p:nvSpPr>
        <p:spPr>
          <a:xfrm>
            <a:off x="1639668"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45" name="Text Placeholder 19">
            <a:extLst>
              <a:ext uri="{FF2B5EF4-FFF2-40B4-BE49-F238E27FC236}">
                <a16:creationId xmlns:a16="http://schemas.microsoft.com/office/drawing/2014/main" id="{F76287F5-00B6-EB54-84EC-E61512526BFC}"/>
              </a:ext>
            </a:extLst>
          </p:cNvPr>
          <p:cNvSpPr>
            <a:spLocks noGrp="1"/>
          </p:cNvSpPr>
          <p:nvPr>
            <p:ph type="body" sz="quarter" idx="18" hasCustomPrompt="1"/>
          </p:nvPr>
        </p:nvSpPr>
        <p:spPr>
          <a:xfrm>
            <a:off x="4460686"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6" name="Text Placeholder 19">
            <a:extLst>
              <a:ext uri="{FF2B5EF4-FFF2-40B4-BE49-F238E27FC236}">
                <a16:creationId xmlns:a16="http://schemas.microsoft.com/office/drawing/2014/main" id="{2C34D1AB-C234-4045-8CE1-E0722BEF21B0}"/>
              </a:ext>
            </a:extLst>
          </p:cNvPr>
          <p:cNvSpPr>
            <a:spLocks noGrp="1"/>
          </p:cNvSpPr>
          <p:nvPr>
            <p:ph type="body" sz="quarter" idx="19" hasCustomPrompt="1"/>
          </p:nvPr>
        </p:nvSpPr>
        <p:spPr>
          <a:xfrm>
            <a:off x="8209279" y="3348571"/>
            <a:ext cx="3270628" cy="1443768"/>
          </a:xfrm>
        </p:spPr>
        <p:txBody>
          <a:bodyPr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dirty="0">
                <a:solidFill>
                  <a:schemeClr val="tx1"/>
                </a:solidFill>
                <a:latin typeface="+mj-lt"/>
                <a:ea typeface="+mn-ea"/>
                <a:cs typeface="+mn-cs"/>
              </a:defRPr>
            </a:lvl1pPr>
          </a:lstStyle>
          <a:p>
            <a:pPr lvl="0"/>
            <a:r>
              <a:rPr lang="en-US"/>
              <a:t>Insert text</a:t>
            </a:r>
          </a:p>
        </p:txBody>
      </p:sp>
      <p:sp>
        <p:nvSpPr>
          <p:cNvPr id="48" name="Text Placeholder 19">
            <a:extLst>
              <a:ext uri="{FF2B5EF4-FFF2-40B4-BE49-F238E27FC236}">
                <a16:creationId xmlns:a16="http://schemas.microsoft.com/office/drawing/2014/main" id="{752732D6-CB3C-E9DE-9B55-F2C8AD86026B}"/>
              </a:ext>
            </a:extLst>
          </p:cNvPr>
          <p:cNvSpPr>
            <a:spLocks noGrp="1"/>
          </p:cNvSpPr>
          <p:nvPr>
            <p:ph type="body" sz="quarter" idx="21" hasCustomPrompt="1"/>
          </p:nvPr>
        </p:nvSpPr>
        <p:spPr>
          <a:xfrm>
            <a:off x="4481007"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49" name="Text Placeholder 19">
            <a:extLst>
              <a:ext uri="{FF2B5EF4-FFF2-40B4-BE49-F238E27FC236}">
                <a16:creationId xmlns:a16="http://schemas.microsoft.com/office/drawing/2014/main" id="{6C39B09E-638C-2667-F15E-07F7A3FAD25F}"/>
              </a:ext>
            </a:extLst>
          </p:cNvPr>
          <p:cNvSpPr>
            <a:spLocks noGrp="1"/>
          </p:cNvSpPr>
          <p:nvPr>
            <p:ph type="body" sz="quarter" idx="22" hasCustomPrompt="1"/>
          </p:nvPr>
        </p:nvSpPr>
        <p:spPr>
          <a:xfrm>
            <a:off x="8229600" y="5235188"/>
            <a:ext cx="3229986" cy="276999"/>
          </a:xfrm>
        </p:spPr>
        <p:txBody>
          <a:bodyPr anchor="ctr">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1800" kern="1200" dirty="0">
                <a:solidFill>
                  <a:schemeClr val="tx1"/>
                </a:solidFill>
                <a:latin typeface="+mn-lt"/>
                <a:ea typeface="+mn-ea"/>
                <a:cs typeface="+mn-cs"/>
              </a:defRPr>
            </a:lvl1pPr>
          </a:lstStyle>
          <a:p>
            <a:pPr lvl="0"/>
            <a:r>
              <a:rPr lang="en-US"/>
              <a:t>Insert text</a:t>
            </a:r>
          </a:p>
        </p:txBody>
      </p:sp>
      <p:sp>
        <p:nvSpPr>
          <p:cNvPr id="51" name="Text Placeholder 19">
            <a:extLst>
              <a:ext uri="{FF2B5EF4-FFF2-40B4-BE49-F238E27FC236}">
                <a16:creationId xmlns:a16="http://schemas.microsoft.com/office/drawing/2014/main" id="{8AAF7020-2B36-D798-B3A6-618488CBC235}"/>
              </a:ext>
            </a:extLst>
          </p:cNvPr>
          <p:cNvSpPr>
            <a:spLocks noGrp="1"/>
          </p:cNvSpPr>
          <p:nvPr>
            <p:ph type="body" sz="quarter" idx="24" hasCustomPrompt="1"/>
          </p:nvPr>
        </p:nvSpPr>
        <p:spPr>
          <a:xfrm>
            <a:off x="5388262"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
        <p:nvSpPr>
          <p:cNvPr id="52" name="Text Placeholder 19">
            <a:extLst>
              <a:ext uri="{FF2B5EF4-FFF2-40B4-BE49-F238E27FC236}">
                <a16:creationId xmlns:a16="http://schemas.microsoft.com/office/drawing/2014/main" id="{20771643-E6E5-AE32-3951-D33F935D9B92}"/>
              </a:ext>
            </a:extLst>
          </p:cNvPr>
          <p:cNvSpPr>
            <a:spLocks noGrp="1"/>
          </p:cNvSpPr>
          <p:nvPr>
            <p:ph type="body" sz="quarter" idx="25" hasCustomPrompt="1"/>
          </p:nvPr>
        </p:nvSpPr>
        <p:spPr>
          <a:xfrm>
            <a:off x="9136855" y="2012742"/>
            <a:ext cx="1415476" cy="830997"/>
          </a:xfrm>
        </p:spPr>
        <p:txBody>
          <a:bodyPr anchor="ctr">
            <a:noAutofit/>
          </a:bodyPr>
          <a:lstStyle>
            <a:lvl1pPr marL="0" marR="0" indent="0" algn="ctr" defTabSz="914222" rtl="0" eaLnBrk="1" fontAlgn="base" latinLnBrk="0" hangingPunct="1">
              <a:lnSpc>
                <a:spcPct val="100000"/>
              </a:lnSpc>
              <a:spcBef>
                <a:spcPct val="0"/>
              </a:spcBef>
              <a:spcAft>
                <a:spcPct val="0"/>
              </a:spcAft>
              <a:buClrTx/>
              <a:buSzPct val="90000"/>
              <a:buFont typeface="Wingdings" panose="05000000000000000000" pitchFamily="2" charset="2"/>
              <a:buNone/>
              <a:tabLst>
                <a:tab pos="1486807" algn="l"/>
              </a:tabLst>
              <a:defRPr lang="en-US" sz="5400" b="1" kern="1200" dirty="0">
                <a:ln w="3175">
                  <a:noFill/>
                </a:ln>
                <a:gradFill>
                  <a:gsLst>
                    <a:gs pos="79000">
                      <a:srgbClr val="C03BC4"/>
                    </a:gs>
                    <a:gs pos="35000">
                      <a:srgbClr val="D1448B"/>
                    </a:gs>
                  </a:gsLst>
                  <a:path path="circle">
                    <a:fillToRect l="100000" t="100000"/>
                  </a:path>
                </a:gradFill>
                <a:latin typeface="Segoe UI Variable Display Semibold" pitchFamily="2" charset="0"/>
                <a:ea typeface="+mn-ea"/>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840714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4337A5-3D21-E367-7E3C-A0D0AB30D888}"/>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9" name="Rectangle: Rounded Corners 28">
            <a:extLst>
              <a:ext uri="{FF2B5EF4-FFF2-40B4-BE49-F238E27FC236}">
                <a16:creationId xmlns:a16="http://schemas.microsoft.com/office/drawing/2014/main" id="{8928DAF5-0AC4-7C49-BED1-8647283B5010}"/>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0" name="Rectangle: Rounded Corners 29">
            <a:extLst>
              <a:ext uri="{FF2B5EF4-FFF2-40B4-BE49-F238E27FC236}">
                <a16:creationId xmlns:a16="http://schemas.microsoft.com/office/drawing/2014/main" id="{048DE422-18D2-D2BC-E5BB-476A7CC8D50A}"/>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31" name="Graphic 9">
            <a:extLst>
              <a:ext uri="{FF2B5EF4-FFF2-40B4-BE49-F238E27FC236}">
                <a16:creationId xmlns:a16="http://schemas.microsoft.com/office/drawing/2014/main" id="{CFF0C270-D4D1-C634-E9CC-B16B01E7EBC6}"/>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32" name="Rectangle: Rounded Corners 31">
            <a:extLst>
              <a:ext uri="{FF2B5EF4-FFF2-40B4-BE49-F238E27FC236}">
                <a16:creationId xmlns:a16="http://schemas.microsoft.com/office/drawing/2014/main" id="{A7EC10F0-4920-369D-A669-F1A5C648D94C}"/>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3" name="Rectangle: Rounded Corners 32">
            <a:extLst>
              <a:ext uri="{FF2B5EF4-FFF2-40B4-BE49-F238E27FC236}">
                <a16:creationId xmlns:a16="http://schemas.microsoft.com/office/drawing/2014/main" id="{553259B1-C4D4-8482-3413-36B7B131BB60}"/>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34" name="TextBox 33">
            <a:extLst>
              <a:ext uri="{FF2B5EF4-FFF2-40B4-BE49-F238E27FC236}">
                <a16:creationId xmlns:a16="http://schemas.microsoft.com/office/drawing/2014/main" id="{076B1748-226B-C1EF-BE51-EF769A618B2A}"/>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5" name="TextBox 34">
            <a:extLst>
              <a:ext uri="{FF2B5EF4-FFF2-40B4-BE49-F238E27FC236}">
                <a16:creationId xmlns:a16="http://schemas.microsoft.com/office/drawing/2014/main" id="{93CA6158-7F0A-1562-797B-518ABB04F634}"/>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6" name="TextBox 35">
            <a:extLst>
              <a:ext uri="{FF2B5EF4-FFF2-40B4-BE49-F238E27FC236}">
                <a16:creationId xmlns:a16="http://schemas.microsoft.com/office/drawing/2014/main" id="{FD2437C5-86AC-AF6B-0631-CCE070A4EC8E}"/>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7" name="TextBox 36">
            <a:extLst>
              <a:ext uri="{FF2B5EF4-FFF2-40B4-BE49-F238E27FC236}">
                <a16:creationId xmlns:a16="http://schemas.microsoft.com/office/drawing/2014/main" id="{88EB2C85-B65C-B4A2-9487-E448F1EBE943}"/>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8" name="TextBox 37">
            <a:extLst>
              <a:ext uri="{FF2B5EF4-FFF2-40B4-BE49-F238E27FC236}">
                <a16:creationId xmlns:a16="http://schemas.microsoft.com/office/drawing/2014/main" id="{FA2538DD-0003-62DC-8801-BE126365152E}"/>
              </a:ext>
              <a:ext uri="{C183D7F6-B498-43B3-948B-1728B52AA6E4}">
                <adec:decorative xmlns:adec="http://schemas.microsoft.com/office/drawing/2017/decorative" val="1"/>
              </a:ext>
            </a:extLst>
          </p:cNvPr>
          <p:cNvSpPr txBox="1">
            <a:spLocks/>
          </p:cNvSpPr>
          <p:nvPr userDrawn="1"/>
        </p:nvSpPr>
        <p:spPr>
          <a:xfrm>
            <a:off x="6524940"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39" name="TextBox 38">
            <a:extLst>
              <a:ext uri="{FF2B5EF4-FFF2-40B4-BE49-F238E27FC236}">
                <a16:creationId xmlns:a16="http://schemas.microsoft.com/office/drawing/2014/main" id="{5B7AD6B3-DBDA-8F70-CAC4-BE125CB7F27A}"/>
              </a:ext>
              <a:ext uri="{C183D7F6-B498-43B3-948B-1728B52AA6E4}">
                <adec:decorative xmlns:adec="http://schemas.microsoft.com/office/drawing/2017/decorative" val="1"/>
              </a:ext>
            </a:extLst>
          </p:cNvPr>
          <p:cNvSpPr txBox="1">
            <a:spLocks/>
          </p:cNvSpPr>
          <p:nvPr userDrawn="1"/>
        </p:nvSpPr>
        <p:spPr>
          <a:xfrm>
            <a:off x="6524940"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0" name="TextBox 39">
            <a:extLst>
              <a:ext uri="{FF2B5EF4-FFF2-40B4-BE49-F238E27FC236}">
                <a16:creationId xmlns:a16="http://schemas.microsoft.com/office/drawing/2014/main" id="{02B28C54-8E50-EA56-7B81-333D6A73157D}"/>
              </a:ext>
              <a:ext uri="{C183D7F6-B498-43B3-948B-1728B52AA6E4}">
                <adec:decorative xmlns:adec="http://schemas.microsoft.com/office/drawing/2017/decorative" val="1"/>
              </a:ext>
            </a:extLst>
          </p:cNvPr>
          <p:cNvSpPr txBox="1">
            <a:spLocks/>
          </p:cNvSpPr>
          <p:nvPr userDrawn="1"/>
        </p:nvSpPr>
        <p:spPr>
          <a:xfrm>
            <a:off x="6524940"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41" name="TextBox 40">
            <a:extLst>
              <a:ext uri="{FF2B5EF4-FFF2-40B4-BE49-F238E27FC236}">
                <a16:creationId xmlns:a16="http://schemas.microsoft.com/office/drawing/2014/main" id="{62BF846B-4B1B-B551-76FB-5BE77B6B8763}"/>
              </a:ext>
              <a:ext uri="{C183D7F6-B498-43B3-948B-1728B52AA6E4}">
                <adec:decorative xmlns:adec="http://schemas.microsoft.com/office/drawing/2017/decorative" val="1"/>
              </a:ext>
            </a:extLst>
          </p:cNvPr>
          <p:cNvSpPr txBox="1">
            <a:spLocks/>
          </p:cNvSpPr>
          <p:nvPr userDrawn="1"/>
        </p:nvSpPr>
        <p:spPr>
          <a:xfrm>
            <a:off x="6524940"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5"/>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787948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with two column placeholder 2 Pi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555DA12-5A11-9BB3-F11F-1938D2783E13}"/>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r>
              <a:rPr lang="en-US"/>
              <a:t>Click to edit Master title style</a:t>
            </a:r>
          </a:p>
        </p:txBody>
      </p:sp>
      <p:sp>
        <p:nvSpPr>
          <p:cNvPr id="2" name="Rectangle: Rounded Corners 1">
            <a:extLst>
              <a:ext uri="{FF2B5EF4-FFF2-40B4-BE49-F238E27FC236}">
                <a16:creationId xmlns:a16="http://schemas.microsoft.com/office/drawing/2014/main" id="{5F7AE50E-69D7-B90B-575B-5A0C245F9C7B}"/>
              </a:ext>
              <a:ext uri="{C183D7F6-B498-43B3-948B-1728B52AA6E4}">
                <adec:decorative xmlns:adec="http://schemas.microsoft.com/office/drawing/2017/decorative" val="1"/>
              </a:ext>
            </a:extLst>
          </p:cNvPr>
          <p:cNvSpPr/>
          <p:nvPr userDrawn="1"/>
        </p:nvSpPr>
        <p:spPr bwMode="auto">
          <a:xfrm>
            <a:off x="592136"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4" name="Rectangle: Rounded Corners 3">
            <a:extLst>
              <a:ext uri="{FF2B5EF4-FFF2-40B4-BE49-F238E27FC236}">
                <a16:creationId xmlns:a16="http://schemas.microsoft.com/office/drawing/2014/main" id="{F887F77A-6ECA-386D-87DD-195C3817D92E}"/>
              </a:ext>
              <a:ext uri="{C183D7F6-B498-43B3-948B-1728B52AA6E4}">
                <adec:decorative xmlns:adec="http://schemas.microsoft.com/office/drawing/2017/decorative" val="1"/>
              </a:ext>
            </a:extLst>
          </p:cNvPr>
          <p:cNvSpPr/>
          <p:nvPr userDrawn="1"/>
        </p:nvSpPr>
        <p:spPr bwMode="auto">
          <a:xfrm>
            <a:off x="6424828" y="1612900"/>
            <a:ext cx="5192496" cy="4656138"/>
          </a:xfrm>
          <a:prstGeom prst="roundRect">
            <a:avLst>
              <a:gd name="adj" fmla="val 3908"/>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4" rtl="0" eaLnBrk="1" fontAlgn="auto" latinLnBrk="0" hangingPunct="1">
              <a:lnSpc>
                <a:spcPct val="100000"/>
              </a:lnSpc>
              <a:spcBef>
                <a:spcPts val="174"/>
              </a:spcBef>
              <a:spcAft>
                <a:spcPts val="0"/>
              </a:spcAft>
              <a:buClrTx/>
              <a:buSzTx/>
              <a:buFontTx/>
              <a:buNone/>
              <a:tabLst/>
              <a:defRPr/>
            </a:pPr>
            <a:endParaRPr kumimoji="0" lang="en-IN" sz="2400" b="1" i="0" u="none" strike="noStrike" kern="1200" cap="none" spc="0" normalizeH="0" baseline="0" noProof="0" dirty="0">
              <a:ln>
                <a:noFill/>
              </a:ln>
              <a:gradFill>
                <a:gsLst>
                  <a:gs pos="41958">
                    <a:srgbClr val="FFFFFF"/>
                  </a:gs>
                  <a:gs pos="63000">
                    <a:srgbClr val="FFFFFF"/>
                  </a:gs>
                </a:gsLst>
                <a:lin ang="0" scaled="0"/>
              </a:gradFill>
              <a:effectLst/>
              <a:uLnTx/>
              <a:uFillTx/>
              <a:ea typeface="+mn-lt"/>
              <a:cs typeface="+mn-lt"/>
              <a:sym typeface="+mn-lt"/>
            </a:endParaRPr>
          </a:p>
        </p:txBody>
      </p:sp>
      <p:sp>
        <p:nvSpPr>
          <p:cNvPr id="5" name="Rectangle: Rounded Corners 4">
            <a:extLst>
              <a:ext uri="{FF2B5EF4-FFF2-40B4-BE49-F238E27FC236}">
                <a16:creationId xmlns:a16="http://schemas.microsoft.com/office/drawing/2014/main" id="{71899789-9619-C486-A65D-5B3BB73BE583}"/>
              </a:ext>
            </a:extLst>
          </p:cNvPr>
          <p:cNvSpPr/>
          <p:nvPr userDrawn="1"/>
        </p:nvSpPr>
        <p:spPr bwMode="auto">
          <a:xfrm>
            <a:off x="775016"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6" name="Rectangle: Rounded Corners 5">
            <a:extLst>
              <a:ext uri="{FF2B5EF4-FFF2-40B4-BE49-F238E27FC236}">
                <a16:creationId xmlns:a16="http://schemas.microsoft.com/office/drawing/2014/main" id="{E6144CEC-F298-4C82-32C6-8BEC8DC19EB9}"/>
              </a:ext>
            </a:extLst>
          </p:cNvPr>
          <p:cNvSpPr/>
          <p:nvPr userDrawn="1"/>
        </p:nvSpPr>
        <p:spPr bwMode="auto">
          <a:xfrm>
            <a:off x="6607708" y="1320800"/>
            <a:ext cx="2720024" cy="584200"/>
          </a:xfrm>
          <a:prstGeom prst="roundRect">
            <a:avLst>
              <a:gd name="adj" fmla="val 50000"/>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7" name="TextBox 6">
            <a:extLst>
              <a:ext uri="{FF2B5EF4-FFF2-40B4-BE49-F238E27FC236}">
                <a16:creationId xmlns:a16="http://schemas.microsoft.com/office/drawing/2014/main" id="{BA195394-689A-2C9B-22BF-38A73C51C5B2}"/>
              </a:ext>
              <a:ext uri="{C183D7F6-B498-43B3-948B-1728B52AA6E4}">
                <adec:decorative xmlns:adec="http://schemas.microsoft.com/office/drawing/2017/decorative" val="1"/>
              </a:ext>
            </a:extLst>
          </p:cNvPr>
          <p:cNvSpPr txBox="1">
            <a:spLocks/>
          </p:cNvSpPr>
          <p:nvPr userDrawn="1"/>
        </p:nvSpPr>
        <p:spPr>
          <a:xfrm>
            <a:off x="692248" y="2010596"/>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8" name="TextBox 7">
            <a:extLst>
              <a:ext uri="{FF2B5EF4-FFF2-40B4-BE49-F238E27FC236}">
                <a16:creationId xmlns:a16="http://schemas.microsoft.com/office/drawing/2014/main" id="{88F25743-3660-82A4-7909-B274A10AEF09}"/>
              </a:ext>
              <a:ext uri="{C183D7F6-B498-43B3-948B-1728B52AA6E4}">
                <adec:decorative xmlns:adec="http://schemas.microsoft.com/office/drawing/2017/decorative" val="1"/>
              </a:ext>
            </a:extLst>
          </p:cNvPr>
          <p:cNvSpPr txBox="1">
            <a:spLocks/>
          </p:cNvSpPr>
          <p:nvPr userDrawn="1"/>
        </p:nvSpPr>
        <p:spPr>
          <a:xfrm>
            <a:off x="692248" y="3071999"/>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9" name="TextBox 8">
            <a:extLst>
              <a:ext uri="{FF2B5EF4-FFF2-40B4-BE49-F238E27FC236}">
                <a16:creationId xmlns:a16="http://schemas.microsoft.com/office/drawing/2014/main" id="{5596E9A0-1185-35E3-887F-D1179BED0494}"/>
              </a:ext>
              <a:ext uri="{C183D7F6-B498-43B3-948B-1728B52AA6E4}">
                <adec:decorative xmlns:adec="http://schemas.microsoft.com/office/drawing/2017/decorative" val="1"/>
              </a:ext>
            </a:extLst>
          </p:cNvPr>
          <p:cNvSpPr txBox="1">
            <a:spLocks/>
          </p:cNvSpPr>
          <p:nvPr userDrawn="1"/>
        </p:nvSpPr>
        <p:spPr>
          <a:xfrm>
            <a:off x="692248" y="4133402"/>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0" name="TextBox 9">
            <a:extLst>
              <a:ext uri="{FF2B5EF4-FFF2-40B4-BE49-F238E27FC236}">
                <a16:creationId xmlns:a16="http://schemas.microsoft.com/office/drawing/2014/main" id="{149ED272-3BA4-9B03-09B4-4D07D4FDB798}"/>
              </a:ext>
              <a:ext uri="{C183D7F6-B498-43B3-948B-1728B52AA6E4}">
                <adec:decorative xmlns:adec="http://schemas.microsoft.com/office/drawing/2017/decorative" val="1"/>
              </a:ext>
            </a:extLst>
          </p:cNvPr>
          <p:cNvSpPr txBox="1">
            <a:spLocks/>
          </p:cNvSpPr>
          <p:nvPr userDrawn="1"/>
        </p:nvSpPr>
        <p:spPr>
          <a:xfrm>
            <a:off x="692248" y="5194803"/>
            <a:ext cx="4992272" cy="955807"/>
          </a:xfrm>
          <a:prstGeom prst="roundRect">
            <a:avLst>
              <a:gd name="adj" fmla="val 14554"/>
            </a:avLst>
          </a:prstGeom>
          <a:solidFill>
            <a:srgbClr val="FFFFFF">
              <a:alpha val="20000"/>
            </a:srgbClr>
          </a:solidFill>
        </p:spPr>
        <p:txBody>
          <a:bodyPr wrap="square" lIns="97971" tIns="514351" rIns="97971" bIns="0" rtlCol="0" anchor="ctr">
            <a:normAutofit fontScale="85000" lnSpcReduction="20000"/>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1" name="TextBox 10">
            <a:extLst>
              <a:ext uri="{FF2B5EF4-FFF2-40B4-BE49-F238E27FC236}">
                <a16:creationId xmlns:a16="http://schemas.microsoft.com/office/drawing/2014/main" id="{54C75DB3-8342-6837-E03B-0BDED129AD8F}"/>
              </a:ext>
              <a:ext uri="{C183D7F6-B498-43B3-948B-1728B52AA6E4}">
                <adec:decorative xmlns:adec="http://schemas.microsoft.com/office/drawing/2017/decorative" val="1"/>
              </a:ext>
            </a:extLst>
          </p:cNvPr>
          <p:cNvSpPr txBox="1">
            <a:spLocks/>
          </p:cNvSpPr>
          <p:nvPr userDrawn="1"/>
        </p:nvSpPr>
        <p:spPr>
          <a:xfrm>
            <a:off x="6524940" y="2010596"/>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2" name="TextBox 11">
            <a:extLst>
              <a:ext uri="{FF2B5EF4-FFF2-40B4-BE49-F238E27FC236}">
                <a16:creationId xmlns:a16="http://schemas.microsoft.com/office/drawing/2014/main" id="{5A22757B-F18E-72C1-77F1-4DC59E82811D}"/>
              </a:ext>
              <a:ext uri="{C183D7F6-B498-43B3-948B-1728B52AA6E4}">
                <adec:decorative xmlns:adec="http://schemas.microsoft.com/office/drawing/2017/decorative" val="1"/>
              </a:ext>
            </a:extLst>
          </p:cNvPr>
          <p:cNvSpPr txBox="1">
            <a:spLocks/>
          </p:cNvSpPr>
          <p:nvPr userDrawn="1"/>
        </p:nvSpPr>
        <p:spPr>
          <a:xfrm>
            <a:off x="6524940" y="3437935"/>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3" name="TextBox 12">
            <a:extLst>
              <a:ext uri="{FF2B5EF4-FFF2-40B4-BE49-F238E27FC236}">
                <a16:creationId xmlns:a16="http://schemas.microsoft.com/office/drawing/2014/main" id="{505C1BD2-BC75-79A5-9D29-81AC70709B2B}"/>
              </a:ext>
              <a:ext uri="{C183D7F6-B498-43B3-948B-1728B52AA6E4}">
                <adec:decorative xmlns:adec="http://schemas.microsoft.com/office/drawing/2017/decorative" val="1"/>
              </a:ext>
            </a:extLst>
          </p:cNvPr>
          <p:cNvSpPr txBox="1">
            <a:spLocks/>
          </p:cNvSpPr>
          <p:nvPr userDrawn="1"/>
        </p:nvSpPr>
        <p:spPr>
          <a:xfrm>
            <a:off x="6524940" y="4865273"/>
            <a:ext cx="4992272" cy="1285337"/>
          </a:xfrm>
          <a:prstGeom prst="roundRect">
            <a:avLst>
              <a:gd name="adj" fmla="val 9614"/>
            </a:avLst>
          </a:prstGeom>
          <a:solidFill>
            <a:srgbClr val="FFFFFF">
              <a:alpha val="20000"/>
            </a:srgbClr>
          </a:solidFill>
        </p:spPr>
        <p:txBody>
          <a:bodyPr wrap="square" lIns="97971" tIns="514351" rIns="97971" bIns="0" rtlCol="0" anchor="ctr">
            <a:normAutofit/>
          </a:bodyPr>
          <a:lstStyle>
            <a:defPPr>
              <a:defRPr lang="en-US"/>
            </a:defPPr>
            <a:lvl1pPr lvl="0" algn="ctr" defTabSz="1740645" fontAlgn="base">
              <a:spcBef>
                <a:spcPct val="0"/>
              </a:spcBef>
              <a:spcAft>
                <a:spcPct val="0"/>
              </a:spcAft>
              <a:defRPr sz="3214" b="1" kern="0">
                <a:latin typeface="Segoe UI Variable Display Semib" pitchFamily="2" charset="0"/>
                <a:cs typeface="Segoe Sans Display Semibold" pitchFamily="2" charset="0"/>
              </a:defRPr>
            </a:lvl1pPr>
          </a:lstStyle>
          <a:p>
            <a:pPr lvl="0"/>
            <a:endParaRPr lang="en-US" dirty="0">
              <a:sym typeface="+mn-lt"/>
            </a:endParaRPr>
          </a:p>
        </p:txBody>
      </p:sp>
      <p:sp>
        <p:nvSpPr>
          <p:cNvPr id="14" name="Graphic 9">
            <a:extLst>
              <a:ext uri="{FF2B5EF4-FFF2-40B4-BE49-F238E27FC236}">
                <a16:creationId xmlns:a16="http://schemas.microsoft.com/office/drawing/2014/main" id="{4FB2E96C-73A6-3B6A-36C0-E0A441B47AF9}"/>
              </a:ext>
            </a:extLst>
          </p:cNvPr>
          <p:cNvSpPr>
            <a:spLocks/>
          </p:cNvSpPr>
          <p:nvPr userDrawn="1"/>
        </p:nvSpPr>
        <p:spPr>
          <a:xfrm rot="16200000">
            <a:off x="5887241" y="3721514"/>
            <a:ext cx="434978" cy="438912"/>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54" name="Text Placeholder 19">
            <a:extLst>
              <a:ext uri="{FF2B5EF4-FFF2-40B4-BE49-F238E27FC236}">
                <a16:creationId xmlns:a16="http://schemas.microsoft.com/office/drawing/2014/main" id="{80C43188-850D-4DA9-7971-9847F1528B95}"/>
              </a:ext>
            </a:extLst>
          </p:cNvPr>
          <p:cNvSpPr>
            <a:spLocks noGrp="1"/>
          </p:cNvSpPr>
          <p:nvPr>
            <p:ph type="body" sz="quarter" idx="13" hasCustomPrompt="1"/>
          </p:nvPr>
        </p:nvSpPr>
        <p:spPr>
          <a:xfrm>
            <a:off x="974406"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
        <p:nvSpPr>
          <p:cNvPr id="44" name="Text Placeholder 19">
            <a:extLst>
              <a:ext uri="{FF2B5EF4-FFF2-40B4-BE49-F238E27FC236}">
                <a16:creationId xmlns:a16="http://schemas.microsoft.com/office/drawing/2014/main" id="{A358D98A-FF69-0DA9-3031-DA60470D177A}"/>
              </a:ext>
            </a:extLst>
          </p:cNvPr>
          <p:cNvSpPr>
            <a:spLocks noGrp="1"/>
          </p:cNvSpPr>
          <p:nvPr>
            <p:ph type="body" sz="quarter" idx="26" hasCustomPrompt="1"/>
          </p:nvPr>
        </p:nvSpPr>
        <p:spPr>
          <a:xfrm>
            <a:off x="6807098" y="1428234"/>
            <a:ext cx="2321244" cy="369332"/>
          </a:xfrm>
        </p:spPr>
        <p:txBody>
          <a:bodyPr lIns="0" tIns="0" rIns="0" bIns="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tx1"/>
                </a:solidFill>
                <a:latin typeface="+mj-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889541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Demo slide with Video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2EE6A2-035E-FB5C-2CDE-67E1B78B624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595470" y="585788"/>
            <a:ext cx="11018520" cy="553998"/>
          </a:xfrm>
        </p:spPr>
        <p:txBody>
          <a:bodyPr/>
          <a:lstStyle>
            <a:lvl1pPr marL="0" algn="ctr" defTabSz="914400" rtl="0" eaLnBrk="1" latinLnBrk="0" hangingPunct="1">
              <a:defRPr lang="en-US" sz="3600" kern="1200" dirty="0">
                <a:solidFill>
                  <a:schemeClr val="tx1"/>
                </a:solidFill>
                <a:latin typeface="+mj-lt"/>
                <a:ea typeface="+mn-ea"/>
                <a:cs typeface="+mn-cs"/>
              </a:defRPr>
            </a:lvl1pPr>
          </a:lstStyle>
          <a:p>
            <a:pPr algn="ctr"/>
            <a:r>
              <a:rPr lang="en-US" sz="3600">
                <a:latin typeface="+mj-lt"/>
              </a:rPr>
              <a:t>Demo Slide</a:t>
            </a:r>
          </a:p>
        </p:txBody>
      </p:sp>
      <p:sp>
        <p:nvSpPr>
          <p:cNvPr id="16" name="Rectangle: Rounded Corners 15">
            <a:extLst>
              <a:ext uri="{FF2B5EF4-FFF2-40B4-BE49-F238E27FC236}">
                <a16:creationId xmlns:a16="http://schemas.microsoft.com/office/drawing/2014/main" id="{8E7098C6-DBCF-93B2-5D96-137273D0B82C}"/>
              </a:ext>
            </a:extLst>
          </p:cNvPr>
          <p:cNvSpPr/>
          <p:nvPr userDrawn="1"/>
        </p:nvSpPr>
        <p:spPr bwMode="auto">
          <a:xfrm>
            <a:off x="584200" y="1244600"/>
            <a:ext cx="11025188" cy="5024438"/>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20" name="Media Placeholder 19">
            <a:extLst>
              <a:ext uri="{FF2B5EF4-FFF2-40B4-BE49-F238E27FC236}">
                <a16:creationId xmlns:a16="http://schemas.microsoft.com/office/drawing/2014/main" id="{1759F95D-AECA-8C92-B88E-C4E6AA3A254A}"/>
              </a:ext>
            </a:extLst>
          </p:cNvPr>
          <p:cNvSpPr>
            <a:spLocks noGrp="1"/>
          </p:cNvSpPr>
          <p:nvPr>
            <p:ph type="media" sz="quarter" idx="16" hasCustomPrompt="1"/>
          </p:nvPr>
        </p:nvSpPr>
        <p:spPr>
          <a:xfrm>
            <a:off x="687388" y="1344216"/>
            <a:ext cx="10818812" cy="4825207"/>
          </a:xfrm>
          <a:prstGeom prst="roundRect">
            <a:avLst>
              <a:gd name="adj" fmla="val 2229"/>
            </a:avLst>
          </a:prstGeom>
          <a:blipFill>
            <a:blip r:embed="rId3"/>
            <a:stretch>
              <a:fillRect/>
            </a:stretch>
          </a:blipFill>
        </p:spPr>
        <p:txBody>
          <a:bodyPr anchor="ctr">
            <a:noAutofit/>
          </a:bodyPr>
          <a:lstStyle>
            <a:lvl1pPr marL="0" indent="0" algn="ctr">
              <a:buNone/>
              <a:defRPr>
                <a:latin typeface="+mj-lt"/>
              </a:defRPr>
            </a:lvl1pPr>
          </a:lstStyle>
          <a:p>
            <a:r>
              <a:rPr lang="en-IN" dirty="0"/>
              <a:t>Video</a:t>
            </a:r>
            <a:endParaRPr lang="en-US" dirty="0"/>
          </a:p>
        </p:txBody>
      </p:sp>
    </p:spTree>
    <p:extLst>
      <p:ext uri="{BB962C8B-B14F-4D97-AF65-F5344CB8AC3E}">
        <p14:creationId xmlns:p14="http://schemas.microsoft.com/office/powerpoint/2010/main" val="469845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with a pciture placeholder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B7F88-C383-D8A8-7DA3-EED89D7265BE}"/>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 name="Rectangle: Rounded Corners 1">
            <a:extLst>
              <a:ext uri="{FF2B5EF4-FFF2-40B4-BE49-F238E27FC236}">
                <a16:creationId xmlns:a16="http://schemas.microsoft.com/office/drawing/2014/main" id="{B712C2FF-8E59-C2AE-A03E-89C50D8B2BF0}"/>
              </a:ext>
            </a:extLst>
          </p:cNvPr>
          <p:cNvSpPr/>
          <p:nvPr userDrawn="1"/>
        </p:nvSpPr>
        <p:spPr bwMode="auto">
          <a:xfrm>
            <a:off x="584200" y="585788"/>
            <a:ext cx="11025188" cy="5683250"/>
          </a:xfrm>
          <a:prstGeom prst="roundRect">
            <a:avLst>
              <a:gd name="adj" fmla="val 2931"/>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1B92516-6AC9-D94E-A169-A9D3A5E65C55}"/>
              </a:ext>
            </a:extLst>
          </p:cNvPr>
          <p:cNvSpPr>
            <a:spLocks noGrp="1"/>
          </p:cNvSpPr>
          <p:nvPr>
            <p:ph type="pic" sz="quarter" idx="13" hasCustomPrompt="1"/>
          </p:nvPr>
        </p:nvSpPr>
        <p:spPr bwMode="ltGray">
          <a:xfrm>
            <a:off x="687388" y="673100"/>
            <a:ext cx="10818812" cy="5085833"/>
          </a:xfrm>
          <a:prstGeom prst="roundRect">
            <a:avLst>
              <a:gd name="adj" fmla="val 2229"/>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Rounded Corners 4">
            <a:extLst>
              <a:ext uri="{FF2B5EF4-FFF2-40B4-BE49-F238E27FC236}">
                <a16:creationId xmlns:a16="http://schemas.microsoft.com/office/drawing/2014/main" id="{5E85AAE7-B42C-73D6-C27D-7ECBE9233D32}"/>
              </a:ext>
            </a:extLst>
          </p:cNvPr>
          <p:cNvSpPr/>
          <p:nvPr userDrawn="1"/>
        </p:nvSpPr>
        <p:spPr bwMode="auto">
          <a:xfrm>
            <a:off x="2573338" y="5867400"/>
            <a:ext cx="7046912" cy="770934"/>
          </a:xfrm>
          <a:prstGeom prst="roundRect">
            <a:avLst>
              <a:gd name="adj" fmla="val 50000"/>
            </a:avLst>
          </a:prstGeom>
          <a:gradFill>
            <a:gsLst>
              <a:gs pos="79000">
                <a:srgbClr val="C03BC4"/>
              </a:gs>
              <a:gs pos="35000">
                <a:srgbClr val="D1448B"/>
              </a:gs>
            </a:gsLst>
            <a:path path="circle">
              <a:fillToRect l="100000" t="100000"/>
            </a:path>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67" name="Title 66">
            <a:extLst>
              <a:ext uri="{FF2B5EF4-FFF2-40B4-BE49-F238E27FC236}">
                <a16:creationId xmlns:a16="http://schemas.microsoft.com/office/drawing/2014/main" id="{F8D3DDA0-5A9F-58DD-4527-8D6120C0E1A8}"/>
              </a:ext>
            </a:extLst>
          </p:cNvPr>
          <p:cNvSpPr>
            <a:spLocks noGrp="1"/>
          </p:cNvSpPr>
          <p:nvPr>
            <p:ph type="title" hasCustomPrompt="1"/>
          </p:nvPr>
        </p:nvSpPr>
        <p:spPr>
          <a:xfrm>
            <a:off x="2808288" y="5975869"/>
            <a:ext cx="6577012" cy="553998"/>
          </a:xfrm>
        </p:spPr>
        <p:txBody>
          <a:bodyPr anchor="ctr"/>
          <a:lstStyle>
            <a:lvl1pPr marL="0" algn="ctr" defTabSz="914400" rtl="0" eaLnBrk="1" latinLnBrk="0" hangingPunct="1">
              <a:defRPr lang="en-US" sz="3200" kern="1200" dirty="0">
                <a:solidFill>
                  <a:schemeClr val="bg1"/>
                </a:solidFill>
                <a:latin typeface="+mj-lt"/>
                <a:ea typeface="+mn-ea"/>
                <a:cs typeface="+mn-cs"/>
              </a:defRPr>
            </a:lvl1pPr>
          </a:lstStyle>
          <a:p>
            <a:pPr algn="ctr"/>
            <a:r>
              <a:rPr lang="en-US" sz="3600">
                <a:latin typeface="+mj-lt"/>
              </a:rPr>
              <a:t>Insert text</a:t>
            </a:r>
          </a:p>
        </p:txBody>
      </p:sp>
    </p:spTree>
    <p:extLst>
      <p:ext uri="{BB962C8B-B14F-4D97-AF65-F5344CB8AC3E}">
        <p14:creationId xmlns:p14="http://schemas.microsoft.com/office/powerpoint/2010/main" val="3677475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Four round photos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95EDB8-1C69-3449-756A-ED3394EA6901}"/>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Rectangle 3">
            <a:extLst>
              <a:ext uri="{FF2B5EF4-FFF2-40B4-BE49-F238E27FC236}">
                <a16:creationId xmlns:a16="http://schemas.microsoft.com/office/drawing/2014/main" id="{B99EFB85-B9D6-A5B6-861A-EFE69A199B63}"/>
              </a:ext>
            </a:extLst>
          </p:cNvPr>
          <p:cNvSpPr/>
          <p:nvPr userDrawn="1"/>
        </p:nvSpPr>
        <p:spPr bwMode="auto">
          <a:xfrm>
            <a:off x="0" y="3080656"/>
            <a:ext cx="12192000" cy="3094038"/>
          </a:xfrm>
          <a:prstGeom prst="rect">
            <a:avLst/>
          </a:prstGeom>
          <a:solidFill>
            <a:srgbClr val="FFFFFF">
              <a:alpha val="20000"/>
            </a:srgbClr>
          </a:solidFill>
        </p:spPr>
        <p:txBody>
          <a:bodyPr wrap="square" lIns="97971" tIns="514351" rIns="97971" bIns="0" rtlCol="0" anchor="ctr">
            <a:normAutofit/>
          </a:bodyPr>
          <a:lstStyle/>
          <a:p>
            <a:pPr lvl="0" algn="ctr" defTabSz="1740645" fontAlgn="base">
              <a:spcBef>
                <a:spcPct val="0"/>
              </a:spcBef>
              <a:spcAft>
                <a:spcPct val="0"/>
              </a:spcAft>
            </a:pPr>
            <a:endParaRPr lang="en-US" sz="3214" b="1" kern="0" dirty="0">
              <a:latin typeface="Segoe UI Variable Display Semib" pitchFamily="2" charset="0"/>
              <a:cs typeface="Segoe Sans Display Semibold" pitchFamily="2" charset="0"/>
            </a:endParaRPr>
          </a:p>
        </p:txBody>
      </p:sp>
      <p:sp>
        <p:nvSpPr>
          <p:cNvPr id="6" name="Oval 5">
            <a:extLst>
              <a:ext uri="{FF2B5EF4-FFF2-40B4-BE49-F238E27FC236}">
                <a16:creationId xmlns:a16="http://schemas.microsoft.com/office/drawing/2014/main" id="{4AC746BF-2493-08D4-6600-C3ADFE39FA15}"/>
              </a:ext>
            </a:extLst>
          </p:cNvPr>
          <p:cNvSpPr/>
          <p:nvPr userDrawn="1"/>
        </p:nvSpPr>
        <p:spPr bwMode="auto">
          <a:xfrm>
            <a:off x="61632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8" name="Oval 7">
            <a:extLst>
              <a:ext uri="{FF2B5EF4-FFF2-40B4-BE49-F238E27FC236}">
                <a16:creationId xmlns:a16="http://schemas.microsoft.com/office/drawing/2014/main" id="{06BDF3B9-286B-4C56-2F7D-253300BC8C5C}"/>
              </a:ext>
            </a:extLst>
          </p:cNvPr>
          <p:cNvSpPr/>
          <p:nvPr userDrawn="1"/>
        </p:nvSpPr>
        <p:spPr bwMode="auto">
          <a:xfrm>
            <a:off x="339505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9" name="Oval 8">
            <a:extLst>
              <a:ext uri="{FF2B5EF4-FFF2-40B4-BE49-F238E27FC236}">
                <a16:creationId xmlns:a16="http://schemas.microsoft.com/office/drawing/2014/main" id="{68296E75-1EAE-3D3D-8302-6F7952BC290F}"/>
              </a:ext>
            </a:extLst>
          </p:cNvPr>
          <p:cNvSpPr/>
          <p:nvPr userDrawn="1"/>
        </p:nvSpPr>
        <p:spPr bwMode="auto">
          <a:xfrm>
            <a:off x="6173784"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sp>
        <p:nvSpPr>
          <p:cNvPr id="10" name="Oval 9">
            <a:extLst>
              <a:ext uri="{FF2B5EF4-FFF2-40B4-BE49-F238E27FC236}">
                <a16:creationId xmlns:a16="http://schemas.microsoft.com/office/drawing/2014/main" id="{D3BACC84-0057-F666-8762-C4FA141DADF0}"/>
              </a:ext>
            </a:extLst>
          </p:cNvPr>
          <p:cNvSpPr/>
          <p:nvPr userDrawn="1"/>
        </p:nvSpPr>
        <p:spPr bwMode="auto">
          <a:xfrm>
            <a:off x="8952515" y="1769075"/>
            <a:ext cx="2623162" cy="2623162"/>
          </a:xfrm>
          <a:prstGeom prst="ellipse">
            <a:avLst/>
          </a:prstGeom>
          <a:solidFill>
            <a:srgbClr val="F4DDF4"/>
          </a:solidFill>
        </p:spPr>
        <p:txBody>
          <a:bodyPr wrap="square" lIns="972000" tIns="0" rIns="0" bIns="0" rtlCol="0" anchor="ctr" anchorCtr="0">
            <a:noAutofit/>
          </a:bodyPr>
          <a:lstStyle/>
          <a:p>
            <a:pPr lvl="0"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latin typeface="Segoe UI Variable Display Semib" pitchFamily="2" charset="0"/>
              <a:cs typeface="Segoe Sans Display Semibold" pitchFamily="2" charset="0"/>
              <a:sym typeface="+mn-lt"/>
            </a:endParaRPr>
          </a:p>
        </p:txBody>
      </p:sp>
      <p:cxnSp>
        <p:nvCxnSpPr>
          <p:cNvPr id="11" name="Straight Connector 10">
            <a:extLst>
              <a:ext uri="{FF2B5EF4-FFF2-40B4-BE49-F238E27FC236}">
                <a16:creationId xmlns:a16="http://schemas.microsoft.com/office/drawing/2014/main" id="{1040494E-0519-0D75-4D58-47005D1F3268}"/>
              </a:ext>
            </a:extLst>
          </p:cNvPr>
          <p:cNvCxnSpPr>
            <a:cxnSpLocks/>
          </p:cNvCxnSpPr>
          <p:nvPr userDrawn="1"/>
        </p:nvCxnSpPr>
        <p:spPr>
          <a:xfrm>
            <a:off x="331727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FE9C28-BF3B-CD0D-E14E-FA6E932E86EF}"/>
              </a:ext>
            </a:extLst>
          </p:cNvPr>
          <p:cNvCxnSpPr>
            <a:cxnSpLocks/>
          </p:cNvCxnSpPr>
          <p:nvPr userDrawn="1"/>
        </p:nvCxnSpPr>
        <p:spPr>
          <a:xfrm>
            <a:off x="609600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49D8AB-A0E9-990C-0ABC-9A063CB0ACC8}"/>
              </a:ext>
            </a:extLst>
          </p:cNvPr>
          <p:cNvCxnSpPr>
            <a:cxnSpLocks/>
          </p:cNvCxnSpPr>
          <p:nvPr userDrawn="1"/>
        </p:nvCxnSpPr>
        <p:spPr>
          <a:xfrm>
            <a:off x="8874730" y="4693556"/>
            <a:ext cx="0" cy="52653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9">
            <a:extLst>
              <a:ext uri="{FF2B5EF4-FFF2-40B4-BE49-F238E27FC236}">
                <a16:creationId xmlns:a16="http://schemas.microsoft.com/office/drawing/2014/main" id="{2F31CD7F-46B4-49B9-D43B-6C88FDFFA316}"/>
              </a:ext>
            </a:extLst>
          </p:cNvPr>
          <p:cNvSpPr>
            <a:spLocks noGrp="1"/>
          </p:cNvSpPr>
          <p:nvPr>
            <p:ph type="body" sz="quarter" idx="13" hasCustomPrompt="1"/>
          </p:nvPr>
        </p:nvSpPr>
        <p:spPr>
          <a:xfrm>
            <a:off x="664935"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47E5015E-22C5-D239-B2DC-D7A2159C565B}"/>
              </a:ext>
            </a:extLst>
          </p:cNvPr>
          <p:cNvSpPr>
            <a:spLocks noGrp="1" noChangeAspect="1"/>
          </p:cNvSpPr>
          <p:nvPr>
            <p:ph type="pic" sz="quarter" idx="17" hasCustomPrompt="1"/>
          </p:nvPr>
        </p:nvSpPr>
        <p:spPr bwMode="ltGray">
          <a:xfrm>
            <a:off x="696005" y="1848756"/>
            <a:ext cx="2463800" cy="2463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732EA7F6-1E0D-7569-F17F-C4BF98CF3B3A}"/>
              </a:ext>
            </a:extLst>
          </p:cNvPr>
          <p:cNvSpPr>
            <a:spLocks noGrp="1" noChangeAspect="1"/>
          </p:cNvSpPr>
          <p:nvPr>
            <p:ph type="pic" sz="quarter" idx="19" hasCustomPrompt="1"/>
          </p:nvPr>
        </p:nvSpPr>
        <p:spPr bwMode="ltGray">
          <a:xfrm>
            <a:off x="3474735" y="1848756"/>
            <a:ext cx="2463800" cy="246380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0" name="Picture Placeholder" descr="This photo is a 'placeholder' only. Drag or drop your photo here, or click and tap the center to insert a photo.">
            <a:extLst>
              <a:ext uri="{FF2B5EF4-FFF2-40B4-BE49-F238E27FC236}">
                <a16:creationId xmlns:a16="http://schemas.microsoft.com/office/drawing/2014/main" id="{3A8F366F-A917-5642-5C50-F518A983AE58}"/>
              </a:ext>
            </a:extLst>
          </p:cNvPr>
          <p:cNvSpPr>
            <a:spLocks noGrp="1" noChangeAspect="1"/>
          </p:cNvSpPr>
          <p:nvPr>
            <p:ph type="pic" sz="quarter" idx="20" hasCustomPrompt="1"/>
          </p:nvPr>
        </p:nvSpPr>
        <p:spPr bwMode="ltGray">
          <a:xfrm>
            <a:off x="6253465" y="1848756"/>
            <a:ext cx="2463800" cy="246380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14019E93-4A4C-A1BC-1798-381D551C2FB7}"/>
              </a:ext>
            </a:extLst>
          </p:cNvPr>
          <p:cNvSpPr>
            <a:spLocks noGrp="1" noChangeAspect="1"/>
          </p:cNvSpPr>
          <p:nvPr>
            <p:ph type="pic" sz="quarter" idx="21" hasCustomPrompt="1"/>
          </p:nvPr>
        </p:nvSpPr>
        <p:spPr bwMode="ltGray">
          <a:xfrm>
            <a:off x="9032196" y="1848756"/>
            <a:ext cx="2463800" cy="246380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5" name="Text Placeholder 19">
            <a:extLst>
              <a:ext uri="{FF2B5EF4-FFF2-40B4-BE49-F238E27FC236}">
                <a16:creationId xmlns:a16="http://schemas.microsoft.com/office/drawing/2014/main" id="{AF9AF5CF-963B-3666-42A0-9408F8F44970}"/>
              </a:ext>
            </a:extLst>
          </p:cNvPr>
          <p:cNvSpPr>
            <a:spLocks noGrp="1"/>
          </p:cNvSpPr>
          <p:nvPr>
            <p:ph type="body" sz="quarter" idx="14" hasCustomPrompt="1"/>
          </p:nvPr>
        </p:nvSpPr>
        <p:spPr>
          <a:xfrm>
            <a:off x="3443664"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6" name="Text Placeholder 19">
            <a:extLst>
              <a:ext uri="{FF2B5EF4-FFF2-40B4-BE49-F238E27FC236}">
                <a16:creationId xmlns:a16="http://schemas.microsoft.com/office/drawing/2014/main" id="{A7C54E3B-8E9E-9D51-A7AD-DF5D3241B0B1}"/>
              </a:ext>
            </a:extLst>
          </p:cNvPr>
          <p:cNvSpPr>
            <a:spLocks noGrp="1"/>
          </p:cNvSpPr>
          <p:nvPr>
            <p:ph type="body" sz="quarter" idx="15" hasCustomPrompt="1"/>
          </p:nvPr>
        </p:nvSpPr>
        <p:spPr>
          <a:xfrm>
            <a:off x="6222397"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
        <p:nvSpPr>
          <p:cNvPr id="27" name="Text Placeholder 19">
            <a:extLst>
              <a:ext uri="{FF2B5EF4-FFF2-40B4-BE49-F238E27FC236}">
                <a16:creationId xmlns:a16="http://schemas.microsoft.com/office/drawing/2014/main" id="{D834E744-7F73-51F5-6CAD-DBB6016BA18E}"/>
              </a:ext>
            </a:extLst>
          </p:cNvPr>
          <p:cNvSpPr>
            <a:spLocks noGrp="1"/>
          </p:cNvSpPr>
          <p:nvPr>
            <p:ph type="body" sz="quarter" idx="16" hasCustomPrompt="1"/>
          </p:nvPr>
        </p:nvSpPr>
        <p:spPr>
          <a:xfrm>
            <a:off x="9001126" y="4772157"/>
            <a:ext cx="2525940" cy="369332"/>
          </a:xfrm>
        </p:spPr>
        <p:txBody>
          <a:bodyPr lIns="0" tIns="0" rIns="0" bIns="0" anchor="t">
            <a:noAutofit/>
          </a:bodyPr>
          <a:lstStyle>
            <a:lvl1pPr marL="0" marR="0" indent="0" algn="ct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tx1"/>
                </a:solidFill>
                <a:latin typeface="+mj-lt"/>
                <a:ea typeface="+mn-ea"/>
                <a:cs typeface="+mn-cs"/>
              </a:defRPr>
            </a:lvl1pPr>
          </a:lstStyle>
          <a:p>
            <a:pPr lvl="0"/>
            <a:r>
              <a:rPr lang="en-US"/>
              <a:t>Insert text</a:t>
            </a:r>
          </a:p>
        </p:txBody>
      </p:sp>
    </p:spTree>
    <p:extLst>
      <p:ext uri="{BB962C8B-B14F-4D97-AF65-F5344CB8AC3E}">
        <p14:creationId xmlns:p14="http://schemas.microsoft.com/office/powerpoint/2010/main" val="1978574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hree picture content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CB1F2F-0081-E551-92DB-B85F5119A7F9}"/>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3A1F7FD5-323C-9762-DD0F-DB15B2B1589C}"/>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C99F1E31-2444-5229-0CCE-EF1001324214}"/>
              </a:ext>
            </a:extLst>
          </p:cNvPr>
          <p:cNvSpPr>
            <a:spLocks noGrp="1"/>
          </p:cNvSpPr>
          <p:nvPr>
            <p:ph type="pic" sz="quarter" idx="13" hasCustomPrompt="1"/>
          </p:nvPr>
        </p:nvSpPr>
        <p:spPr bwMode="ltGray">
          <a:xfrm>
            <a:off x="584199" y="1581150"/>
            <a:ext cx="3599411" cy="4305300"/>
          </a:xfrm>
          <a:prstGeom prst="roundRect">
            <a:avLst>
              <a:gd name="adj" fmla="val 4720"/>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851CCD2F-E7DE-5D12-87F9-52475535C73C}"/>
              </a:ext>
            </a:extLst>
          </p:cNvPr>
          <p:cNvSpPr>
            <a:spLocks noGrp="1"/>
          </p:cNvSpPr>
          <p:nvPr>
            <p:ph type="pic" sz="quarter" idx="14" hasCustomPrompt="1"/>
          </p:nvPr>
        </p:nvSpPr>
        <p:spPr bwMode="ltGray">
          <a:xfrm>
            <a:off x="4297087" y="1581150"/>
            <a:ext cx="3599411" cy="4305300"/>
          </a:xfrm>
          <a:prstGeom prst="roundRect">
            <a:avLst>
              <a:gd name="adj" fmla="val 4720"/>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CFBE241C-1792-CB28-B2A0-7F490668764D}"/>
              </a:ext>
            </a:extLst>
          </p:cNvPr>
          <p:cNvSpPr>
            <a:spLocks noGrp="1"/>
          </p:cNvSpPr>
          <p:nvPr>
            <p:ph type="pic" sz="quarter" idx="15" hasCustomPrompt="1"/>
          </p:nvPr>
        </p:nvSpPr>
        <p:spPr bwMode="ltGray">
          <a:xfrm>
            <a:off x="8009976" y="1581150"/>
            <a:ext cx="3599411" cy="4305300"/>
          </a:xfrm>
          <a:prstGeom prst="roundRect">
            <a:avLst>
              <a:gd name="adj" fmla="val 4720"/>
            </a:avLst>
          </a:prstGeo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87835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hree text content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A6CF91-034A-CC9C-CB91-9D4530E37B9D}"/>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E6F7E58A-6B3C-71CF-9C7D-E4749BF6C495}"/>
              </a:ext>
            </a:extLst>
          </p:cNvPr>
          <p:cNvSpPr/>
          <p:nvPr userDrawn="1"/>
        </p:nvSpPr>
        <p:spPr bwMode="auto">
          <a:xfrm>
            <a:off x="476250" y="1473200"/>
            <a:ext cx="11239500" cy="4521200"/>
          </a:xfrm>
          <a:prstGeom prst="roundRect">
            <a:avLst>
              <a:gd name="adj" fmla="val 3984"/>
            </a:avLst>
          </a:prstGeom>
          <a:noFill/>
          <a:ln w="1905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4">
              <a:spcBef>
                <a:spcPts val="174"/>
              </a:spcBef>
            </a:pPr>
            <a:endParaRPr lang="en-US" sz="2400" b="1" dirty="0">
              <a:gradFill>
                <a:gsLst>
                  <a:gs pos="41958">
                    <a:srgbClr val="FFFFFF"/>
                  </a:gs>
                  <a:gs pos="63000">
                    <a:srgbClr val="FFFFFF"/>
                  </a:gs>
                </a:gsLst>
                <a:lin ang="0" scaled="0"/>
              </a:gradFill>
              <a:ea typeface="+mn-lt"/>
              <a:cs typeface="+mn-lt"/>
              <a:sym typeface="+mn-lt"/>
            </a:endParaRPr>
          </a:p>
        </p:txBody>
      </p:sp>
      <p:sp>
        <p:nvSpPr>
          <p:cNvPr id="6" name="Rectangle: Rounded Corners 5">
            <a:extLst>
              <a:ext uri="{FF2B5EF4-FFF2-40B4-BE49-F238E27FC236}">
                <a16:creationId xmlns:a16="http://schemas.microsoft.com/office/drawing/2014/main" id="{1C683595-FBF8-179F-28A4-E3681A0A7FC5}"/>
              </a:ext>
            </a:extLst>
          </p:cNvPr>
          <p:cNvSpPr/>
          <p:nvPr userDrawn="1"/>
        </p:nvSpPr>
        <p:spPr bwMode="auto">
          <a:xfrm>
            <a:off x="584199"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7" name="Rectangle: Rounded Corners 6">
            <a:extLst>
              <a:ext uri="{FF2B5EF4-FFF2-40B4-BE49-F238E27FC236}">
                <a16:creationId xmlns:a16="http://schemas.microsoft.com/office/drawing/2014/main" id="{41CEBF13-F6CF-42C5-0E53-E1311332EC7E}"/>
              </a:ext>
            </a:extLst>
          </p:cNvPr>
          <p:cNvSpPr/>
          <p:nvPr userDrawn="1"/>
        </p:nvSpPr>
        <p:spPr bwMode="auto">
          <a:xfrm>
            <a:off x="4297087"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8" name="Rectangle: Rounded Corners 7">
            <a:extLst>
              <a:ext uri="{FF2B5EF4-FFF2-40B4-BE49-F238E27FC236}">
                <a16:creationId xmlns:a16="http://schemas.microsoft.com/office/drawing/2014/main" id="{F6991E26-4A39-8D94-F42C-F2099C92D6A1}"/>
              </a:ext>
            </a:extLst>
          </p:cNvPr>
          <p:cNvSpPr/>
          <p:nvPr userDrawn="1"/>
        </p:nvSpPr>
        <p:spPr bwMode="auto">
          <a:xfrm>
            <a:off x="8009976" y="1581150"/>
            <a:ext cx="3599411" cy="4305300"/>
          </a:xfrm>
          <a:prstGeom prst="roundRect">
            <a:avLst>
              <a:gd name="adj" fmla="val 472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21" name="Text Placeholder 19">
            <a:extLst>
              <a:ext uri="{FF2B5EF4-FFF2-40B4-BE49-F238E27FC236}">
                <a16:creationId xmlns:a16="http://schemas.microsoft.com/office/drawing/2014/main" id="{399EA1AA-57AA-27E2-BD86-B5FA25A9A677}"/>
              </a:ext>
            </a:extLst>
          </p:cNvPr>
          <p:cNvSpPr>
            <a:spLocks noGrp="1"/>
          </p:cNvSpPr>
          <p:nvPr>
            <p:ph type="body" sz="quarter" idx="13" hasCustomPrompt="1"/>
          </p:nvPr>
        </p:nvSpPr>
        <p:spPr>
          <a:xfrm>
            <a:off x="691108"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cxnSp>
        <p:nvCxnSpPr>
          <p:cNvPr id="12" name="Straight Connector 11">
            <a:extLst>
              <a:ext uri="{FF2B5EF4-FFF2-40B4-BE49-F238E27FC236}">
                <a16:creationId xmlns:a16="http://schemas.microsoft.com/office/drawing/2014/main" id="{8A47EDC1-A042-5A95-7AD0-A7419100C365}"/>
              </a:ext>
            </a:extLst>
          </p:cNvPr>
          <p:cNvCxnSpPr>
            <a:cxnSpLocks/>
          </p:cNvCxnSpPr>
          <p:nvPr userDrawn="1"/>
        </p:nvCxnSpPr>
        <p:spPr>
          <a:xfrm>
            <a:off x="637654"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B2703-96F4-0032-1948-7D1A66D0303B}"/>
              </a:ext>
            </a:extLst>
          </p:cNvPr>
          <p:cNvCxnSpPr>
            <a:cxnSpLocks/>
          </p:cNvCxnSpPr>
          <p:nvPr userDrawn="1"/>
        </p:nvCxnSpPr>
        <p:spPr>
          <a:xfrm>
            <a:off x="4350542"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5F7FEE-5EE4-CEBA-42C0-5B7B114D8C2B}"/>
              </a:ext>
            </a:extLst>
          </p:cNvPr>
          <p:cNvCxnSpPr>
            <a:cxnSpLocks/>
          </p:cNvCxnSpPr>
          <p:nvPr userDrawn="1"/>
        </p:nvCxnSpPr>
        <p:spPr>
          <a:xfrm>
            <a:off x="8063431" y="2434590"/>
            <a:ext cx="3492501" cy="0"/>
          </a:xfrm>
          <a:prstGeom prst="line">
            <a:avLst/>
          </a:prstGeom>
          <a:ln w="6350">
            <a:solidFill>
              <a:schemeClr val="bg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9">
            <a:extLst>
              <a:ext uri="{FF2B5EF4-FFF2-40B4-BE49-F238E27FC236}">
                <a16:creationId xmlns:a16="http://schemas.microsoft.com/office/drawing/2014/main" id="{E1C30187-00C7-645C-EA0E-3CAE60058737}"/>
              </a:ext>
            </a:extLst>
          </p:cNvPr>
          <p:cNvSpPr>
            <a:spLocks noGrp="1"/>
          </p:cNvSpPr>
          <p:nvPr>
            <p:ph type="body" sz="quarter" idx="14" hasCustomPrompt="1"/>
          </p:nvPr>
        </p:nvSpPr>
        <p:spPr>
          <a:xfrm>
            <a:off x="4403996"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4" name="Text Placeholder 19">
            <a:extLst>
              <a:ext uri="{FF2B5EF4-FFF2-40B4-BE49-F238E27FC236}">
                <a16:creationId xmlns:a16="http://schemas.microsoft.com/office/drawing/2014/main" id="{01BB683D-10A2-1AB7-D6AD-3513E50E5831}"/>
              </a:ext>
            </a:extLst>
          </p:cNvPr>
          <p:cNvSpPr>
            <a:spLocks noGrp="1"/>
          </p:cNvSpPr>
          <p:nvPr>
            <p:ph type="body" sz="quarter" idx="15" hasCustomPrompt="1"/>
          </p:nvPr>
        </p:nvSpPr>
        <p:spPr>
          <a:xfrm>
            <a:off x="8116885" y="1853982"/>
            <a:ext cx="3385592" cy="307777"/>
          </a:xfrm>
        </p:spPr>
        <p:txBody>
          <a:bodyPr lIns="0" tIns="0" rIns="0" bIns="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solidFill>
                  <a:schemeClr val="bg1"/>
                </a:solidFill>
                <a:latin typeface="+mj-lt"/>
                <a:ea typeface="+mn-ea"/>
                <a:cs typeface="Segoe UI" panose="020B0502040204020203" pitchFamily="34" charset="0"/>
              </a:defRPr>
            </a:lvl1pPr>
          </a:lstStyle>
          <a:p>
            <a:pPr lvl="0"/>
            <a:r>
              <a:rPr lang="en-US"/>
              <a:t>Insert text</a:t>
            </a:r>
          </a:p>
        </p:txBody>
      </p:sp>
      <p:sp>
        <p:nvSpPr>
          <p:cNvPr id="25" name="Text Placeholder 19">
            <a:extLst>
              <a:ext uri="{FF2B5EF4-FFF2-40B4-BE49-F238E27FC236}">
                <a16:creationId xmlns:a16="http://schemas.microsoft.com/office/drawing/2014/main" id="{4F2F9024-046F-77C6-5303-52E499B556C1}"/>
              </a:ext>
            </a:extLst>
          </p:cNvPr>
          <p:cNvSpPr>
            <a:spLocks noGrp="1"/>
          </p:cNvSpPr>
          <p:nvPr>
            <p:ph type="body" sz="quarter" idx="16" hasCustomPrompt="1"/>
          </p:nvPr>
        </p:nvSpPr>
        <p:spPr>
          <a:xfrm>
            <a:off x="691108"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6" name="Text Placeholder 19">
            <a:extLst>
              <a:ext uri="{FF2B5EF4-FFF2-40B4-BE49-F238E27FC236}">
                <a16:creationId xmlns:a16="http://schemas.microsoft.com/office/drawing/2014/main" id="{95805569-1FE6-5940-59E2-DE9A074B852A}"/>
              </a:ext>
            </a:extLst>
          </p:cNvPr>
          <p:cNvSpPr>
            <a:spLocks noGrp="1"/>
          </p:cNvSpPr>
          <p:nvPr>
            <p:ph type="body" sz="quarter" idx="17" hasCustomPrompt="1"/>
          </p:nvPr>
        </p:nvSpPr>
        <p:spPr>
          <a:xfrm>
            <a:off x="4403996"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
        <p:nvSpPr>
          <p:cNvPr id="27" name="Text Placeholder 19">
            <a:extLst>
              <a:ext uri="{FF2B5EF4-FFF2-40B4-BE49-F238E27FC236}">
                <a16:creationId xmlns:a16="http://schemas.microsoft.com/office/drawing/2014/main" id="{69FD4DC6-752D-3AF4-DB4C-BD79AC8DC943}"/>
              </a:ext>
            </a:extLst>
          </p:cNvPr>
          <p:cNvSpPr>
            <a:spLocks noGrp="1"/>
          </p:cNvSpPr>
          <p:nvPr>
            <p:ph type="body" sz="quarter" idx="18" hasCustomPrompt="1"/>
          </p:nvPr>
        </p:nvSpPr>
        <p:spPr>
          <a:xfrm>
            <a:off x="8116885" y="2631371"/>
            <a:ext cx="3385592" cy="3134427"/>
          </a:xfr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a:solidFill>
                  <a:schemeClr val="bg1"/>
                </a:solidFill>
                <a:latin typeface="+mn-lt"/>
                <a:ea typeface="+mn-ea"/>
                <a:cs typeface="Segoe UI" panose="020B0502040204020203" pitchFamily="34" charset="0"/>
              </a:defRPr>
            </a:lvl1pPr>
          </a:lstStyle>
          <a:p>
            <a:pPr lvl="0"/>
            <a:r>
              <a:rPr lang="en-US"/>
              <a:t>Insert text</a:t>
            </a:r>
          </a:p>
        </p:txBody>
      </p:sp>
    </p:spTree>
    <p:extLst>
      <p:ext uri="{BB962C8B-B14F-4D97-AF65-F5344CB8AC3E}">
        <p14:creationId xmlns:p14="http://schemas.microsoft.com/office/powerpoint/2010/main" val="3248792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placehol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34BA8B-7206-F735-90C3-4FC73883D77C}"/>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23" name="Title 22">
            <a:extLst>
              <a:ext uri="{FF2B5EF4-FFF2-40B4-BE49-F238E27FC236}">
                <a16:creationId xmlns:a16="http://schemas.microsoft.com/office/drawing/2014/main" id="{54960393-0F32-B3BF-CAE2-E78A010FCECE}"/>
              </a:ext>
            </a:extLst>
          </p:cNvPr>
          <p:cNvSpPr>
            <a:spLocks noGrp="1"/>
          </p:cNvSpPr>
          <p:nvPr>
            <p:ph type="title"/>
          </p:nvPr>
        </p:nvSpPr>
        <p:spPr>
          <a:xfrm>
            <a:off x="587533" y="586601"/>
            <a:ext cx="11018520" cy="553998"/>
          </a:xfrm>
        </p:spPr>
        <p:txBody>
          <a:bodyPr/>
          <a:lstStyle>
            <a:lvl1pPr algn="ctr">
              <a:defRPr/>
            </a:lvl1pPr>
          </a:lstStyle>
          <a:p>
            <a:r>
              <a:rPr lang="en-US"/>
              <a:t>Click to edit Master title style</a:t>
            </a:r>
          </a:p>
        </p:txBody>
      </p:sp>
      <p:sp>
        <p:nvSpPr>
          <p:cNvPr id="5" name="Rectangle: Rounded Corners 4">
            <a:extLst>
              <a:ext uri="{FF2B5EF4-FFF2-40B4-BE49-F238E27FC236}">
                <a16:creationId xmlns:a16="http://schemas.microsoft.com/office/drawing/2014/main" id="{A322CBBD-6BBD-ECDE-9B83-B94314709E05}"/>
              </a:ext>
            </a:extLst>
          </p:cNvPr>
          <p:cNvSpPr/>
          <p:nvPr userDrawn="1"/>
        </p:nvSpPr>
        <p:spPr bwMode="auto">
          <a:xfrm>
            <a:off x="584199" y="1358900"/>
            <a:ext cx="11025188" cy="4912499"/>
          </a:xfrm>
          <a:prstGeom prst="roundRect">
            <a:avLst>
              <a:gd name="adj" fmla="val 2924"/>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9" name="Rectangle: Top Corners Rounded 8">
            <a:extLst>
              <a:ext uri="{FF2B5EF4-FFF2-40B4-BE49-F238E27FC236}">
                <a16:creationId xmlns:a16="http://schemas.microsoft.com/office/drawing/2014/main" id="{F0BB2C1D-5C69-D3F4-F53D-FBF1669E7E76}"/>
              </a:ext>
            </a:extLst>
          </p:cNvPr>
          <p:cNvSpPr/>
          <p:nvPr userDrawn="1"/>
        </p:nvSpPr>
        <p:spPr bwMode="auto">
          <a:xfrm>
            <a:off x="584199" y="1358900"/>
            <a:ext cx="11025188" cy="533400"/>
          </a:xfrm>
          <a:prstGeom prst="round2SameRect">
            <a:avLst>
              <a:gd name="adj1" fmla="val 26667"/>
              <a:gd name="adj2" fmla="val 0"/>
            </a:avLst>
          </a:pr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Tree>
    <p:extLst>
      <p:ext uri="{BB962C8B-B14F-4D97-AF65-F5344CB8AC3E}">
        <p14:creationId xmlns:p14="http://schemas.microsoft.com/office/powerpoint/2010/main" val="65693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Quotation slide Pi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1D4809-6BBB-4638-54FA-E3ECFC08B784}"/>
              </a:ext>
            </a:extLst>
          </p:cNvPr>
          <p:cNvPicPr>
            <a:picLocks noChangeAspect="1"/>
          </p:cNvPicPr>
          <p:nvPr userDrawn="1"/>
        </p:nvPicPr>
        <p:blipFill>
          <a:blip r:embed="rId2"/>
          <a:stretch>
            <a:fillRect/>
          </a:stretch>
        </p:blipFill>
        <p:spPr>
          <a:xfrm>
            <a:off x="3912" y="4284"/>
            <a:ext cx="12184175" cy="6849431"/>
          </a:xfrm>
          <a:prstGeom prst="rect">
            <a:avLst/>
          </a:prstGeom>
        </p:spPr>
      </p:pic>
      <p:cxnSp>
        <p:nvCxnSpPr>
          <p:cNvPr id="2" name="Straight Connector 1">
            <a:extLst>
              <a:ext uri="{FF2B5EF4-FFF2-40B4-BE49-F238E27FC236}">
                <a16:creationId xmlns:a16="http://schemas.microsoft.com/office/drawing/2014/main" id="{27F35010-E4B4-8F70-D28F-7B5D8EDDDF6A}"/>
              </a:ext>
            </a:extLst>
          </p:cNvPr>
          <p:cNvCxnSpPr>
            <a:cxnSpLocks/>
          </p:cNvCxnSpPr>
          <p:nvPr userDrawn="1"/>
        </p:nvCxnSpPr>
        <p:spPr>
          <a:xfrm>
            <a:off x="1511751" y="1090131"/>
            <a:ext cx="6727374" cy="0"/>
          </a:xfrm>
          <a:prstGeom prst="line">
            <a:avLst/>
          </a:prstGeom>
          <a:ln w="6350">
            <a:solidFill>
              <a:schemeClr val="bg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EB99CC0-8EF9-44F4-FCE4-2E363219881E}"/>
              </a:ext>
            </a:extLst>
          </p:cNvPr>
          <p:cNvSpPr/>
          <p:nvPr userDrawn="1"/>
        </p:nvSpPr>
        <p:spPr bwMode="auto">
          <a:xfrm>
            <a:off x="6654800" y="863600"/>
            <a:ext cx="5130800" cy="5130800"/>
          </a:xfrm>
          <a:prstGeom prst="ellipse">
            <a:avLst/>
          </a:pr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6" name="Rectangle: Top Corners Rounded 5">
            <a:extLst>
              <a:ext uri="{FF2B5EF4-FFF2-40B4-BE49-F238E27FC236}">
                <a16:creationId xmlns:a16="http://schemas.microsoft.com/office/drawing/2014/main" id="{03B7647A-D26C-C3FB-13EB-033E6469F433}"/>
              </a:ext>
            </a:extLst>
          </p:cNvPr>
          <p:cNvSpPr/>
          <p:nvPr userDrawn="1"/>
        </p:nvSpPr>
        <p:spPr bwMode="auto">
          <a:xfrm rot="10800000">
            <a:off x="552132" y="0"/>
            <a:ext cx="959619" cy="1581288"/>
          </a:xfrm>
          <a:prstGeom prst="round2SameRect">
            <a:avLst>
              <a:gd name="adj1" fmla="val 50000"/>
              <a:gd name="adj2" fmla="val 0"/>
            </a:avLst>
          </a:prstGeom>
          <a:solidFill>
            <a:srgbClr val="FFFFFF">
              <a:alpha val="2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endParaRPr>
          </a:p>
        </p:txBody>
      </p:sp>
      <p:sp>
        <p:nvSpPr>
          <p:cNvPr id="7" name="Oval 6">
            <a:extLst>
              <a:ext uri="{FF2B5EF4-FFF2-40B4-BE49-F238E27FC236}">
                <a16:creationId xmlns:a16="http://schemas.microsoft.com/office/drawing/2014/main" id="{0E1D93B2-59CC-2759-942E-D3DC06EB1452}"/>
              </a:ext>
            </a:extLst>
          </p:cNvPr>
          <p:cNvSpPr/>
          <p:nvPr userDrawn="1"/>
        </p:nvSpPr>
        <p:spPr bwMode="auto">
          <a:xfrm>
            <a:off x="610653" y="669131"/>
            <a:ext cx="842000" cy="842000"/>
          </a:xfrm>
          <a:prstGeom prst="ellipse">
            <a:avLst/>
          </a:prstGeom>
          <a:solidFill>
            <a:srgbClr val="ECECEC"/>
          </a:solidFill>
        </p:spPr>
        <p:txBody>
          <a:bodyPr wrap="square" lIns="972000" tIns="0" rIns="0" bIns="0" rtlCol="0" anchor="ctr" anchorCtr="0">
            <a:noAutofit/>
          </a:bodyPr>
          <a:lstStyle/>
          <a:p>
            <a:pPr defTabSz="1740645" fontAlgn="base">
              <a:spcBef>
                <a:spcPts val="482"/>
              </a:spcBef>
              <a:spcAft>
                <a:spcPct val="0"/>
              </a:spcAft>
              <a:buSzPts val="1000"/>
              <a:tabLst>
                <a:tab pos="183703" algn="l"/>
              </a:tabLst>
            </a:pPr>
            <a:endParaRPr lang="en-US" b="1" dirty="0">
              <a:gradFill>
                <a:gsLst>
                  <a:gs pos="13761">
                    <a:srgbClr val="000000"/>
                  </a:gs>
                  <a:gs pos="32110">
                    <a:srgbClr val="000000"/>
                  </a:gs>
                </a:gsLst>
                <a:path path="circle">
                  <a:fillToRect l="100000" t="100000"/>
                </a:path>
              </a:gradFill>
              <a:ea typeface="+mn-lt"/>
              <a:cs typeface="+mn-lt"/>
              <a:sym typeface="+mn-lt"/>
            </a:endParaRPr>
          </a:p>
        </p:txBody>
      </p:sp>
      <p:sp>
        <p:nvSpPr>
          <p:cNvPr id="8" name="Graphic 18">
            <a:extLst>
              <a:ext uri="{FF2B5EF4-FFF2-40B4-BE49-F238E27FC236}">
                <a16:creationId xmlns:a16="http://schemas.microsoft.com/office/drawing/2014/main" id="{229CCF5C-2EF0-EA8C-F06D-965D2BB76BA1}"/>
              </a:ext>
            </a:extLst>
          </p:cNvPr>
          <p:cNvSpPr/>
          <p:nvPr userDrawn="1"/>
        </p:nvSpPr>
        <p:spPr>
          <a:xfrm rot="10800000">
            <a:off x="692883" y="854218"/>
            <a:ext cx="677542" cy="471824"/>
          </a:xfrm>
          <a:custGeom>
            <a:avLst/>
            <a:gdLst>
              <a:gd name="connsiteX0" fmla="*/ 398009 w 1698171"/>
              <a:gd name="connsiteY0" fmla="*/ 0 h 1182560"/>
              <a:gd name="connsiteX1" fmla="*/ 0 w 1698171"/>
              <a:gd name="connsiteY1" fmla="*/ 398009 h 1182560"/>
              <a:gd name="connsiteX2" fmla="*/ 341747 w 1698171"/>
              <a:gd name="connsiteY2" fmla="*/ 792034 h 1182560"/>
              <a:gd name="connsiteX3" fmla="*/ 216494 w 1698171"/>
              <a:gd name="connsiteY3" fmla="*/ 1103659 h 1182560"/>
              <a:gd name="connsiteX4" fmla="*/ 217853 w 1698171"/>
              <a:gd name="connsiteY4" fmla="*/ 1163708 h 1182560"/>
              <a:gd name="connsiteX5" fmla="*/ 275963 w 1698171"/>
              <a:gd name="connsiteY5" fmla="*/ 1178673 h 1182560"/>
              <a:gd name="connsiteX6" fmla="*/ 796018 w 1698171"/>
              <a:gd name="connsiteY6" fmla="*/ 398009 h 1182560"/>
              <a:gd name="connsiteX7" fmla="*/ 398009 w 1698171"/>
              <a:gd name="connsiteY7" fmla="*/ 0 h 1182560"/>
              <a:gd name="connsiteX8" fmla="*/ 1300162 w 1698171"/>
              <a:gd name="connsiteY8" fmla="*/ 0 h 1182560"/>
              <a:gd name="connsiteX9" fmla="*/ 902153 w 1698171"/>
              <a:gd name="connsiteY9" fmla="*/ 398009 h 1182560"/>
              <a:gd name="connsiteX10" fmla="*/ 1243900 w 1698171"/>
              <a:gd name="connsiteY10" fmla="*/ 792034 h 1182560"/>
              <a:gd name="connsiteX11" fmla="*/ 1118647 w 1698171"/>
              <a:gd name="connsiteY11" fmla="*/ 1103659 h 1182560"/>
              <a:gd name="connsiteX12" fmla="*/ 1120007 w 1698171"/>
              <a:gd name="connsiteY12" fmla="*/ 1163708 h 1182560"/>
              <a:gd name="connsiteX13" fmla="*/ 1178116 w 1698171"/>
              <a:gd name="connsiteY13" fmla="*/ 1178673 h 1182560"/>
              <a:gd name="connsiteX14" fmla="*/ 1698171 w 1698171"/>
              <a:gd name="connsiteY14" fmla="*/ 398009 h 1182560"/>
              <a:gd name="connsiteX15" fmla="*/ 1300162 w 1698171"/>
              <a:gd name="connsiteY15" fmla="*/ 0 h 1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171" h="1182560">
                <a:moveTo>
                  <a:pt x="398009" y="0"/>
                </a:moveTo>
                <a:cubicBezTo>
                  <a:pt x="178500" y="0"/>
                  <a:pt x="0" y="178550"/>
                  <a:pt x="0" y="398009"/>
                </a:cubicBezTo>
                <a:cubicBezTo>
                  <a:pt x="0" y="598373"/>
                  <a:pt x="148769" y="764631"/>
                  <a:pt x="341747" y="792034"/>
                </a:cubicBezTo>
                <a:cubicBezTo>
                  <a:pt x="326298" y="904266"/>
                  <a:pt x="283445" y="1011055"/>
                  <a:pt x="216494" y="1103659"/>
                </a:cubicBezTo>
                <a:cubicBezTo>
                  <a:pt x="203472" y="1121732"/>
                  <a:pt x="203960" y="1146219"/>
                  <a:pt x="217853" y="1163708"/>
                </a:cubicBezTo>
                <a:cubicBezTo>
                  <a:pt x="231485" y="1180919"/>
                  <a:pt x="255173" y="1187443"/>
                  <a:pt x="275963" y="1178673"/>
                </a:cubicBezTo>
                <a:cubicBezTo>
                  <a:pt x="591862" y="1046816"/>
                  <a:pt x="796018" y="740340"/>
                  <a:pt x="796018" y="398009"/>
                </a:cubicBezTo>
                <a:cubicBezTo>
                  <a:pt x="796018" y="178550"/>
                  <a:pt x="617517" y="0"/>
                  <a:pt x="398009" y="0"/>
                </a:cubicBezTo>
                <a:close/>
                <a:moveTo>
                  <a:pt x="1300162" y="0"/>
                </a:moveTo>
                <a:cubicBezTo>
                  <a:pt x="1080654" y="0"/>
                  <a:pt x="902153" y="178550"/>
                  <a:pt x="902153" y="398009"/>
                </a:cubicBezTo>
                <a:cubicBezTo>
                  <a:pt x="902153" y="598373"/>
                  <a:pt x="1050922" y="764631"/>
                  <a:pt x="1243900" y="792034"/>
                </a:cubicBezTo>
                <a:cubicBezTo>
                  <a:pt x="1228451" y="904266"/>
                  <a:pt x="1185599" y="1011055"/>
                  <a:pt x="1118647" y="1103659"/>
                </a:cubicBezTo>
                <a:cubicBezTo>
                  <a:pt x="1105625" y="1121732"/>
                  <a:pt x="1106113" y="1146219"/>
                  <a:pt x="1120007" y="1163708"/>
                </a:cubicBezTo>
                <a:cubicBezTo>
                  <a:pt x="1133639" y="1180919"/>
                  <a:pt x="1157327" y="1187443"/>
                  <a:pt x="1178116" y="1178673"/>
                </a:cubicBezTo>
                <a:cubicBezTo>
                  <a:pt x="1494016" y="1046816"/>
                  <a:pt x="1698171" y="740340"/>
                  <a:pt x="1698171" y="398009"/>
                </a:cubicBezTo>
                <a:cubicBezTo>
                  <a:pt x="1698171" y="178550"/>
                  <a:pt x="1519671" y="0"/>
                  <a:pt x="1300162" y="0"/>
                </a:cubicBezTo>
                <a:close/>
              </a:path>
            </a:pathLst>
          </a:custGeom>
          <a:gradFill flip="none" rotWithShape="1">
            <a:gsLst>
              <a:gs pos="79000">
                <a:srgbClr val="C03BC4"/>
              </a:gs>
              <a:gs pos="35000">
                <a:srgbClr val="D1448B"/>
              </a:gs>
            </a:gsLst>
            <a:path path="circle">
              <a:fillToRect l="100000" t="100000"/>
            </a:path>
            <a:tileRect r="-100000" b="-100000"/>
          </a:gradFill>
          <a:ln>
            <a:noFill/>
          </a:ln>
          <a:effectLst/>
        </p:spPr>
        <p:txBody>
          <a:bodyPr wrap="square" lIns="0" tIns="0" rIns="0" bIns="0" anchor="ctr" anchorCtr="0">
            <a:noAutofit/>
          </a:bodyPr>
          <a:lstStyle/>
          <a:p>
            <a:pPr lvl="0" algn="ctr" defTabSz="914367" fontAlgn="base">
              <a:spcBef>
                <a:spcPct val="0"/>
              </a:spcBef>
              <a:spcAft>
                <a:spcPct val="0"/>
              </a:spcAft>
            </a:pPr>
            <a:endParaRPr lang="en-US" sz="1600" b="1" kern="0" dirty="0">
              <a:ln w="3175">
                <a:noFill/>
              </a:ln>
              <a:solidFill>
                <a:schemeClr val="bg1"/>
              </a:solidFill>
              <a:latin typeface="+mj-lt"/>
              <a:cs typeface="Segoe UI" pitchFamily="34" charset="0"/>
            </a:endParaRPr>
          </a:p>
        </p:txBody>
      </p:sp>
      <p:sp>
        <p:nvSpPr>
          <p:cNvPr id="18" name="Text Placeholder 19">
            <a:extLst>
              <a:ext uri="{FF2B5EF4-FFF2-40B4-BE49-F238E27FC236}">
                <a16:creationId xmlns:a16="http://schemas.microsoft.com/office/drawing/2014/main" id="{7A0408E9-8980-7E8F-F942-8C9FE407AADC}"/>
              </a:ext>
            </a:extLst>
          </p:cNvPr>
          <p:cNvSpPr>
            <a:spLocks noGrp="1"/>
          </p:cNvSpPr>
          <p:nvPr>
            <p:ph type="body" sz="quarter" idx="18" hasCustomPrompt="1"/>
          </p:nvPr>
        </p:nvSpPr>
        <p:spPr>
          <a:xfrm>
            <a:off x="716849" y="1695588"/>
            <a:ext cx="5731576" cy="3613695"/>
          </a:xfrm>
        </p:spPr>
        <p:txBody>
          <a:bodyPr lIns="0" tIns="0" rIns="0" bIns="0" anchor="t">
            <a:noAutofit/>
          </a:bodyPr>
          <a:lstStyle>
            <a:lvl1pPr marL="0" marR="0" indent="0" algn="l" defTabSz="914400" rtl="0" eaLnBrk="1" fontAlgn="auto" latinLnBrk="0" hangingPunct="1">
              <a:lnSpc>
                <a:spcPct val="100000"/>
              </a:lnSpc>
              <a:spcBef>
                <a:spcPct val="20000"/>
              </a:spcBef>
              <a:spcAft>
                <a:spcPts val="1800"/>
              </a:spcAft>
              <a:buClrTx/>
              <a:buSzPct val="90000"/>
              <a:buFont typeface="Wingdings" panose="05000000000000000000" pitchFamily="2" charset="2"/>
              <a:buNone/>
              <a:tabLst/>
              <a:defRPr lang="en-US" sz="2400" b="0" kern="1200" cap="none" spc="0" baseline="0" dirty="0">
                <a:ln w="3175">
                  <a:noFill/>
                </a:ln>
                <a:solidFill>
                  <a:schemeClr val="tx1"/>
                </a:solidFill>
                <a:effectLst/>
                <a:latin typeface="+mn-lt"/>
                <a:ea typeface="+mn-ea"/>
                <a:cs typeface="+mn-cs"/>
              </a:defRPr>
            </a:lvl1pPr>
          </a:lstStyle>
          <a:p>
            <a:pPr lvl="0"/>
            <a:r>
              <a:rPr lang="en-US"/>
              <a:t>Insert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35DB28C5-6CEA-8525-6B69-035DAD6E8DFF}"/>
              </a:ext>
            </a:extLst>
          </p:cNvPr>
          <p:cNvSpPr>
            <a:spLocks noGrp="1" noChangeAspect="1"/>
          </p:cNvSpPr>
          <p:nvPr>
            <p:ph type="pic" sz="quarter" idx="17" hasCustomPrompt="1"/>
          </p:nvPr>
        </p:nvSpPr>
        <p:spPr bwMode="ltGray">
          <a:xfrm>
            <a:off x="6781800" y="990600"/>
            <a:ext cx="4876800" cy="487680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6" name="Text Placeholder 19">
            <a:extLst>
              <a:ext uri="{FF2B5EF4-FFF2-40B4-BE49-F238E27FC236}">
                <a16:creationId xmlns:a16="http://schemas.microsoft.com/office/drawing/2014/main" id="{962D8C4F-7127-AD8F-D624-CBC3F48D1FF1}"/>
              </a:ext>
            </a:extLst>
          </p:cNvPr>
          <p:cNvSpPr>
            <a:spLocks noGrp="1"/>
          </p:cNvSpPr>
          <p:nvPr>
            <p:ph type="body" sz="quarter" idx="13" hasCustomPrompt="1"/>
          </p:nvPr>
        </p:nvSpPr>
        <p:spPr>
          <a:xfrm>
            <a:off x="716849" y="5583203"/>
            <a:ext cx="5731576" cy="369332"/>
          </a:xfrm>
        </p:spPr>
        <p:txBody>
          <a:bodyPr lIns="0" tIns="0" rIns="0" bIns="0" anchor="t">
            <a:noAutofit/>
          </a:bodyPr>
          <a:lstStyle>
            <a:lvl1pPr marL="0" marR="0" indent="0" algn="r" defTabSz="914400" rtl="0" eaLnBrk="1" fontAlgn="auto" latinLnBrk="0" hangingPunct="1">
              <a:lnSpc>
                <a:spcPct val="100000"/>
              </a:lnSpc>
              <a:spcBef>
                <a:spcPct val="20000"/>
              </a:spcBef>
              <a:spcAft>
                <a:spcPts val="3000"/>
              </a:spcAft>
              <a:buClrTx/>
              <a:buSzPct val="90000"/>
              <a:buFont typeface="Wingdings" panose="05000000000000000000" pitchFamily="2" charset="2"/>
              <a:buNone/>
              <a:tabLst/>
              <a:defRPr lang="en-US" sz="2400" kern="1200" spc="0" baseline="0" dirty="0">
                <a:solidFill>
                  <a:schemeClr val="accent2"/>
                </a:solidFill>
                <a:latin typeface="+mj-lt"/>
                <a:ea typeface="+mn-ea"/>
                <a:cs typeface="+mn-cs"/>
              </a:defRPr>
            </a:lvl1pPr>
          </a:lstStyle>
          <a:p>
            <a:pPr lvl="0"/>
            <a:r>
              <a:rPr lang="en-US"/>
              <a:t>Insert text</a:t>
            </a: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8263" y="-758152"/>
            <a:ext cx="11018520" cy="553998"/>
          </a:xfrm>
        </p:spPr>
        <p:txBody>
          <a:bodyPr/>
          <a:lstStyle/>
          <a:p>
            <a:r>
              <a:rPr lang="en-US"/>
              <a:t>Click to edit Master title style</a:t>
            </a:r>
          </a:p>
        </p:txBody>
      </p:sp>
    </p:spTree>
    <p:extLst>
      <p:ext uri="{BB962C8B-B14F-4D97-AF65-F5344CB8AC3E}">
        <p14:creationId xmlns:p14="http://schemas.microsoft.com/office/powerpoint/2010/main" val="1444289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557826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ection divider Pi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D0D4FD-6287-E4D5-1378-53345974B3D5}"/>
              </a:ext>
            </a:extLst>
          </p:cNvPr>
          <p:cNvPicPr>
            <a:picLocks noChangeAspect="1"/>
          </p:cNvPicPr>
          <p:nvPr userDrawn="1"/>
        </p:nvPicPr>
        <p:blipFill>
          <a:blip r:embed="rId2"/>
          <a:stretch>
            <a:fillRect/>
          </a:stretch>
        </p:blipFill>
        <p:spPr>
          <a:xfrm>
            <a:off x="3912" y="4284"/>
            <a:ext cx="12184175" cy="6849431"/>
          </a:xfrm>
          <a:prstGeom prst="rect">
            <a:avLst/>
          </a:prstGeom>
        </p:spPr>
      </p:pic>
      <p:sp>
        <p:nvSpPr>
          <p:cNvPr id="4" name="Freeform: Shape 3">
            <a:extLst>
              <a:ext uri="{FF2B5EF4-FFF2-40B4-BE49-F238E27FC236}">
                <a16:creationId xmlns:a16="http://schemas.microsoft.com/office/drawing/2014/main" id="{CF92786A-7D84-72BD-DE4B-303D2A6DB90B}"/>
              </a:ext>
            </a:extLst>
          </p:cNvPr>
          <p:cNvSpPr/>
          <p:nvPr userDrawn="1"/>
        </p:nvSpPr>
        <p:spPr bwMode="auto">
          <a:xfrm>
            <a:off x="0" y="2025650"/>
            <a:ext cx="11480800" cy="2806700"/>
          </a:xfrm>
          <a:custGeom>
            <a:avLst/>
            <a:gdLst>
              <a:gd name="connsiteX0" fmla="*/ 0 w 11480800"/>
              <a:gd name="connsiteY0" fmla="*/ 0 h 2806700"/>
              <a:gd name="connsiteX1" fmla="*/ 11292414 w 11480800"/>
              <a:gd name="connsiteY1" fmla="*/ 0 h 2806700"/>
              <a:gd name="connsiteX2" fmla="*/ 11480800 w 11480800"/>
              <a:gd name="connsiteY2" fmla="*/ 188386 h 2806700"/>
              <a:gd name="connsiteX3" fmla="*/ 11480800 w 11480800"/>
              <a:gd name="connsiteY3" fmla="*/ 2618314 h 2806700"/>
              <a:gd name="connsiteX4" fmla="*/ 11292414 w 11480800"/>
              <a:gd name="connsiteY4" fmla="*/ 2806700 h 2806700"/>
              <a:gd name="connsiteX5" fmla="*/ 0 w 11480800"/>
              <a:gd name="connsiteY5"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0800" h="2806700">
                <a:moveTo>
                  <a:pt x="0" y="0"/>
                </a:moveTo>
                <a:lnTo>
                  <a:pt x="11292414" y="0"/>
                </a:lnTo>
                <a:cubicBezTo>
                  <a:pt x="11396457" y="0"/>
                  <a:pt x="11480800" y="84343"/>
                  <a:pt x="11480800" y="188386"/>
                </a:cubicBezTo>
                <a:lnTo>
                  <a:pt x="11480800" y="2618314"/>
                </a:lnTo>
                <a:cubicBezTo>
                  <a:pt x="11480800" y="2722357"/>
                  <a:pt x="11396457" y="2806700"/>
                  <a:pt x="11292414" y="2806700"/>
                </a:cubicBezTo>
                <a:lnTo>
                  <a:pt x="0" y="2806700"/>
                </a:lnTo>
                <a:close/>
              </a:path>
            </a:pathLst>
          </a:custGeom>
          <a:solidFill>
            <a:srgbClr val="FFFFFF">
              <a:alpha val="40000"/>
            </a:srgbClr>
          </a:solidFill>
        </p:spPr>
        <p:txBody>
          <a:bodyPr wrap="square" lIns="88900" tIns="38100" rIns="88900" bIns="38100" rtlCol="0" anchor="ctr">
            <a:normAutofit/>
          </a:bodyPr>
          <a:lstStyle/>
          <a:p>
            <a:pPr lvl="0" algn="ctr" defTabSz="1740645" fontAlgn="base">
              <a:spcBef>
                <a:spcPct val="0"/>
              </a:spcBef>
              <a:spcAft>
                <a:spcPct val="0"/>
              </a:spcAft>
            </a:pPr>
            <a:endParaRPr lang="en-US" sz="2400" b="1" kern="0" dirty="0">
              <a:latin typeface="+mj-lt"/>
              <a:cs typeface="Segoe Sans Display Semibold" pitchFamily="2" charset="0"/>
              <a:sym typeface="+mn-lt"/>
            </a:endParaRPr>
          </a:p>
        </p:txBody>
      </p:sp>
      <p:sp>
        <p:nvSpPr>
          <p:cNvPr id="19" name="Title 18">
            <a:extLst>
              <a:ext uri="{FF2B5EF4-FFF2-40B4-BE49-F238E27FC236}">
                <a16:creationId xmlns:a16="http://schemas.microsoft.com/office/drawing/2014/main" id="{FAEB125C-CE87-E331-ABC5-D6D3E28E6138}"/>
              </a:ext>
            </a:extLst>
          </p:cNvPr>
          <p:cNvSpPr>
            <a:spLocks noGrp="1"/>
          </p:cNvSpPr>
          <p:nvPr>
            <p:ph type="title"/>
          </p:nvPr>
        </p:nvSpPr>
        <p:spPr>
          <a:xfrm>
            <a:off x="584199" y="3152001"/>
            <a:ext cx="10693401" cy="553998"/>
          </a:xfrm>
        </p:spPr>
        <p:txBody>
          <a:bodyPr/>
          <a:lstStyle/>
          <a:p>
            <a:r>
              <a:rPr lang="en-US"/>
              <a:t>Click to edit Master title style</a:t>
            </a:r>
          </a:p>
        </p:txBody>
      </p:sp>
    </p:spTree>
    <p:extLst>
      <p:ext uri="{BB962C8B-B14F-4D97-AF65-F5344CB8AC3E}">
        <p14:creationId xmlns:p14="http://schemas.microsoft.com/office/powerpoint/2010/main" val="38427052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34241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314814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6321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hank You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pic>
        <p:nvPicPr>
          <p:cNvPr id="3" name="MS logo gray - EMF" descr="Microsoft logo, gray text version">
            <a:extLst>
              <a:ext uri="{FF2B5EF4-FFF2-40B4-BE49-F238E27FC236}">
                <a16:creationId xmlns:a16="http://schemas.microsoft.com/office/drawing/2014/main" id="{337BFE3B-77C3-CD00-9747-05B13261263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DA16EE39-7901-99DE-ADC2-0A8683959A69}"/>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4536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8764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46997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96423191"/>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Title_IPS_Energy">
    <p:bg>
      <p:bgPr>
        <a:solidFill>
          <a:schemeClr val="tx1"/>
        </a:solidFill>
        <a:effectLst/>
      </p:bgPr>
    </p:bg>
    <p:spTree>
      <p:nvGrpSpPr>
        <p:cNvPr id="1" name=""/>
        <p:cNvGrpSpPr/>
        <p:nvPr/>
      </p:nvGrpSpPr>
      <p:grpSpPr>
        <a:xfrm>
          <a:off x="0" y="0"/>
          <a:ext cx="0" cy="0"/>
          <a:chOff x="0" y="0"/>
          <a:chExt cx="0" cy="0"/>
        </a:xfrm>
      </p:grpSpPr>
      <p:pic>
        <p:nvPicPr>
          <p:cNvPr id="4" name="Picture 3" descr="A blue planet with lights&#10;&#10;Description automatically generated">
            <a:extLst>
              <a:ext uri="{FF2B5EF4-FFF2-40B4-BE49-F238E27FC236}">
                <a16:creationId xmlns:a16="http://schemas.microsoft.com/office/drawing/2014/main" id="{88F962BF-04BD-0C97-EED5-F89AFF4F53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Freeform: Shape 16">
            <a:extLst>
              <a:ext uri="{FF2B5EF4-FFF2-40B4-BE49-F238E27FC236}">
                <a16:creationId xmlns:a16="http://schemas.microsoft.com/office/drawing/2014/main" id="{50F0A597-5712-CB94-356B-400C5AD79203}"/>
              </a:ext>
            </a:extLst>
          </p:cNvPr>
          <p:cNvSpPr/>
          <p:nvPr userDrawn="1"/>
        </p:nvSpPr>
        <p:spPr bwMode="auto">
          <a:xfrm>
            <a:off x="5830987" y="0"/>
            <a:ext cx="6361013" cy="6857997"/>
          </a:xfrm>
          <a:custGeom>
            <a:avLst/>
            <a:gdLst>
              <a:gd name="connsiteX0" fmla="*/ 2161533 w 6361013"/>
              <a:gd name="connsiteY0" fmla="*/ 0 h 6857997"/>
              <a:gd name="connsiteX1" fmla="*/ 6361013 w 6361013"/>
              <a:gd name="connsiteY1" fmla="*/ 0 h 6857997"/>
              <a:gd name="connsiteX2" fmla="*/ 6361013 w 6361013"/>
              <a:gd name="connsiteY2" fmla="*/ 140415 h 6857997"/>
              <a:gd name="connsiteX3" fmla="*/ 6361013 w 6361013"/>
              <a:gd name="connsiteY3" fmla="*/ 3980616 h 6857997"/>
              <a:gd name="connsiteX4" fmla="*/ 6323101 w 6361013"/>
              <a:gd name="connsiteY4" fmla="*/ 4125401 h 6857997"/>
              <a:gd name="connsiteX5" fmla="*/ 5963546 w 6361013"/>
              <a:gd name="connsiteY5" fmla="*/ 6857996 h 6857997"/>
              <a:gd name="connsiteX6" fmla="*/ 5688886 w 6361013"/>
              <a:gd name="connsiteY6" fmla="*/ 6857996 h 6857997"/>
              <a:gd name="connsiteX7" fmla="*/ 5688886 w 6361013"/>
              <a:gd name="connsiteY7" fmla="*/ 6857997 h 6857997"/>
              <a:gd name="connsiteX8" fmla="*/ 795515 w 6361013"/>
              <a:gd name="connsiteY8" fmla="*/ 6857996 h 6857997"/>
              <a:gd name="connsiteX9" fmla="*/ 795516 w 6361013"/>
              <a:gd name="connsiteY9" fmla="*/ 6857995 h 6857997"/>
              <a:gd name="connsiteX10" fmla="*/ 0 w 6361013"/>
              <a:gd name="connsiteY10" fmla="*/ 6857995 h 6857997"/>
              <a:gd name="connsiteX11" fmla="*/ 1836200 w 6361013"/>
              <a:gd name="connsiteY11" fmla="*/ 925859 h 6857997"/>
              <a:gd name="connsiteX12" fmla="*/ 1886873 w 6361013"/>
              <a:gd name="connsiteY12" fmla="*/ 1 h 6857997"/>
              <a:gd name="connsiteX13" fmla="*/ 2161533 w 6361013"/>
              <a:gd name="connsiteY13"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61013" h="6857997">
                <a:moveTo>
                  <a:pt x="2161533" y="0"/>
                </a:moveTo>
                <a:lnTo>
                  <a:pt x="6361013" y="0"/>
                </a:lnTo>
                <a:lnTo>
                  <a:pt x="6361013" y="140415"/>
                </a:lnTo>
                <a:lnTo>
                  <a:pt x="6361013" y="3980616"/>
                </a:lnTo>
                <a:lnTo>
                  <a:pt x="6323101" y="4125401"/>
                </a:lnTo>
                <a:cubicBezTo>
                  <a:pt x="6120865" y="5008527"/>
                  <a:pt x="5998351" y="5922049"/>
                  <a:pt x="5963546" y="6857996"/>
                </a:cubicBezTo>
                <a:lnTo>
                  <a:pt x="5688886" y="6857996"/>
                </a:lnTo>
                <a:lnTo>
                  <a:pt x="5688886" y="6857997"/>
                </a:lnTo>
                <a:lnTo>
                  <a:pt x="795515" y="6857996"/>
                </a:lnTo>
                <a:lnTo>
                  <a:pt x="795516" y="6857995"/>
                </a:lnTo>
                <a:lnTo>
                  <a:pt x="0" y="6857995"/>
                </a:lnTo>
                <a:cubicBezTo>
                  <a:pt x="1006258" y="5078618"/>
                  <a:pt x="1651495" y="3068069"/>
                  <a:pt x="1836200" y="925859"/>
                </a:cubicBezTo>
                <a:lnTo>
                  <a:pt x="1886873" y="1"/>
                </a:lnTo>
                <a:lnTo>
                  <a:pt x="2161533" y="1"/>
                </a:lnTo>
                <a:close/>
              </a:path>
            </a:pathLst>
          </a:custGeom>
          <a:gradFill flip="none" rotWithShape="1">
            <a:gsLst>
              <a:gs pos="94000">
                <a:schemeClr val="accent4"/>
              </a:gs>
              <a:gs pos="20000">
                <a:srgbClr val="9BF00B"/>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737800" cy="1107996"/>
          </a:xfrm>
        </p:spPr>
        <p:txBody>
          <a:bodyPr wrap="square" anchor="b" anchorCtr="0">
            <a:spAutoFit/>
          </a:bodyPr>
          <a:lstStyle>
            <a:lvl1pPr>
              <a:defRPr>
                <a:solidFill>
                  <a:schemeClr val="tx1"/>
                </a:solidFill>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2042" y="4782281"/>
            <a:ext cx="473404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Picture Placeholder 13">
            <a:extLst>
              <a:ext uri="{FF2B5EF4-FFF2-40B4-BE49-F238E27FC236}">
                <a16:creationId xmlns:a16="http://schemas.microsoft.com/office/drawing/2014/main" id="{81271761-C604-221D-B424-8CBEF4F99A9A}"/>
              </a:ext>
            </a:extLst>
          </p:cNvPr>
          <p:cNvSpPr>
            <a:spLocks noGrp="1"/>
          </p:cNvSpPr>
          <p:nvPr>
            <p:ph type="pic" sz="quarter" idx="14" hasCustomPrompt="1"/>
          </p:nvPr>
        </p:nvSpPr>
        <p:spPr>
          <a:xfrm>
            <a:off x="5978012" y="0"/>
            <a:ext cx="6213988" cy="6857998"/>
          </a:xfrm>
          <a:custGeom>
            <a:avLst/>
            <a:gdLst>
              <a:gd name="connsiteX0" fmla="*/ 1886874 w 6213988"/>
              <a:gd name="connsiteY0" fmla="*/ 0 h 6857998"/>
              <a:gd name="connsiteX1" fmla="*/ 6213988 w 6213988"/>
              <a:gd name="connsiteY1" fmla="*/ 0 h 6857998"/>
              <a:gd name="connsiteX2" fmla="*/ 6213988 w 6213988"/>
              <a:gd name="connsiteY2" fmla="*/ 140414 h 6857998"/>
              <a:gd name="connsiteX3" fmla="*/ 6213988 w 6213988"/>
              <a:gd name="connsiteY3" fmla="*/ 3472644 h 6857998"/>
              <a:gd name="connsiteX4" fmla="*/ 6048441 w 6213988"/>
              <a:gd name="connsiteY4" fmla="*/ 4125403 h 6857998"/>
              <a:gd name="connsiteX5" fmla="*/ 5688887 w 6213988"/>
              <a:gd name="connsiteY5" fmla="*/ 6857998 h 6857998"/>
              <a:gd name="connsiteX6" fmla="*/ 795515 w 6213988"/>
              <a:gd name="connsiteY6" fmla="*/ 6857998 h 6857998"/>
              <a:gd name="connsiteX7" fmla="*/ 795516 w 6213988"/>
              <a:gd name="connsiteY7" fmla="*/ 6857997 h 6857998"/>
              <a:gd name="connsiteX8" fmla="*/ 0 w 6213988"/>
              <a:gd name="connsiteY8" fmla="*/ 6857997 h 6857998"/>
              <a:gd name="connsiteX9" fmla="*/ 1868695 w 6213988"/>
              <a:gd name="connsiteY9" fmla="*/ 46483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3988" h="6857998">
                <a:moveTo>
                  <a:pt x="1886874" y="0"/>
                </a:moveTo>
                <a:lnTo>
                  <a:pt x="6213988" y="0"/>
                </a:lnTo>
                <a:lnTo>
                  <a:pt x="6213988" y="140414"/>
                </a:lnTo>
                <a:lnTo>
                  <a:pt x="6213988" y="3472644"/>
                </a:lnTo>
                <a:lnTo>
                  <a:pt x="6048441" y="4125403"/>
                </a:lnTo>
                <a:cubicBezTo>
                  <a:pt x="5846205" y="5008529"/>
                  <a:pt x="5723692" y="5922052"/>
                  <a:pt x="5688887" y="6857998"/>
                </a:cubicBezTo>
                <a:lnTo>
                  <a:pt x="795515" y="6857998"/>
                </a:lnTo>
                <a:lnTo>
                  <a:pt x="795516" y="6857997"/>
                </a:lnTo>
                <a:lnTo>
                  <a:pt x="0" y="6857997"/>
                </a:lnTo>
                <a:cubicBezTo>
                  <a:pt x="1078134" y="4951521"/>
                  <a:pt x="1741830" y="2779670"/>
                  <a:pt x="1868695" y="464835"/>
                </a:cubicBezTo>
                <a:close/>
              </a:path>
            </a:pathLst>
          </a:custGeom>
          <a:blipFill dpi="0" rotWithShape="1">
            <a:blip r:embed="rId4" cstate="print">
              <a:extLst>
                <a:ext uri="{28A0092B-C50C-407E-A947-70E740481C1C}">
                  <a14:useLocalDpi xmlns:a14="http://schemas.microsoft.com/office/drawing/2010/main"/>
                </a:ext>
              </a:extLst>
            </a:blip>
            <a:srcRect/>
            <a:stretch>
              <a:fillRect/>
            </a:stretch>
          </a:blipFill>
        </p:spPr>
        <p:txBody>
          <a:bodyPr wrap="square" tIns="3931920">
            <a:noAutofit/>
          </a:bodyPr>
          <a:lstStyle>
            <a:lvl1pPr marL="0" indent="0" algn="ctr">
              <a:buNone/>
              <a:defRPr lang="en-US" sz="1600" kern="1200" spc="0" baseline="0" dirty="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above</a:t>
            </a:r>
            <a:br>
              <a:rPr lang="en-US"/>
            </a:br>
            <a:r>
              <a:rPr lang="en-US"/>
              <a:t>to insert</a:t>
            </a:r>
          </a:p>
        </p:txBody>
      </p:sp>
    </p:spTree>
    <p:extLst>
      <p:ext uri="{BB962C8B-B14F-4D97-AF65-F5344CB8AC3E}">
        <p14:creationId xmlns:p14="http://schemas.microsoft.com/office/powerpoint/2010/main" val="280851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with content (Dark)">
    <p:bg>
      <p:bgPr>
        <a:solidFill>
          <a:schemeClr val="accent2">
            <a:lumMod val="75000"/>
          </a:schemeClr>
        </a:solidFill>
        <a:effectLst/>
      </p:bgPr>
    </p:bg>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screen">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
        <p:nvSpPr>
          <p:cNvPr id="15" name="Title 1">
            <a:extLst>
              <a:ext uri="{FF2B5EF4-FFF2-40B4-BE49-F238E27FC236}">
                <a16:creationId xmlns:a16="http://schemas.microsoft.com/office/drawing/2014/main" id="{19D7B461-7CDD-60B2-752A-D57005362B75}"/>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 name="Text Placeholder 13">
            <a:extLst>
              <a:ext uri="{FF2B5EF4-FFF2-40B4-BE49-F238E27FC236}">
                <a16:creationId xmlns:a16="http://schemas.microsoft.com/office/drawing/2014/main" id="{A37C3D04-0454-4C3E-ABA1-108393CAEC87}"/>
              </a:ext>
            </a:extLst>
          </p:cNvPr>
          <p:cNvSpPr>
            <a:spLocks noGrp="1"/>
          </p:cNvSpPr>
          <p:nvPr>
            <p:ph type="body" sz="quarter" idx="10"/>
          </p:nvPr>
        </p:nvSpPr>
        <p:spPr>
          <a:xfrm>
            <a:off x="588962" y="1437180"/>
            <a:ext cx="11018520" cy="1612749"/>
          </a:xfr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6299935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5EFC4-F301-88C1-40FC-34510C95CD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61F576-82CF-A3A2-E9CE-4A18D3DD096D}"/>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4" name="Footer Placeholder 3">
            <a:extLst>
              <a:ext uri="{FF2B5EF4-FFF2-40B4-BE49-F238E27FC236}">
                <a16:creationId xmlns:a16="http://schemas.microsoft.com/office/drawing/2014/main" id="{C237BC05-830C-0731-0EBF-A9CADF0BAE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31DF3D-D602-DB8C-1F27-4EB49841EE89}"/>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13129504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59697920"/>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Agenda six topic (dark)">
    <p:bg>
      <p:bgPr>
        <a:solidFill>
          <a:srgbClr val="193467"/>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23057C64-DAD8-9401-7EE5-A4D097376B67}"/>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sp>
        <p:nvSpPr>
          <p:cNvPr id="2" name="Rectangle: Rounded Corners 1">
            <a:extLst>
              <a:ext uri="{FF2B5EF4-FFF2-40B4-BE49-F238E27FC236}">
                <a16:creationId xmlns:a16="http://schemas.microsoft.com/office/drawing/2014/main" id="{7AFCDF00-F91D-6DE8-AF01-F8EEC9A54303}"/>
              </a:ext>
              <a:ext uri="{C183D7F6-B498-43B3-948B-1728B52AA6E4}">
                <adec:decorative xmlns:adec="http://schemas.microsoft.com/office/drawing/2017/decorative" val="1"/>
              </a:ext>
            </a:extLst>
          </p:cNvPr>
          <p:cNvSpPr/>
          <p:nvPr userDrawn="1"/>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pic>
        <p:nvPicPr>
          <p:cNvPr id="23" name="Picture 22">
            <a:extLst>
              <a:ext uri="{FF2B5EF4-FFF2-40B4-BE49-F238E27FC236}">
                <a16:creationId xmlns:a16="http://schemas.microsoft.com/office/drawing/2014/main" id="{84C713CF-BC05-F985-2DB3-B0781AAB84EF}"/>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3888175" cy="615781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w="3175">
            <a:gradFill flip="none" rotWithShape="1">
              <a:gsLst>
                <a:gs pos="28037">
                  <a:schemeClr val="tx2">
                    <a:lumMod val="50000"/>
                  </a:schemeClr>
                </a:gs>
                <a:gs pos="100000">
                  <a:schemeClr val="bg1">
                    <a:alpha val="25000"/>
                  </a:schemeClr>
                </a:gs>
              </a:gsLst>
              <a:lin ang="2700000" scaled="1"/>
              <a:tileRect/>
            </a:gradFill>
          </a:ln>
          <a:effectLst>
            <a:outerShdw blurRad="317500" dist="38100" dir="2700000" algn="tl" rotWithShape="0">
              <a:prstClr val="black">
                <a:alpha val="40000"/>
              </a:prstClr>
            </a:outerShdw>
          </a:effectLst>
        </p:spPr>
      </p:pic>
      <p:sp>
        <p:nvSpPr>
          <p:cNvPr id="14" name="Text Placeholder 33">
            <a:extLst>
              <a:ext uri="{FF2B5EF4-FFF2-40B4-BE49-F238E27FC236}">
                <a16:creationId xmlns:a16="http://schemas.microsoft.com/office/drawing/2014/main" id="{FCD54D1F-3F81-F213-059C-44EF38A6A5AD}"/>
              </a:ext>
            </a:extLst>
          </p:cNvPr>
          <p:cNvSpPr>
            <a:spLocks noGrp="1"/>
          </p:cNvSpPr>
          <p:nvPr>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4" name="Text Placeholder 35">
            <a:extLst>
              <a:ext uri="{FF2B5EF4-FFF2-40B4-BE49-F238E27FC236}">
                <a16:creationId xmlns:a16="http://schemas.microsoft.com/office/drawing/2014/main" id="{7E7093CC-A28E-61AE-DF21-5887F9CD93BA}"/>
              </a:ext>
            </a:extLst>
          </p:cNvPr>
          <p:cNvSpPr>
            <a:spLocks noGrp="1"/>
          </p:cNvSpPr>
          <p:nvPr>
            <p:ph type="body" sz="quarter" idx="17" hasCustomPrompt="1"/>
          </p:nvPr>
        </p:nvSpPr>
        <p:spPr>
          <a:xfrm>
            <a:off x="4480553" y="83148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5" name="Text Placeholder 35">
            <a:extLst>
              <a:ext uri="{FF2B5EF4-FFF2-40B4-BE49-F238E27FC236}">
                <a16:creationId xmlns:a16="http://schemas.microsoft.com/office/drawing/2014/main" id="{03F5D594-59A9-7128-2AC0-BC5441B6FDCA}"/>
              </a:ext>
            </a:extLst>
          </p:cNvPr>
          <p:cNvSpPr>
            <a:spLocks noGrp="1"/>
          </p:cNvSpPr>
          <p:nvPr>
            <p:ph type="body" sz="quarter" idx="11" hasCustomPrompt="1"/>
          </p:nvPr>
        </p:nvSpPr>
        <p:spPr>
          <a:xfrm>
            <a:off x="5436016" y="83148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56" name="Straight Connector 55">
            <a:extLst>
              <a:ext uri="{FF2B5EF4-FFF2-40B4-BE49-F238E27FC236}">
                <a16:creationId xmlns:a16="http://schemas.microsoft.com/office/drawing/2014/main" id="{224F05AE-4ECB-A201-B025-E12913E52A24}"/>
              </a:ext>
            </a:extLst>
          </p:cNvPr>
          <p:cNvCxnSpPr/>
          <p:nvPr userDrawn="1"/>
        </p:nvCxnSpPr>
        <p:spPr>
          <a:xfrm>
            <a:off x="5436017" y="153952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Text Placeholder 35">
            <a:extLst>
              <a:ext uri="{FF2B5EF4-FFF2-40B4-BE49-F238E27FC236}">
                <a16:creationId xmlns:a16="http://schemas.microsoft.com/office/drawing/2014/main" id="{C2EFC6E3-948E-47C7-FD35-012ECA924CF4}"/>
              </a:ext>
            </a:extLst>
          </p:cNvPr>
          <p:cNvSpPr>
            <a:spLocks noGrp="1"/>
          </p:cNvSpPr>
          <p:nvPr>
            <p:ph type="body" sz="quarter" idx="22" hasCustomPrompt="1"/>
          </p:nvPr>
        </p:nvSpPr>
        <p:spPr>
          <a:xfrm>
            <a:off x="4480553" y="17206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121" name="Text Placeholder 35">
            <a:extLst>
              <a:ext uri="{FF2B5EF4-FFF2-40B4-BE49-F238E27FC236}">
                <a16:creationId xmlns:a16="http://schemas.microsoft.com/office/drawing/2014/main" id="{C2EDBE18-7096-479B-D0F8-34FA32595F88}"/>
              </a:ext>
            </a:extLst>
          </p:cNvPr>
          <p:cNvSpPr>
            <a:spLocks noGrp="1"/>
          </p:cNvSpPr>
          <p:nvPr>
            <p:ph type="body" sz="quarter" idx="16" hasCustomPrompt="1"/>
          </p:nvPr>
        </p:nvSpPr>
        <p:spPr>
          <a:xfrm>
            <a:off x="5436016" y="17206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26" name="Straight Connector 125">
            <a:extLst>
              <a:ext uri="{FF2B5EF4-FFF2-40B4-BE49-F238E27FC236}">
                <a16:creationId xmlns:a16="http://schemas.microsoft.com/office/drawing/2014/main" id="{77259012-1ADE-F706-01EC-C1A0EE16301E}"/>
              </a:ext>
            </a:extLst>
          </p:cNvPr>
          <p:cNvCxnSpPr/>
          <p:nvPr userDrawn="1"/>
        </p:nvCxnSpPr>
        <p:spPr>
          <a:xfrm>
            <a:off x="5436017" y="242865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8" name="Text Placeholder 35">
            <a:extLst>
              <a:ext uri="{FF2B5EF4-FFF2-40B4-BE49-F238E27FC236}">
                <a16:creationId xmlns:a16="http://schemas.microsoft.com/office/drawing/2014/main" id="{5F298676-8469-1D6E-5A87-67816E1633BA}"/>
              </a:ext>
            </a:extLst>
          </p:cNvPr>
          <p:cNvSpPr>
            <a:spLocks noGrp="1"/>
          </p:cNvSpPr>
          <p:nvPr>
            <p:ph type="body" sz="quarter" idx="21" hasCustomPrompt="1"/>
          </p:nvPr>
        </p:nvSpPr>
        <p:spPr>
          <a:xfrm>
            <a:off x="4480553" y="260974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155" name="Text Placeholder 35">
            <a:extLst>
              <a:ext uri="{FF2B5EF4-FFF2-40B4-BE49-F238E27FC236}">
                <a16:creationId xmlns:a16="http://schemas.microsoft.com/office/drawing/2014/main" id="{E6F8FE11-9E8D-4805-1C88-A8C6A54C13A0}"/>
              </a:ext>
            </a:extLst>
          </p:cNvPr>
          <p:cNvSpPr>
            <a:spLocks noGrp="1"/>
          </p:cNvSpPr>
          <p:nvPr>
            <p:ph type="body" sz="quarter" idx="15" hasCustomPrompt="1"/>
          </p:nvPr>
        </p:nvSpPr>
        <p:spPr>
          <a:xfrm>
            <a:off x="5436016" y="260974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59" name="Straight Connector 158">
            <a:extLst>
              <a:ext uri="{FF2B5EF4-FFF2-40B4-BE49-F238E27FC236}">
                <a16:creationId xmlns:a16="http://schemas.microsoft.com/office/drawing/2014/main" id="{469E280D-0991-4834-DE3E-07993B04AB60}"/>
              </a:ext>
            </a:extLst>
          </p:cNvPr>
          <p:cNvCxnSpPr/>
          <p:nvPr userDrawn="1"/>
        </p:nvCxnSpPr>
        <p:spPr>
          <a:xfrm>
            <a:off x="5436017" y="331778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5" name="Text Placeholder 35">
            <a:extLst>
              <a:ext uri="{FF2B5EF4-FFF2-40B4-BE49-F238E27FC236}">
                <a16:creationId xmlns:a16="http://schemas.microsoft.com/office/drawing/2014/main" id="{8E0C175E-BAD3-3B62-EAF3-822025AB0028}"/>
              </a:ext>
            </a:extLst>
          </p:cNvPr>
          <p:cNvSpPr>
            <a:spLocks noGrp="1"/>
          </p:cNvSpPr>
          <p:nvPr>
            <p:ph type="body" sz="quarter" idx="20" hasCustomPrompt="1"/>
          </p:nvPr>
        </p:nvSpPr>
        <p:spPr>
          <a:xfrm>
            <a:off x="4480553" y="349887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180" name="Text Placeholder 35">
            <a:extLst>
              <a:ext uri="{FF2B5EF4-FFF2-40B4-BE49-F238E27FC236}">
                <a16:creationId xmlns:a16="http://schemas.microsoft.com/office/drawing/2014/main" id="{35EF1574-7163-CDA3-0FC4-1347399B20E9}"/>
              </a:ext>
            </a:extLst>
          </p:cNvPr>
          <p:cNvSpPr>
            <a:spLocks noGrp="1"/>
          </p:cNvSpPr>
          <p:nvPr>
            <p:ph type="body" sz="quarter" idx="14" hasCustomPrompt="1"/>
          </p:nvPr>
        </p:nvSpPr>
        <p:spPr>
          <a:xfrm>
            <a:off x="5436016" y="349887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83" name="Straight Connector 182">
            <a:extLst>
              <a:ext uri="{FF2B5EF4-FFF2-40B4-BE49-F238E27FC236}">
                <a16:creationId xmlns:a16="http://schemas.microsoft.com/office/drawing/2014/main" id="{EA470ABB-713A-CC7B-3021-C344E59AF1BF}"/>
              </a:ext>
            </a:extLst>
          </p:cNvPr>
          <p:cNvCxnSpPr/>
          <p:nvPr userDrawn="1"/>
        </p:nvCxnSpPr>
        <p:spPr>
          <a:xfrm>
            <a:off x="5436017" y="420691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3" name="Text Placeholder 35">
            <a:extLst>
              <a:ext uri="{FF2B5EF4-FFF2-40B4-BE49-F238E27FC236}">
                <a16:creationId xmlns:a16="http://schemas.microsoft.com/office/drawing/2014/main" id="{62BA1341-24BA-AD13-20B1-2D454B7D325A}"/>
              </a:ext>
            </a:extLst>
          </p:cNvPr>
          <p:cNvSpPr>
            <a:spLocks noGrp="1"/>
          </p:cNvSpPr>
          <p:nvPr>
            <p:ph type="body" sz="quarter" idx="19" hasCustomPrompt="1"/>
          </p:nvPr>
        </p:nvSpPr>
        <p:spPr>
          <a:xfrm>
            <a:off x="4480553" y="438800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196" name="Text Placeholder 35">
            <a:extLst>
              <a:ext uri="{FF2B5EF4-FFF2-40B4-BE49-F238E27FC236}">
                <a16:creationId xmlns:a16="http://schemas.microsoft.com/office/drawing/2014/main" id="{50106356-E0E1-A677-8D3A-A684E0B6E300}"/>
              </a:ext>
            </a:extLst>
          </p:cNvPr>
          <p:cNvSpPr>
            <a:spLocks noGrp="1"/>
          </p:cNvSpPr>
          <p:nvPr>
            <p:ph type="body" sz="quarter" idx="13" hasCustomPrompt="1"/>
          </p:nvPr>
        </p:nvSpPr>
        <p:spPr>
          <a:xfrm>
            <a:off x="5436016" y="438800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98" name="Straight Connector 197">
            <a:extLst>
              <a:ext uri="{FF2B5EF4-FFF2-40B4-BE49-F238E27FC236}">
                <a16:creationId xmlns:a16="http://schemas.microsoft.com/office/drawing/2014/main" id="{80E4BEDF-6C5E-0CCF-3921-96CFD7EF5B62}"/>
              </a:ext>
            </a:extLst>
          </p:cNvPr>
          <p:cNvCxnSpPr/>
          <p:nvPr userDrawn="1"/>
        </p:nvCxnSpPr>
        <p:spPr>
          <a:xfrm>
            <a:off x="5436017" y="5096041"/>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2" name="Text Placeholder 35">
            <a:extLst>
              <a:ext uri="{FF2B5EF4-FFF2-40B4-BE49-F238E27FC236}">
                <a16:creationId xmlns:a16="http://schemas.microsoft.com/office/drawing/2014/main" id="{0BAF8433-CF2F-59AB-4687-DD42731860C9}"/>
              </a:ext>
            </a:extLst>
          </p:cNvPr>
          <p:cNvSpPr>
            <a:spLocks noGrp="1"/>
          </p:cNvSpPr>
          <p:nvPr>
            <p:ph type="body" sz="quarter" idx="18" hasCustomPrompt="1"/>
          </p:nvPr>
        </p:nvSpPr>
        <p:spPr>
          <a:xfrm>
            <a:off x="4480553" y="5277137"/>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203" name="Text Placeholder 35">
            <a:extLst>
              <a:ext uri="{FF2B5EF4-FFF2-40B4-BE49-F238E27FC236}">
                <a16:creationId xmlns:a16="http://schemas.microsoft.com/office/drawing/2014/main" id="{6198D1F1-53EB-C0B6-EFD7-B89A09909809}"/>
              </a:ext>
            </a:extLst>
          </p:cNvPr>
          <p:cNvSpPr>
            <a:spLocks noGrp="1"/>
          </p:cNvSpPr>
          <p:nvPr>
            <p:ph type="body" sz="quarter" idx="12" hasCustomPrompt="1"/>
          </p:nvPr>
        </p:nvSpPr>
        <p:spPr>
          <a:xfrm>
            <a:off x="5436016" y="5277137"/>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259055192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Agenda eight topic (dark)">
    <p:bg>
      <p:bgPr>
        <a:solidFill>
          <a:srgbClr val="19346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0B8DFE-881E-388A-2E01-A518F7E75D68}"/>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22A4C08-8D9B-7EB7-4EFC-CDD476EE593F}"/>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42" name="Text Placeholder 35">
            <a:extLst>
              <a:ext uri="{FF2B5EF4-FFF2-40B4-BE49-F238E27FC236}">
                <a16:creationId xmlns:a16="http://schemas.microsoft.com/office/drawing/2014/main" id="{27E77BF6-2F02-6AB1-244C-A33EEA6866E6}"/>
              </a:ext>
            </a:extLst>
          </p:cNvPr>
          <p:cNvSpPr>
            <a:spLocks noGrp="1"/>
          </p:cNvSpPr>
          <p:nvPr>
            <p:ph type="body" sz="quarter" idx="35" hasCustomPrompt="1"/>
          </p:nvPr>
        </p:nvSpPr>
        <p:spPr>
          <a:xfrm>
            <a:off x="4480553" y="527444"/>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3" name="Text Placeholder 35">
            <a:extLst>
              <a:ext uri="{FF2B5EF4-FFF2-40B4-BE49-F238E27FC236}">
                <a16:creationId xmlns:a16="http://schemas.microsoft.com/office/drawing/2014/main" id="{558DA852-A25B-3004-E952-719FA55D94FB}"/>
              </a:ext>
            </a:extLst>
          </p:cNvPr>
          <p:cNvSpPr>
            <a:spLocks noGrp="1"/>
          </p:cNvSpPr>
          <p:nvPr>
            <p:ph type="body" sz="quarter" idx="36" hasCustomPrompt="1"/>
          </p:nvPr>
        </p:nvSpPr>
        <p:spPr>
          <a:xfrm>
            <a:off x="5436016" y="527444"/>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44" name="Text Placeholder 35">
            <a:extLst>
              <a:ext uri="{FF2B5EF4-FFF2-40B4-BE49-F238E27FC236}">
                <a16:creationId xmlns:a16="http://schemas.microsoft.com/office/drawing/2014/main" id="{5C08C2F8-5024-C4BC-16C1-47D660E2FC69}"/>
              </a:ext>
            </a:extLst>
          </p:cNvPr>
          <p:cNvSpPr>
            <a:spLocks noGrp="1"/>
          </p:cNvSpPr>
          <p:nvPr>
            <p:ph type="body" sz="quarter" idx="37" hasCustomPrompt="1"/>
          </p:nvPr>
        </p:nvSpPr>
        <p:spPr>
          <a:xfrm>
            <a:off x="4480553" y="1281381"/>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45" name="Text Placeholder 35">
            <a:extLst>
              <a:ext uri="{FF2B5EF4-FFF2-40B4-BE49-F238E27FC236}">
                <a16:creationId xmlns:a16="http://schemas.microsoft.com/office/drawing/2014/main" id="{A18A491A-45A0-7F25-09EA-A8BC6C2D2382}"/>
              </a:ext>
            </a:extLst>
          </p:cNvPr>
          <p:cNvSpPr>
            <a:spLocks noGrp="1"/>
          </p:cNvSpPr>
          <p:nvPr>
            <p:ph type="body" sz="quarter" idx="38" hasCustomPrompt="1"/>
          </p:nvPr>
        </p:nvSpPr>
        <p:spPr>
          <a:xfrm>
            <a:off x="5436016" y="1281381"/>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 name="Text Placeholder 35">
            <a:extLst>
              <a:ext uri="{FF2B5EF4-FFF2-40B4-BE49-F238E27FC236}">
                <a16:creationId xmlns:a16="http://schemas.microsoft.com/office/drawing/2014/main" id="{956A9372-5D07-5C45-7C37-29797CA487FF}"/>
              </a:ext>
            </a:extLst>
          </p:cNvPr>
          <p:cNvSpPr>
            <a:spLocks noGrp="1"/>
          </p:cNvSpPr>
          <p:nvPr userDrawn="1">
            <p:ph type="body" sz="quarter" idx="17" hasCustomPrompt="1"/>
          </p:nvPr>
        </p:nvSpPr>
        <p:spPr>
          <a:xfrm>
            <a:off x="4480553" y="20353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36" name="Text Placeholder 35">
            <a:extLst>
              <a:ext uri="{FF2B5EF4-FFF2-40B4-BE49-F238E27FC236}">
                <a16:creationId xmlns:a16="http://schemas.microsoft.com/office/drawing/2014/main" id="{25EF701A-EECF-9B1A-6540-7EFB3A28B325}"/>
              </a:ext>
            </a:extLst>
          </p:cNvPr>
          <p:cNvSpPr>
            <a:spLocks noGrp="1"/>
          </p:cNvSpPr>
          <p:nvPr userDrawn="1">
            <p:ph type="body" sz="quarter" idx="11" hasCustomPrompt="1"/>
          </p:nvPr>
        </p:nvSpPr>
        <p:spPr>
          <a:xfrm>
            <a:off x="5436016" y="20353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6" name="Text Placeholder 35">
            <a:extLst>
              <a:ext uri="{FF2B5EF4-FFF2-40B4-BE49-F238E27FC236}">
                <a16:creationId xmlns:a16="http://schemas.microsoft.com/office/drawing/2014/main" id="{8CC548CB-B856-5757-3FE8-ECA642FC3526}"/>
              </a:ext>
            </a:extLst>
          </p:cNvPr>
          <p:cNvSpPr>
            <a:spLocks noGrp="1"/>
          </p:cNvSpPr>
          <p:nvPr userDrawn="1">
            <p:ph type="body" sz="quarter" idx="22" hasCustomPrompt="1"/>
          </p:nvPr>
        </p:nvSpPr>
        <p:spPr>
          <a:xfrm>
            <a:off x="4480553" y="2789255"/>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41" name="Text Placeholder 35">
            <a:extLst>
              <a:ext uri="{FF2B5EF4-FFF2-40B4-BE49-F238E27FC236}">
                <a16:creationId xmlns:a16="http://schemas.microsoft.com/office/drawing/2014/main" id="{C1B8DE60-C280-DB99-5F3A-50EE10BF0D0F}"/>
              </a:ext>
            </a:extLst>
          </p:cNvPr>
          <p:cNvSpPr>
            <a:spLocks noGrp="1"/>
          </p:cNvSpPr>
          <p:nvPr userDrawn="1">
            <p:ph type="body" sz="quarter" idx="16" hasCustomPrompt="1"/>
          </p:nvPr>
        </p:nvSpPr>
        <p:spPr>
          <a:xfrm>
            <a:off x="5436016" y="2789255"/>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4" name="Text Placeholder 35">
            <a:extLst>
              <a:ext uri="{FF2B5EF4-FFF2-40B4-BE49-F238E27FC236}">
                <a16:creationId xmlns:a16="http://schemas.microsoft.com/office/drawing/2014/main" id="{40CE3D49-5D1D-C6CC-D4F1-E75D834D5F86}"/>
              </a:ext>
            </a:extLst>
          </p:cNvPr>
          <p:cNvSpPr>
            <a:spLocks noGrp="1"/>
          </p:cNvSpPr>
          <p:nvPr userDrawn="1">
            <p:ph type="body" sz="quarter" idx="21" hasCustomPrompt="1"/>
          </p:nvPr>
        </p:nvSpPr>
        <p:spPr>
          <a:xfrm>
            <a:off x="4480553" y="3543192"/>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40" name="Text Placeholder 35">
            <a:extLst>
              <a:ext uri="{FF2B5EF4-FFF2-40B4-BE49-F238E27FC236}">
                <a16:creationId xmlns:a16="http://schemas.microsoft.com/office/drawing/2014/main" id="{5C7AE02B-FB9D-762B-AB5F-DE191AC40875}"/>
              </a:ext>
            </a:extLst>
          </p:cNvPr>
          <p:cNvSpPr>
            <a:spLocks noGrp="1"/>
          </p:cNvSpPr>
          <p:nvPr userDrawn="1">
            <p:ph type="body" sz="quarter" idx="15" hasCustomPrompt="1"/>
          </p:nvPr>
        </p:nvSpPr>
        <p:spPr>
          <a:xfrm>
            <a:off x="5436016" y="3543192"/>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2" name="Text Placeholder 35">
            <a:extLst>
              <a:ext uri="{FF2B5EF4-FFF2-40B4-BE49-F238E27FC236}">
                <a16:creationId xmlns:a16="http://schemas.microsoft.com/office/drawing/2014/main" id="{B622147B-A43D-FAE4-FCD2-1B938D7FC3E3}"/>
              </a:ext>
            </a:extLst>
          </p:cNvPr>
          <p:cNvSpPr>
            <a:spLocks noGrp="1"/>
          </p:cNvSpPr>
          <p:nvPr userDrawn="1">
            <p:ph type="body" sz="quarter" idx="20" hasCustomPrompt="1"/>
          </p:nvPr>
        </p:nvSpPr>
        <p:spPr>
          <a:xfrm>
            <a:off x="4480553" y="429712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39" name="Text Placeholder 35">
            <a:extLst>
              <a:ext uri="{FF2B5EF4-FFF2-40B4-BE49-F238E27FC236}">
                <a16:creationId xmlns:a16="http://schemas.microsoft.com/office/drawing/2014/main" id="{7B6DF795-EF74-1C8A-39CC-8B2DD75A94C0}"/>
              </a:ext>
            </a:extLst>
          </p:cNvPr>
          <p:cNvSpPr>
            <a:spLocks noGrp="1"/>
          </p:cNvSpPr>
          <p:nvPr userDrawn="1">
            <p:ph type="body" sz="quarter" idx="14" hasCustomPrompt="1"/>
          </p:nvPr>
        </p:nvSpPr>
        <p:spPr>
          <a:xfrm>
            <a:off x="5436016" y="429712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0" name="Text Placeholder 35">
            <a:extLst>
              <a:ext uri="{FF2B5EF4-FFF2-40B4-BE49-F238E27FC236}">
                <a16:creationId xmlns:a16="http://schemas.microsoft.com/office/drawing/2014/main" id="{2B10AC93-2B34-EE9C-672C-DB79A9B274F9}"/>
              </a:ext>
            </a:extLst>
          </p:cNvPr>
          <p:cNvSpPr>
            <a:spLocks noGrp="1"/>
          </p:cNvSpPr>
          <p:nvPr userDrawn="1">
            <p:ph type="body" sz="quarter" idx="19" hasCustomPrompt="1"/>
          </p:nvPr>
        </p:nvSpPr>
        <p:spPr>
          <a:xfrm>
            <a:off x="4480553" y="5051066"/>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7</a:t>
            </a:r>
          </a:p>
        </p:txBody>
      </p:sp>
      <p:sp>
        <p:nvSpPr>
          <p:cNvPr id="38" name="Text Placeholder 35">
            <a:extLst>
              <a:ext uri="{FF2B5EF4-FFF2-40B4-BE49-F238E27FC236}">
                <a16:creationId xmlns:a16="http://schemas.microsoft.com/office/drawing/2014/main" id="{2E3339B5-7B67-FB30-EEE4-5E79A97FC1B6}"/>
              </a:ext>
            </a:extLst>
          </p:cNvPr>
          <p:cNvSpPr>
            <a:spLocks noGrp="1"/>
          </p:cNvSpPr>
          <p:nvPr userDrawn="1">
            <p:ph type="body" sz="quarter" idx="13" hasCustomPrompt="1"/>
          </p:nvPr>
        </p:nvSpPr>
        <p:spPr>
          <a:xfrm>
            <a:off x="5436016" y="5051066"/>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5" name="Text Placeholder 35">
            <a:extLst>
              <a:ext uri="{FF2B5EF4-FFF2-40B4-BE49-F238E27FC236}">
                <a16:creationId xmlns:a16="http://schemas.microsoft.com/office/drawing/2014/main" id="{A0097874-DF6B-47A3-BEB4-438610EE5773}"/>
              </a:ext>
            </a:extLst>
          </p:cNvPr>
          <p:cNvSpPr>
            <a:spLocks noGrp="1"/>
          </p:cNvSpPr>
          <p:nvPr userDrawn="1">
            <p:ph type="body" sz="quarter" idx="18" hasCustomPrompt="1"/>
          </p:nvPr>
        </p:nvSpPr>
        <p:spPr>
          <a:xfrm>
            <a:off x="4480553" y="5805000"/>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8</a:t>
            </a:r>
          </a:p>
        </p:txBody>
      </p:sp>
      <p:sp>
        <p:nvSpPr>
          <p:cNvPr id="37" name="Text Placeholder 35">
            <a:extLst>
              <a:ext uri="{FF2B5EF4-FFF2-40B4-BE49-F238E27FC236}">
                <a16:creationId xmlns:a16="http://schemas.microsoft.com/office/drawing/2014/main" id="{D7FDD5DE-6586-AF13-BA53-08047CC60BAF}"/>
              </a:ext>
            </a:extLst>
          </p:cNvPr>
          <p:cNvSpPr>
            <a:spLocks noGrp="1"/>
          </p:cNvSpPr>
          <p:nvPr userDrawn="1">
            <p:ph type="body" sz="quarter" idx="12" hasCustomPrompt="1"/>
          </p:nvPr>
        </p:nvSpPr>
        <p:spPr>
          <a:xfrm>
            <a:off x="5436016" y="5805000"/>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1276538236"/>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Extendable Agenda (Dark)">
    <p:bg>
      <p:bgPr>
        <a:solidFill>
          <a:srgbClr val="193467"/>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F42FD7-DC34-8A74-008D-B3D9CECF594B}"/>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805F267-4894-37E7-D6AD-BCCE79118B6E}"/>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5" name="Text Placeholder 4">
            <a:extLst>
              <a:ext uri="{FF2B5EF4-FFF2-40B4-BE49-F238E27FC236}">
                <a16:creationId xmlns:a16="http://schemas.microsoft.com/office/drawing/2014/main" id="{7ECFA3EA-44B7-3F76-83B2-733C41CFFF8C}"/>
              </a:ext>
            </a:extLst>
          </p:cNvPr>
          <p:cNvSpPr>
            <a:spLocks noGrp="1"/>
          </p:cNvSpPr>
          <p:nvPr>
            <p:ph type="body" sz="quarter" idx="11" hasCustomPrompt="1"/>
          </p:nvPr>
        </p:nvSpPr>
        <p:spPr>
          <a:xfrm>
            <a:off x="4412325" y="585788"/>
            <a:ext cx="7197064" cy="4070858"/>
          </a:xfrm>
        </p:spPr>
        <p:txBody>
          <a:bodyPr/>
          <a:lstStyle>
            <a:lvl1pPr marL="457200" indent="-457200">
              <a:spcBef>
                <a:spcPts val="1200"/>
              </a:spcBef>
              <a:spcAft>
                <a:spcPts val="600"/>
              </a:spcAft>
              <a:buFont typeface="+mj-lt"/>
              <a:buAutoNum type="arabicPeriod"/>
              <a:defRPr sz="2000">
                <a:solidFill>
                  <a:schemeClr val="bg1"/>
                </a:solidFill>
              </a:defRPr>
            </a:lvl1pPr>
          </a:lstStyle>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380411933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 Agenda Horizontal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A11A55-17E0-66B0-AC4F-9099140A165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8100"/>
            <a:ext cx="12192000" cy="6896100"/>
          </a:xfrm>
          <a:prstGeom prst="rect">
            <a:avLst/>
          </a:prstGeom>
        </p:spPr>
      </p:pic>
      <p:grpSp>
        <p:nvGrpSpPr>
          <p:cNvPr id="4" name="Group 3">
            <a:extLst>
              <a:ext uri="{FF2B5EF4-FFF2-40B4-BE49-F238E27FC236}">
                <a16:creationId xmlns:a16="http://schemas.microsoft.com/office/drawing/2014/main" id="{AEEE92E7-87F5-5719-2E75-01EAE1E7F923}"/>
              </a:ext>
              <a:ext uri="{C183D7F6-B498-43B3-948B-1728B52AA6E4}">
                <adec:decorative xmlns:adec="http://schemas.microsoft.com/office/drawing/2017/decorative" val="1"/>
              </a:ext>
            </a:extLst>
          </p:cNvPr>
          <p:cNvGrpSpPr/>
          <p:nvPr userDrawn="1"/>
        </p:nvGrpSpPr>
        <p:grpSpPr>
          <a:xfrm>
            <a:off x="7267562" y="0"/>
            <a:ext cx="4924438" cy="1264438"/>
            <a:chOff x="9486900" y="0"/>
            <a:chExt cx="2705100" cy="694583"/>
          </a:xfrm>
        </p:grpSpPr>
        <p:sp>
          <p:nvSpPr>
            <p:cNvPr id="5" name="Freeform: Shape 4">
              <a:extLst>
                <a:ext uri="{FF2B5EF4-FFF2-40B4-BE49-F238E27FC236}">
                  <a16:creationId xmlns:a16="http://schemas.microsoft.com/office/drawing/2014/main" id="{5AD50114-D481-126B-AF9E-8FDD595EE72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8FF3683C-882F-8E1A-8E98-48B5F2D87D8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8408B01E-CA2B-5C41-7D19-5D8A3309D7F3}"/>
              </a:ext>
              <a:ext uri="{C183D7F6-B498-43B3-948B-1728B52AA6E4}">
                <adec:decorative xmlns:adec="http://schemas.microsoft.com/office/drawing/2017/decorative" val="1"/>
              </a:ext>
            </a:extLst>
          </p:cNvPr>
          <p:cNvSpPr/>
          <p:nvPr userDrawn="1"/>
        </p:nvSpPr>
        <p:spPr>
          <a:xfrm>
            <a:off x="0" y="4679913"/>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48600">
                <a:srgbClr val="1B386F"/>
              </a:gs>
              <a:gs pos="82000">
                <a:srgbClr val="122C4F"/>
              </a:gs>
              <a:gs pos="16000">
                <a:srgbClr val="142944"/>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8" name="Rectangle 7">
            <a:extLst>
              <a:ext uri="{FF2B5EF4-FFF2-40B4-BE49-F238E27FC236}">
                <a16:creationId xmlns:a16="http://schemas.microsoft.com/office/drawing/2014/main" id="{1D099A2E-D5C8-16BC-127F-B615FB9095C4}"/>
              </a:ext>
              <a:ext uri="{C183D7F6-B498-43B3-948B-1728B52AA6E4}">
                <adec:decorative xmlns:adec="http://schemas.microsoft.com/office/drawing/2017/decorative" val="1"/>
              </a:ext>
            </a:extLst>
          </p:cNvPr>
          <p:cNvSpPr/>
          <p:nvPr userDrawn="1"/>
        </p:nvSpPr>
        <p:spPr bwMode="auto">
          <a:xfrm>
            <a:off x="3583966" y="1436688"/>
            <a:ext cx="8608034" cy="483235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10" name="Straight Connector 9">
            <a:extLst>
              <a:ext uri="{FF2B5EF4-FFF2-40B4-BE49-F238E27FC236}">
                <a16:creationId xmlns:a16="http://schemas.microsoft.com/office/drawing/2014/main" id="{CFE43A4D-366E-5BE6-3FF3-3675F375262E}"/>
              </a:ext>
            </a:extLst>
          </p:cNvPr>
          <p:cNvCxnSpPr>
            <a:cxnSpLocks/>
          </p:cNvCxnSpPr>
          <p:nvPr userDrawn="1"/>
        </p:nvCxnSpPr>
        <p:spPr>
          <a:xfrm>
            <a:off x="3583966" y="3096912"/>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BD1D35-AE00-94E8-219C-AEB4C385B7B3}"/>
              </a:ext>
            </a:extLst>
          </p:cNvPr>
          <p:cNvCxnSpPr>
            <a:cxnSpLocks/>
          </p:cNvCxnSpPr>
          <p:nvPr userDrawn="1"/>
        </p:nvCxnSpPr>
        <p:spPr>
          <a:xfrm>
            <a:off x="3583966" y="4608811"/>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FD4DBB-24D5-BA03-3945-F2C68FF301BB}"/>
              </a:ext>
              <a:ext uri="{C183D7F6-B498-43B3-948B-1728B52AA6E4}">
                <adec:decorative xmlns:adec="http://schemas.microsoft.com/office/drawing/2017/decorative" val="1"/>
              </a:ext>
            </a:extLst>
          </p:cNvPr>
          <p:cNvCxnSpPr>
            <a:cxnSpLocks/>
          </p:cNvCxnSpPr>
          <p:nvPr userDrawn="1"/>
        </p:nvCxnSpPr>
        <p:spPr>
          <a:xfrm>
            <a:off x="7842446" y="1436686"/>
            <a:ext cx="0" cy="4832351"/>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33">
            <a:extLst>
              <a:ext uri="{FF2B5EF4-FFF2-40B4-BE49-F238E27FC236}">
                <a16:creationId xmlns:a16="http://schemas.microsoft.com/office/drawing/2014/main" id="{C4F0D68B-771C-9693-267A-950C3543836C}"/>
              </a:ext>
            </a:extLst>
          </p:cNvPr>
          <p:cNvSpPr>
            <a:spLocks noGrp="1"/>
          </p:cNvSpPr>
          <p:nvPr>
            <p:ph type="body" sz="quarter" idx="10" hasCustomPrompt="1"/>
          </p:nvPr>
        </p:nvSpPr>
        <p:spPr>
          <a:xfrm>
            <a:off x="4077093" y="648885"/>
            <a:ext cx="7530700" cy="553998"/>
          </a:xfrm>
        </p:spPr>
        <p:txBody>
          <a:bodyPr vert="horz" wrap="square" lIns="0" tIns="0" rIns="0" bIns="0" rtlCol="0" anchor="t">
            <a:spAutoFit/>
          </a:bodyPr>
          <a:lstStyle>
            <a:lvl1pPr marL="0" indent="0">
              <a:buFont typeface="Arial" panose="020B0604020202020204" pitchFamily="34" charse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6" name="Picture Placeholder 35">
            <a:extLst>
              <a:ext uri="{FF2B5EF4-FFF2-40B4-BE49-F238E27FC236}">
                <a16:creationId xmlns:a16="http://schemas.microsoft.com/office/drawing/2014/main" id="{4374F96D-BBFA-A74D-6133-216EA0433A08}"/>
              </a:ext>
            </a:extLst>
          </p:cNvPr>
          <p:cNvSpPr>
            <a:spLocks noGrp="1"/>
          </p:cNvSpPr>
          <p:nvPr>
            <p:ph type="pic" sz="quarter" idx="25"/>
          </p:nvPr>
        </p:nvSpPr>
        <p:spPr>
          <a:xfrm>
            <a:off x="0" y="585788"/>
            <a:ext cx="3589093" cy="6272212"/>
          </a:xfrm>
          <a:custGeom>
            <a:avLst/>
            <a:gdLst>
              <a:gd name="connsiteX0" fmla="*/ 0 w 3589093"/>
              <a:gd name="connsiteY0" fmla="*/ 0 h 6272212"/>
              <a:gd name="connsiteX1" fmla="*/ 3232947 w 3589093"/>
              <a:gd name="connsiteY1" fmla="*/ 0 h 6272212"/>
              <a:gd name="connsiteX2" fmla="*/ 3589093 w 3589093"/>
              <a:gd name="connsiteY2" fmla="*/ 356146 h 6272212"/>
              <a:gd name="connsiteX3" fmla="*/ 3589093 w 3589093"/>
              <a:gd name="connsiteY3" fmla="*/ 6272212 h 6272212"/>
              <a:gd name="connsiteX4" fmla="*/ 0 w 3589093"/>
              <a:gd name="connsiteY4" fmla="*/ 6272212 h 627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9093" h="6272212">
                <a:moveTo>
                  <a:pt x="0" y="0"/>
                </a:moveTo>
                <a:lnTo>
                  <a:pt x="3232947" y="0"/>
                </a:lnTo>
                <a:cubicBezTo>
                  <a:pt x="3429641" y="0"/>
                  <a:pt x="3589093" y="159452"/>
                  <a:pt x="3589093" y="356146"/>
                </a:cubicBezTo>
                <a:lnTo>
                  <a:pt x="3589093" y="6272212"/>
                </a:lnTo>
                <a:lnTo>
                  <a:pt x="0" y="6272212"/>
                </a:lnTo>
                <a:close/>
              </a:path>
            </a:pathLst>
          </a:cu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wrap="square" bIns="640080" anchor="ctr">
            <a:noAutofit/>
          </a:bodyPr>
          <a:lstStyle>
            <a:lvl1pPr marL="0" indent="0" algn="ctr">
              <a:buFont typeface="Arial" panose="020B0604020202020204" pitchFamily="34" charset="0"/>
              <a:buNone/>
              <a:defRPr sz="2000"/>
            </a:lvl1pPr>
          </a:lstStyle>
          <a:p>
            <a:endParaRPr lang="en-IN"/>
          </a:p>
        </p:txBody>
      </p:sp>
      <p:sp>
        <p:nvSpPr>
          <p:cNvPr id="17" name="Freeform: Shape 16">
            <a:extLst>
              <a:ext uri="{FF2B5EF4-FFF2-40B4-BE49-F238E27FC236}">
                <a16:creationId xmlns:a16="http://schemas.microsoft.com/office/drawing/2014/main" id="{4658AC92-CD10-39CD-D8FC-E16484056E5E}"/>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0">
                <a:srgbClr val="1B386F"/>
              </a:gs>
              <a:gs pos="82000">
                <a:srgbClr val="122C4F"/>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8" name="Text Placeholder 35">
            <a:extLst>
              <a:ext uri="{FF2B5EF4-FFF2-40B4-BE49-F238E27FC236}">
                <a16:creationId xmlns:a16="http://schemas.microsoft.com/office/drawing/2014/main" id="{66C58D3A-A7FD-9C9C-1A32-5631C9D53DA8}"/>
              </a:ext>
            </a:extLst>
          </p:cNvPr>
          <p:cNvSpPr>
            <a:spLocks noGrp="1"/>
          </p:cNvSpPr>
          <p:nvPr>
            <p:ph type="body" sz="quarter" idx="17" hasCustomPrompt="1"/>
          </p:nvPr>
        </p:nvSpPr>
        <p:spPr>
          <a:xfrm>
            <a:off x="40770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1</a:t>
            </a:r>
          </a:p>
        </p:txBody>
      </p:sp>
      <p:sp>
        <p:nvSpPr>
          <p:cNvPr id="24" name="Text Placeholder 35">
            <a:extLst>
              <a:ext uri="{FF2B5EF4-FFF2-40B4-BE49-F238E27FC236}">
                <a16:creationId xmlns:a16="http://schemas.microsoft.com/office/drawing/2014/main" id="{9869C516-D465-8D5A-967B-7F77C438AA7B}"/>
              </a:ext>
            </a:extLst>
          </p:cNvPr>
          <p:cNvSpPr>
            <a:spLocks noGrp="1"/>
          </p:cNvSpPr>
          <p:nvPr>
            <p:ph type="body" sz="quarter" idx="11" hasCustomPrompt="1"/>
          </p:nvPr>
        </p:nvSpPr>
        <p:spPr>
          <a:xfrm>
            <a:off x="40770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56" name="Text Placeholder 35">
            <a:extLst>
              <a:ext uri="{FF2B5EF4-FFF2-40B4-BE49-F238E27FC236}">
                <a16:creationId xmlns:a16="http://schemas.microsoft.com/office/drawing/2014/main" id="{B9BF54FC-1D4A-5DFA-0032-92BCD81D9761}"/>
              </a:ext>
            </a:extLst>
          </p:cNvPr>
          <p:cNvSpPr>
            <a:spLocks noGrp="1"/>
          </p:cNvSpPr>
          <p:nvPr>
            <p:ph type="body" sz="quarter" idx="20" hasCustomPrompt="1"/>
          </p:nvPr>
        </p:nvSpPr>
        <p:spPr>
          <a:xfrm>
            <a:off x="81029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2</a:t>
            </a:r>
          </a:p>
        </p:txBody>
      </p:sp>
      <p:sp>
        <p:nvSpPr>
          <p:cNvPr id="61" name="Text Placeholder 35">
            <a:extLst>
              <a:ext uri="{FF2B5EF4-FFF2-40B4-BE49-F238E27FC236}">
                <a16:creationId xmlns:a16="http://schemas.microsoft.com/office/drawing/2014/main" id="{265F9026-2C7E-5C95-D1E2-DC8E0A241193}"/>
              </a:ext>
            </a:extLst>
          </p:cNvPr>
          <p:cNvSpPr>
            <a:spLocks noGrp="1"/>
          </p:cNvSpPr>
          <p:nvPr>
            <p:ph type="body" sz="quarter" idx="14" hasCustomPrompt="1"/>
          </p:nvPr>
        </p:nvSpPr>
        <p:spPr>
          <a:xfrm>
            <a:off x="81029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81" name="Text Placeholder 35">
            <a:extLst>
              <a:ext uri="{FF2B5EF4-FFF2-40B4-BE49-F238E27FC236}">
                <a16:creationId xmlns:a16="http://schemas.microsoft.com/office/drawing/2014/main" id="{E4DFB804-BFEB-9EA0-79A6-FC5A731B649B}"/>
              </a:ext>
            </a:extLst>
          </p:cNvPr>
          <p:cNvSpPr>
            <a:spLocks noGrp="1"/>
          </p:cNvSpPr>
          <p:nvPr>
            <p:ph type="body" sz="quarter" idx="18" hasCustomPrompt="1"/>
          </p:nvPr>
        </p:nvSpPr>
        <p:spPr>
          <a:xfrm>
            <a:off x="40770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3</a:t>
            </a:r>
          </a:p>
        </p:txBody>
      </p:sp>
      <p:sp>
        <p:nvSpPr>
          <p:cNvPr id="85" name="Text Placeholder 35">
            <a:extLst>
              <a:ext uri="{FF2B5EF4-FFF2-40B4-BE49-F238E27FC236}">
                <a16:creationId xmlns:a16="http://schemas.microsoft.com/office/drawing/2014/main" id="{49E47AD0-8467-6FD2-03D0-A0C3C78C6DE4}"/>
              </a:ext>
            </a:extLst>
          </p:cNvPr>
          <p:cNvSpPr>
            <a:spLocks noGrp="1"/>
          </p:cNvSpPr>
          <p:nvPr>
            <p:ph type="body" sz="quarter" idx="12" hasCustomPrompt="1"/>
          </p:nvPr>
        </p:nvSpPr>
        <p:spPr>
          <a:xfrm>
            <a:off x="40770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03" name="Text Placeholder 35">
            <a:extLst>
              <a:ext uri="{FF2B5EF4-FFF2-40B4-BE49-F238E27FC236}">
                <a16:creationId xmlns:a16="http://schemas.microsoft.com/office/drawing/2014/main" id="{7B0F3D0F-5458-51CA-1FA0-68ABB7839BA0}"/>
              </a:ext>
            </a:extLst>
          </p:cNvPr>
          <p:cNvSpPr>
            <a:spLocks noGrp="1"/>
          </p:cNvSpPr>
          <p:nvPr>
            <p:ph type="body" sz="quarter" idx="21" hasCustomPrompt="1"/>
          </p:nvPr>
        </p:nvSpPr>
        <p:spPr>
          <a:xfrm>
            <a:off x="81029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4</a:t>
            </a:r>
          </a:p>
        </p:txBody>
      </p:sp>
      <p:sp>
        <p:nvSpPr>
          <p:cNvPr id="106" name="Text Placeholder 35">
            <a:extLst>
              <a:ext uri="{FF2B5EF4-FFF2-40B4-BE49-F238E27FC236}">
                <a16:creationId xmlns:a16="http://schemas.microsoft.com/office/drawing/2014/main" id="{78168A6F-ED1A-7BC8-57CC-889D1F348069}"/>
              </a:ext>
            </a:extLst>
          </p:cNvPr>
          <p:cNvSpPr>
            <a:spLocks noGrp="1"/>
          </p:cNvSpPr>
          <p:nvPr>
            <p:ph type="body" sz="quarter" idx="15" hasCustomPrompt="1"/>
          </p:nvPr>
        </p:nvSpPr>
        <p:spPr>
          <a:xfrm>
            <a:off x="81029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2" name="Text Placeholder 35">
            <a:extLst>
              <a:ext uri="{FF2B5EF4-FFF2-40B4-BE49-F238E27FC236}">
                <a16:creationId xmlns:a16="http://schemas.microsoft.com/office/drawing/2014/main" id="{CBC0B0DC-D1E6-BD07-03E6-7C2A787913D1}"/>
              </a:ext>
            </a:extLst>
          </p:cNvPr>
          <p:cNvSpPr>
            <a:spLocks noGrp="1"/>
          </p:cNvSpPr>
          <p:nvPr>
            <p:ph type="body" sz="quarter" idx="19" hasCustomPrompt="1"/>
          </p:nvPr>
        </p:nvSpPr>
        <p:spPr>
          <a:xfrm>
            <a:off x="40770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5</a:t>
            </a:r>
          </a:p>
        </p:txBody>
      </p:sp>
      <p:sp>
        <p:nvSpPr>
          <p:cNvPr id="114" name="Text Placeholder 35">
            <a:extLst>
              <a:ext uri="{FF2B5EF4-FFF2-40B4-BE49-F238E27FC236}">
                <a16:creationId xmlns:a16="http://schemas.microsoft.com/office/drawing/2014/main" id="{9C38B597-13D5-8241-9581-008F486F804F}"/>
              </a:ext>
            </a:extLst>
          </p:cNvPr>
          <p:cNvSpPr>
            <a:spLocks noGrp="1"/>
          </p:cNvSpPr>
          <p:nvPr>
            <p:ph type="body" sz="quarter" idx="13" hasCustomPrompt="1"/>
          </p:nvPr>
        </p:nvSpPr>
        <p:spPr>
          <a:xfrm>
            <a:off x="40770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8" name="Text Placeholder 35">
            <a:extLst>
              <a:ext uri="{FF2B5EF4-FFF2-40B4-BE49-F238E27FC236}">
                <a16:creationId xmlns:a16="http://schemas.microsoft.com/office/drawing/2014/main" id="{06BE2B25-6DC7-DBA0-A1A1-4A58DF443363}"/>
              </a:ext>
            </a:extLst>
          </p:cNvPr>
          <p:cNvSpPr>
            <a:spLocks noGrp="1"/>
          </p:cNvSpPr>
          <p:nvPr>
            <p:ph type="body" sz="quarter" idx="22" hasCustomPrompt="1"/>
          </p:nvPr>
        </p:nvSpPr>
        <p:spPr>
          <a:xfrm>
            <a:off x="81029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6</a:t>
            </a:r>
          </a:p>
        </p:txBody>
      </p:sp>
      <p:sp>
        <p:nvSpPr>
          <p:cNvPr id="119" name="Text Placeholder 35">
            <a:extLst>
              <a:ext uri="{FF2B5EF4-FFF2-40B4-BE49-F238E27FC236}">
                <a16:creationId xmlns:a16="http://schemas.microsoft.com/office/drawing/2014/main" id="{9A3D07B2-9D81-A77B-2541-5D865BE965AB}"/>
              </a:ext>
            </a:extLst>
          </p:cNvPr>
          <p:cNvSpPr>
            <a:spLocks noGrp="1"/>
          </p:cNvSpPr>
          <p:nvPr>
            <p:ph type="body" sz="quarter" idx="16" hasCustomPrompt="1"/>
          </p:nvPr>
        </p:nvSpPr>
        <p:spPr>
          <a:xfrm>
            <a:off x="81029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Tree>
    <p:extLst>
      <p:ext uri="{BB962C8B-B14F-4D97-AF65-F5344CB8AC3E}">
        <p14:creationId xmlns:p14="http://schemas.microsoft.com/office/powerpoint/2010/main" val="208953102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ustom Layout (Dark)">
    <p:bg>
      <p:bgPr>
        <a:solidFill>
          <a:schemeClr val="accent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01359B-E403-0E00-AD0D-6B4E8BEB1E42}"/>
              </a:ext>
              <a:ext uri="{C183D7F6-B498-43B3-948B-1728B52AA6E4}">
                <adec:decorative xmlns:adec="http://schemas.microsoft.com/office/drawing/2017/decorative" val="1"/>
              </a:ext>
            </a:extLst>
          </p:cNvPr>
          <p:cNvSpPr>
            <a:spLocks/>
          </p:cNvSpPr>
          <p:nvPr userDrawn="1"/>
        </p:nvSpPr>
        <p:spPr bwMode="auto">
          <a:xfrm>
            <a:off x="0" y="0"/>
            <a:ext cx="12193057" cy="5206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DA8D1C8B-F9D1-306F-FFB7-FF567E1D1684}"/>
              </a:ext>
              <a:ext uri="{C183D7F6-B498-43B3-948B-1728B52AA6E4}">
                <adec:decorative xmlns:adec="http://schemas.microsoft.com/office/drawing/2017/decorative" val="1"/>
              </a:ext>
            </a:extLst>
          </p:cNvPr>
          <p:cNvGrpSpPr/>
          <p:nvPr userDrawn="1"/>
        </p:nvGrpSpPr>
        <p:grpSpPr>
          <a:xfrm>
            <a:off x="0" y="5206998"/>
            <a:ext cx="12193057" cy="1651001"/>
            <a:chOff x="0" y="5206998"/>
            <a:chExt cx="12193057" cy="1651001"/>
          </a:xfrm>
        </p:grpSpPr>
        <p:sp>
          <p:nvSpPr>
            <p:cNvPr id="5" name="Rectangle 4">
              <a:extLst>
                <a:ext uri="{FF2B5EF4-FFF2-40B4-BE49-F238E27FC236}">
                  <a16:creationId xmlns:a16="http://schemas.microsoft.com/office/drawing/2014/main" id="{0984C745-5F92-4EA2-4135-B0F15BCC833E}"/>
                </a:ext>
              </a:extLst>
            </p:cNvPr>
            <p:cNvSpPr>
              <a:spLocks/>
            </p:cNvSpPr>
            <p:nvPr userDrawn="1"/>
          </p:nvSpPr>
          <p:spPr bwMode="auto">
            <a:xfrm>
              <a:off x="0" y="5206998"/>
              <a:ext cx="12193057" cy="1651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09573FE9-4926-EB61-7182-AE960842A946}"/>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5206998"/>
              <a:ext cx="12193057" cy="1651001"/>
            </a:xfrm>
            <a:prstGeom prst="rect">
              <a:avLst/>
            </a:prstGeom>
          </p:spPr>
        </p:pic>
      </p:grpSp>
      <p:pic>
        <p:nvPicPr>
          <p:cNvPr id="3" name="Picture 2">
            <a:extLst>
              <a:ext uri="{FF2B5EF4-FFF2-40B4-BE49-F238E27FC236}">
                <a16:creationId xmlns:a16="http://schemas.microsoft.com/office/drawing/2014/main" id="{FB186371-BAE1-6D51-69D4-21749D738F3C}"/>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a:xfrm>
            <a:off x="0" y="0"/>
            <a:ext cx="12193057" cy="5206999"/>
          </a:xfrm>
          <a:prstGeom prst="rect">
            <a:avLst/>
          </a:prstGeom>
        </p:spPr>
      </p:pic>
      <p:sp>
        <p:nvSpPr>
          <p:cNvPr id="6" name="Rectangle: Rounded Corners 5">
            <a:extLst>
              <a:ext uri="{FF2B5EF4-FFF2-40B4-BE49-F238E27FC236}">
                <a16:creationId xmlns:a16="http://schemas.microsoft.com/office/drawing/2014/main" id="{82E7CB1C-B4FB-E4E8-378D-89A822B9992A}"/>
              </a:ext>
              <a:ext uri="{C183D7F6-B498-43B3-948B-1728B52AA6E4}">
                <adec:decorative xmlns:adec="http://schemas.microsoft.com/office/drawing/2017/decorative" val="1"/>
              </a:ext>
            </a:extLst>
          </p:cNvPr>
          <p:cNvSpPr/>
          <p:nvPr userDrawn="1"/>
        </p:nvSpPr>
        <p:spPr bwMode="auto">
          <a:xfrm>
            <a:off x="428172" y="1651000"/>
            <a:ext cx="11335657" cy="3675743"/>
          </a:xfrm>
          <a:prstGeom prst="roundRect">
            <a:avLst>
              <a:gd name="adj" fmla="val 580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cxnSp>
        <p:nvCxnSpPr>
          <p:cNvPr id="16" name="Straight Connector 15">
            <a:extLst>
              <a:ext uri="{FF2B5EF4-FFF2-40B4-BE49-F238E27FC236}">
                <a16:creationId xmlns:a16="http://schemas.microsoft.com/office/drawing/2014/main" id="{6B758B3C-1829-BE77-9545-B88BC2FFAB93}"/>
              </a:ext>
              <a:ext uri="{C183D7F6-B498-43B3-948B-1728B52AA6E4}">
                <adec:decorative xmlns:adec="http://schemas.microsoft.com/office/drawing/2017/decorative" val="1"/>
              </a:ext>
            </a:extLst>
          </p:cNvPr>
          <p:cNvCxnSpPr>
            <a:cxnSpLocks/>
          </p:cNvCxnSpPr>
          <p:nvPr userDrawn="1"/>
        </p:nvCxnSpPr>
        <p:spPr>
          <a:xfrm>
            <a:off x="4349093"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5C3D50D-B71F-4921-0DE3-AE51025E2B13}"/>
              </a:ext>
              <a:ext uri="{C183D7F6-B498-43B3-948B-1728B52AA6E4}">
                <adec:decorative xmlns:adec="http://schemas.microsoft.com/office/drawing/2017/decorative" val="1"/>
              </a:ext>
            </a:extLst>
          </p:cNvPr>
          <p:cNvCxnSpPr>
            <a:cxnSpLocks/>
          </p:cNvCxnSpPr>
          <p:nvPr userDrawn="1"/>
        </p:nvCxnSpPr>
        <p:spPr>
          <a:xfrm>
            <a:off x="8118804"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7BA22FD-1A48-E027-B0B1-4B64501E8084}"/>
              </a:ext>
              <a:ext uri="{C183D7F6-B498-43B3-948B-1728B52AA6E4}">
                <adec:decorative xmlns:adec="http://schemas.microsoft.com/office/drawing/2017/decorative" val="1"/>
              </a:ext>
            </a:extLst>
          </p:cNvPr>
          <p:cNvCxnSpPr>
            <a:cxnSpLocks/>
          </p:cNvCxnSpPr>
          <p:nvPr userDrawn="1"/>
        </p:nvCxnSpPr>
        <p:spPr>
          <a:xfrm>
            <a:off x="8608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82A4300-F4F0-DFCE-B1E6-1D2AD3B36CAF}"/>
              </a:ext>
              <a:ext uri="{C183D7F6-B498-43B3-948B-1728B52AA6E4}">
                <adec:decorative xmlns:adec="http://schemas.microsoft.com/office/drawing/2017/decorative" val="1"/>
              </a:ext>
            </a:extLst>
          </p:cNvPr>
          <p:cNvCxnSpPr>
            <a:cxnSpLocks/>
          </p:cNvCxnSpPr>
          <p:nvPr userDrawn="1"/>
        </p:nvCxnSpPr>
        <p:spPr>
          <a:xfrm>
            <a:off x="45692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D003B42-9A0A-1450-892F-DF949CF79D89}"/>
              </a:ext>
              <a:ext uri="{C183D7F6-B498-43B3-948B-1728B52AA6E4}">
                <adec:decorative xmlns:adec="http://schemas.microsoft.com/office/drawing/2017/decorative" val="1"/>
              </a:ext>
            </a:extLst>
          </p:cNvPr>
          <p:cNvCxnSpPr>
            <a:cxnSpLocks/>
          </p:cNvCxnSpPr>
          <p:nvPr userDrawn="1"/>
        </p:nvCxnSpPr>
        <p:spPr>
          <a:xfrm>
            <a:off x="8400284"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14D1A6-65FD-4FC0-50F3-CC806A0008EC}"/>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6" name="Text Placeholder 35">
            <a:extLst>
              <a:ext uri="{FF2B5EF4-FFF2-40B4-BE49-F238E27FC236}">
                <a16:creationId xmlns:a16="http://schemas.microsoft.com/office/drawing/2014/main" id="{A56BEE2C-AF3F-131B-1DF8-079AACAA8A02}"/>
              </a:ext>
            </a:extLst>
          </p:cNvPr>
          <p:cNvSpPr>
            <a:spLocks noGrp="1"/>
          </p:cNvSpPr>
          <p:nvPr userDrawn="1">
            <p:ph type="body" sz="quarter" idx="11" hasCustomPrompt="1"/>
          </p:nvPr>
        </p:nvSpPr>
        <p:spPr>
          <a:xfrm>
            <a:off x="86086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37" name="Text Placeholder 35">
            <a:extLst>
              <a:ext uri="{FF2B5EF4-FFF2-40B4-BE49-F238E27FC236}">
                <a16:creationId xmlns:a16="http://schemas.microsoft.com/office/drawing/2014/main" id="{1964EA81-1C7A-2ED9-DB53-C865D86AC1BC}"/>
              </a:ext>
            </a:extLst>
          </p:cNvPr>
          <p:cNvSpPr>
            <a:spLocks noGrp="1"/>
          </p:cNvSpPr>
          <p:nvPr userDrawn="1">
            <p:ph type="body" sz="quarter" idx="12" hasCustomPrompt="1"/>
          </p:nvPr>
        </p:nvSpPr>
        <p:spPr>
          <a:xfrm>
            <a:off x="86086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5E38D344-A9EC-9BCB-768E-A0A73E9EBBBB}"/>
              </a:ext>
            </a:extLst>
          </p:cNvPr>
          <p:cNvSpPr>
            <a:spLocks noGrp="1"/>
          </p:cNvSpPr>
          <p:nvPr userDrawn="1">
            <p:ph type="body" sz="quarter" idx="13" hasCustomPrompt="1"/>
          </p:nvPr>
        </p:nvSpPr>
        <p:spPr>
          <a:xfrm>
            <a:off x="86086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3A46EB84-3018-3846-CDDB-80AA2E4F85FD}"/>
              </a:ext>
            </a:extLst>
          </p:cNvPr>
          <p:cNvSpPr>
            <a:spLocks noGrp="1"/>
          </p:cNvSpPr>
          <p:nvPr userDrawn="1">
            <p:ph type="body" sz="quarter" idx="14" hasCustomPrompt="1"/>
          </p:nvPr>
        </p:nvSpPr>
        <p:spPr>
          <a:xfrm>
            <a:off x="4630575"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0" name="Text Placeholder 35">
            <a:extLst>
              <a:ext uri="{FF2B5EF4-FFF2-40B4-BE49-F238E27FC236}">
                <a16:creationId xmlns:a16="http://schemas.microsoft.com/office/drawing/2014/main" id="{29F0A165-9B48-DA60-8072-FC27B3108E02}"/>
              </a:ext>
            </a:extLst>
          </p:cNvPr>
          <p:cNvSpPr>
            <a:spLocks noGrp="1"/>
          </p:cNvSpPr>
          <p:nvPr userDrawn="1">
            <p:ph type="body" sz="quarter" idx="15" hasCustomPrompt="1"/>
          </p:nvPr>
        </p:nvSpPr>
        <p:spPr>
          <a:xfrm>
            <a:off x="462717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0AD6BF66-E9DF-9CA2-8448-6A5D5B3E2136}"/>
              </a:ext>
            </a:extLst>
          </p:cNvPr>
          <p:cNvSpPr>
            <a:spLocks noGrp="1"/>
          </p:cNvSpPr>
          <p:nvPr userDrawn="1">
            <p:ph type="body" sz="quarter" idx="16" hasCustomPrompt="1"/>
          </p:nvPr>
        </p:nvSpPr>
        <p:spPr>
          <a:xfrm>
            <a:off x="462717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EBE6F56B-5482-0EF8-5CAD-EC491617C336}"/>
              </a:ext>
            </a:extLst>
          </p:cNvPr>
          <p:cNvSpPr>
            <a:spLocks noGrp="1"/>
          </p:cNvSpPr>
          <p:nvPr userDrawn="1">
            <p:ph type="body" sz="quarter" idx="17" hasCustomPrompt="1"/>
          </p:nvPr>
        </p:nvSpPr>
        <p:spPr>
          <a:xfrm>
            <a:off x="840028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3" name="Text Placeholder 35">
            <a:extLst>
              <a:ext uri="{FF2B5EF4-FFF2-40B4-BE49-F238E27FC236}">
                <a16:creationId xmlns:a16="http://schemas.microsoft.com/office/drawing/2014/main" id="{6892F850-996D-DE0C-236D-F98626083368}"/>
              </a:ext>
            </a:extLst>
          </p:cNvPr>
          <p:cNvSpPr>
            <a:spLocks noGrp="1"/>
          </p:cNvSpPr>
          <p:nvPr userDrawn="1">
            <p:ph type="body" sz="quarter" idx="18" hasCustomPrompt="1"/>
          </p:nvPr>
        </p:nvSpPr>
        <p:spPr>
          <a:xfrm>
            <a:off x="840028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362F6C8C-3156-2EB4-7BB7-116F26EA5523}"/>
              </a:ext>
            </a:extLst>
          </p:cNvPr>
          <p:cNvSpPr>
            <a:spLocks noGrp="1"/>
          </p:cNvSpPr>
          <p:nvPr userDrawn="1">
            <p:ph type="body" sz="quarter" idx="19" hasCustomPrompt="1"/>
          </p:nvPr>
        </p:nvSpPr>
        <p:spPr>
          <a:xfrm>
            <a:off x="840028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639582472"/>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9EEEA00-6DD8-3183-198E-E88E291C98DC}"/>
              </a:ext>
            </a:extLst>
          </p:cNvPr>
          <p:cNvGrpSpPr>
            <a:grpSpLocks/>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410CB63-C818-178E-8BE9-4183692F78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5126FCF-4068-A91F-598F-05CADEB3517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pic>
        <p:nvPicPr>
          <p:cNvPr id="6" name="Picture 5">
            <a:extLst>
              <a:ext uri="{FF2B5EF4-FFF2-40B4-BE49-F238E27FC236}">
                <a16:creationId xmlns:a16="http://schemas.microsoft.com/office/drawing/2014/main" id="{26CDB4C5-AFDE-6E57-64B4-7CB5198ED2E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3057" cy="2260599"/>
          </a:xfrm>
          <a:prstGeom prst="rect">
            <a:avLst/>
          </a:prstGeom>
        </p:spPr>
      </p:pic>
      <p:sp>
        <p:nvSpPr>
          <p:cNvPr id="45" name="Title 1">
            <a:extLst>
              <a:ext uri="{FF2B5EF4-FFF2-40B4-BE49-F238E27FC236}">
                <a16:creationId xmlns:a16="http://schemas.microsoft.com/office/drawing/2014/main" id="{A8F68F57-CC85-E97D-51BA-FA3977F1177C}"/>
              </a:ext>
            </a:extLst>
          </p:cNvPr>
          <p:cNvSpPr>
            <a:spLocks noGrp="1"/>
          </p:cNvSpPr>
          <p:nvPr>
            <p:ph type="title"/>
          </p:nvPr>
        </p:nvSpPr>
        <p:spPr>
          <a:xfrm>
            <a:off x="588263" y="689088"/>
            <a:ext cx="11018520" cy="553998"/>
          </a:xfrm>
        </p:spPr>
        <p:txBody>
          <a:bodyPr vert="horz" wrap="square" lIns="0" tIns="0" rIns="0" bIns="0" rtlCol="0" anchor="t">
            <a:spAutoFit/>
          </a:bodyPr>
          <a:lstStyle>
            <a:lvl1pPr marL="0" indent="0" algn="ctr">
              <a:buFont typeface="Arial" panose="020B0604020202020204" pitchFamily="34" charset="0"/>
              <a:buNone/>
              <a:defRPr lang="en-IN" dirty="0">
                <a:solidFill>
                  <a:schemeClr val="bg1"/>
                </a:solidFill>
              </a:defRPr>
            </a:lvl1pPr>
          </a:lstStyle>
          <a:p>
            <a:pPr marL="0" lvl="0"/>
            <a:r>
              <a:rPr lang="en-US"/>
              <a:t>Click to edit Master title style</a:t>
            </a:r>
            <a:endParaRPr lang="en-IN"/>
          </a:p>
        </p:txBody>
      </p:sp>
      <p:sp>
        <p:nvSpPr>
          <p:cNvPr id="46" name="Text Placeholder 35">
            <a:extLst>
              <a:ext uri="{FF2B5EF4-FFF2-40B4-BE49-F238E27FC236}">
                <a16:creationId xmlns:a16="http://schemas.microsoft.com/office/drawing/2014/main" id="{3EA6BE74-7C2D-8650-BB5D-BC4485EBBD82}"/>
              </a:ext>
            </a:extLst>
          </p:cNvPr>
          <p:cNvSpPr>
            <a:spLocks noGrp="1"/>
          </p:cNvSpPr>
          <p:nvPr>
            <p:ph type="body" sz="quarter" idx="20" hasCustomPrompt="1"/>
          </p:nvPr>
        </p:nvSpPr>
        <p:spPr>
          <a:xfrm>
            <a:off x="1979038" y="272534"/>
            <a:ext cx="8233924" cy="307777"/>
          </a:xfrm>
          <a:noFill/>
        </p:spPr>
        <p:txBody>
          <a:bodyPr wrap="square">
            <a:spAutoFit/>
          </a:bodyPr>
          <a:lstStyle>
            <a:lvl1pPr marL="0" indent="0" algn="ctr">
              <a:buFont typeface="Arial" panose="020B0604020202020204" pitchFamily="34" charset="0"/>
              <a:buNone/>
              <a:defRPr lang="en-US" sz="2000" dirty="0" smtClean="0">
                <a:solidFill>
                  <a:schemeClr val="bg1"/>
                </a:solidFill>
                <a:latin typeface="+mj-lt"/>
                <a:cs typeface="+mn-cs"/>
              </a:defRPr>
            </a:lvl1pPr>
          </a:lstStyle>
          <a:p>
            <a:pPr marL="0" lvl="0" algn="ctr" defTabSz="914400"/>
            <a:r>
              <a:rPr lang="en-US"/>
              <a:t>Trend Slide 1</a:t>
            </a:r>
          </a:p>
        </p:txBody>
      </p:sp>
      <p:sp>
        <p:nvSpPr>
          <p:cNvPr id="47" name="Text Placeholder 35">
            <a:extLst>
              <a:ext uri="{FF2B5EF4-FFF2-40B4-BE49-F238E27FC236}">
                <a16:creationId xmlns:a16="http://schemas.microsoft.com/office/drawing/2014/main" id="{E81F63D5-E1F2-C2B7-EFD0-97ED19DE6872}"/>
              </a:ext>
            </a:extLst>
          </p:cNvPr>
          <p:cNvSpPr>
            <a:spLocks noGrp="1"/>
          </p:cNvSpPr>
          <p:nvPr>
            <p:ph type="body" sz="quarter" idx="21" hasCustomPrompt="1"/>
          </p:nvPr>
        </p:nvSpPr>
        <p:spPr>
          <a:xfrm>
            <a:off x="585217" y="1383945"/>
            <a:ext cx="11021566" cy="369332"/>
          </a:xfrm>
          <a:noFill/>
        </p:spPr>
        <p:txBody>
          <a:bodyPr wrap="square" lIns="0" tIns="0" rIns="0" bIns="0" anchor="ctr">
            <a:spAutoFit/>
          </a:bodyPr>
          <a:lstStyle>
            <a:lvl1pPr marL="0" indent="0" algn="ctr">
              <a:buFont typeface="Arial" panose="020B0604020202020204" pitchFamily="34" charset="0"/>
              <a:buNone/>
              <a:defRPr lang="en-US" sz="2400" spc="-50" dirty="0" smtClean="0">
                <a:ln w="3175">
                  <a:noFill/>
                </a:ln>
                <a:solidFill>
                  <a:schemeClr val="accent1">
                    <a:lumMod val="60000"/>
                    <a:lumOff val="40000"/>
                  </a:schemeClr>
                </a:solidFill>
                <a:latin typeface="+mj-lt"/>
              </a:defRPr>
            </a:lvl1pPr>
          </a:lstStyle>
          <a:p>
            <a:pPr marL="0" lvl="0" algn="ctr">
              <a:spcBef>
                <a:spcPct val="0"/>
              </a:spcBef>
            </a:pPr>
            <a:r>
              <a:rPr lang="en-US"/>
              <a:t>Click to add Sub-Title</a:t>
            </a:r>
          </a:p>
        </p:txBody>
      </p:sp>
      <p:sp>
        <p:nvSpPr>
          <p:cNvPr id="52" name="Rectangle: Top Corners Rounded 51">
            <a:extLst>
              <a:ext uri="{FF2B5EF4-FFF2-40B4-BE49-F238E27FC236}">
                <a16:creationId xmlns:a16="http://schemas.microsoft.com/office/drawing/2014/main" id="{015E33D0-9CB3-71E7-07EF-35399DDE2664}"/>
              </a:ext>
            </a:extLst>
          </p:cNvPr>
          <p:cNvSpPr/>
          <p:nvPr userDrawn="1"/>
        </p:nvSpPr>
        <p:spPr bwMode="auto">
          <a:xfrm>
            <a:off x="588263"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2" name="Rectangle: Top Corners Rounded 61">
            <a:extLst>
              <a:ext uri="{FF2B5EF4-FFF2-40B4-BE49-F238E27FC236}">
                <a16:creationId xmlns:a16="http://schemas.microsoft.com/office/drawing/2014/main" id="{F516416A-46E9-6D18-2A99-BE4C32522C7D}"/>
              </a:ext>
            </a:extLst>
          </p:cNvPr>
          <p:cNvSpPr/>
          <p:nvPr userDrawn="1"/>
        </p:nvSpPr>
        <p:spPr bwMode="auto">
          <a:xfrm>
            <a:off x="3372859"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53" name="Rectangle: Top Corners Rounded 52">
            <a:extLst>
              <a:ext uri="{FF2B5EF4-FFF2-40B4-BE49-F238E27FC236}">
                <a16:creationId xmlns:a16="http://schemas.microsoft.com/office/drawing/2014/main" id="{A525E633-6C6B-F685-6744-2288E29E8511}"/>
              </a:ext>
            </a:extLst>
          </p:cNvPr>
          <p:cNvSpPr/>
          <p:nvPr userDrawn="1"/>
        </p:nvSpPr>
        <p:spPr bwMode="auto">
          <a:xfrm>
            <a:off x="6157455"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7" name="Rectangle: Top Corners Rounded 66">
            <a:extLst>
              <a:ext uri="{FF2B5EF4-FFF2-40B4-BE49-F238E27FC236}">
                <a16:creationId xmlns:a16="http://schemas.microsoft.com/office/drawing/2014/main" id="{DD822E76-C484-70A5-0933-BA8E570BDBB6}"/>
              </a:ext>
            </a:extLst>
          </p:cNvPr>
          <p:cNvSpPr/>
          <p:nvPr userDrawn="1"/>
        </p:nvSpPr>
        <p:spPr bwMode="auto">
          <a:xfrm>
            <a:off x="8942051"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27" name="Straight Connector 26">
            <a:extLst>
              <a:ext uri="{FF2B5EF4-FFF2-40B4-BE49-F238E27FC236}">
                <a16:creationId xmlns:a16="http://schemas.microsoft.com/office/drawing/2014/main" id="{C70B1A86-E066-D2E5-1484-3B8BFC53338B}"/>
              </a:ext>
            </a:extLst>
          </p:cNvPr>
          <p:cNvCxnSpPr>
            <a:cxnSpLocks/>
          </p:cNvCxnSpPr>
          <p:nvPr userDrawn="1"/>
        </p:nvCxnSpPr>
        <p:spPr>
          <a:xfrm rot="5400000">
            <a:off x="2461412"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E96A8E6-B398-63FC-4E54-256E905746DE}"/>
              </a:ext>
            </a:extLst>
          </p:cNvPr>
          <p:cNvCxnSpPr>
            <a:cxnSpLocks/>
          </p:cNvCxnSpPr>
          <p:nvPr userDrawn="1"/>
        </p:nvCxnSpPr>
        <p:spPr>
          <a:xfrm rot="5400000">
            <a:off x="5246008"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27571C2-8AD8-5B49-8187-ACDD79DE6F2C}"/>
              </a:ext>
            </a:extLst>
          </p:cNvPr>
          <p:cNvCxnSpPr>
            <a:cxnSpLocks/>
          </p:cNvCxnSpPr>
          <p:nvPr userDrawn="1"/>
        </p:nvCxnSpPr>
        <p:spPr>
          <a:xfrm rot="5400000">
            <a:off x="8030604"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Picture Placeholder 58">
            <a:extLst>
              <a:ext uri="{FF2B5EF4-FFF2-40B4-BE49-F238E27FC236}">
                <a16:creationId xmlns:a16="http://schemas.microsoft.com/office/drawing/2014/main" id="{D64E7B78-B3CC-E403-6412-D842CAE98E11}"/>
              </a:ext>
            </a:extLst>
          </p:cNvPr>
          <p:cNvSpPr>
            <a:spLocks noGrp="1"/>
          </p:cNvSpPr>
          <p:nvPr>
            <p:ph type="pic" sz="quarter" idx="22"/>
          </p:nvPr>
        </p:nvSpPr>
        <p:spPr>
          <a:xfrm>
            <a:off x="58488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10" name="Text Placeholder 35">
            <a:extLst>
              <a:ext uri="{FF2B5EF4-FFF2-40B4-BE49-F238E27FC236}">
                <a16:creationId xmlns:a16="http://schemas.microsoft.com/office/drawing/2014/main" id="{C3A0A114-2D28-96E7-B5D9-8616F6A84B01}"/>
              </a:ext>
            </a:extLst>
          </p:cNvPr>
          <p:cNvSpPr>
            <a:spLocks noGrp="1"/>
          </p:cNvSpPr>
          <p:nvPr>
            <p:ph type="body" sz="quarter" idx="13" hasCustomPrompt="1"/>
          </p:nvPr>
        </p:nvSpPr>
        <p:spPr>
          <a:xfrm>
            <a:off x="73660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5A6A92F1-597A-C3B8-BEDB-4F9BE3267DC1}"/>
              </a:ext>
            </a:extLst>
          </p:cNvPr>
          <p:cNvSpPr>
            <a:spLocks noGrp="1"/>
          </p:cNvSpPr>
          <p:nvPr>
            <p:ph type="body" sz="quarter" idx="12" hasCustomPrompt="1"/>
          </p:nvPr>
        </p:nvSpPr>
        <p:spPr>
          <a:xfrm>
            <a:off x="73660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9" name="Picture Placeholder 58">
            <a:extLst>
              <a:ext uri="{FF2B5EF4-FFF2-40B4-BE49-F238E27FC236}">
                <a16:creationId xmlns:a16="http://schemas.microsoft.com/office/drawing/2014/main" id="{CBC51414-C0E7-F0EC-58D1-4162E4999469}"/>
              </a:ext>
            </a:extLst>
          </p:cNvPr>
          <p:cNvSpPr>
            <a:spLocks noGrp="1"/>
          </p:cNvSpPr>
          <p:nvPr>
            <p:ph type="pic" sz="quarter" idx="23"/>
          </p:nvPr>
        </p:nvSpPr>
        <p:spPr>
          <a:xfrm>
            <a:off x="3372860"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9" name="Text Placeholder 35">
            <a:extLst>
              <a:ext uri="{FF2B5EF4-FFF2-40B4-BE49-F238E27FC236}">
                <a16:creationId xmlns:a16="http://schemas.microsoft.com/office/drawing/2014/main" id="{E320E03D-6EA3-69BC-1093-C06CF5328A2E}"/>
              </a:ext>
            </a:extLst>
          </p:cNvPr>
          <p:cNvSpPr>
            <a:spLocks noGrp="1"/>
          </p:cNvSpPr>
          <p:nvPr>
            <p:ph type="body" sz="quarter" idx="15" hasCustomPrompt="1"/>
          </p:nvPr>
        </p:nvSpPr>
        <p:spPr>
          <a:xfrm>
            <a:off x="352119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869D9A75-5C50-59D7-AD16-91379D6E8321}"/>
              </a:ext>
            </a:extLst>
          </p:cNvPr>
          <p:cNvSpPr>
            <a:spLocks noGrp="1"/>
          </p:cNvSpPr>
          <p:nvPr>
            <p:ph type="body" sz="quarter" idx="14" hasCustomPrompt="1"/>
          </p:nvPr>
        </p:nvSpPr>
        <p:spPr>
          <a:xfrm>
            <a:off x="352119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0" name="Picture Placeholder 58">
            <a:extLst>
              <a:ext uri="{FF2B5EF4-FFF2-40B4-BE49-F238E27FC236}">
                <a16:creationId xmlns:a16="http://schemas.microsoft.com/office/drawing/2014/main" id="{8DF92374-5BD4-3F76-B7F0-F2E8936D4C27}"/>
              </a:ext>
            </a:extLst>
          </p:cNvPr>
          <p:cNvSpPr>
            <a:spLocks noGrp="1"/>
          </p:cNvSpPr>
          <p:nvPr>
            <p:ph type="pic" sz="quarter" idx="24"/>
          </p:nvPr>
        </p:nvSpPr>
        <p:spPr>
          <a:xfrm>
            <a:off x="6157456"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81" name="Text Placeholder 35">
            <a:extLst>
              <a:ext uri="{FF2B5EF4-FFF2-40B4-BE49-F238E27FC236}">
                <a16:creationId xmlns:a16="http://schemas.microsoft.com/office/drawing/2014/main" id="{3FEF280E-2EA3-C2B2-3451-4F54C000567B}"/>
              </a:ext>
            </a:extLst>
          </p:cNvPr>
          <p:cNvSpPr>
            <a:spLocks noGrp="1"/>
          </p:cNvSpPr>
          <p:nvPr>
            <p:ph type="body" sz="quarter" idx="17" hasCustomPrompt="1"/>
          </p:nvPr>
        </p:nvSpPr>
        <p:spPr>
          <a:xfrm>
            <a:off x="630579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0DCBBEBE-FDFE-9251-43CA-DDFF404186BE}"/>
              </a:ext>
            </a:extLst>
          </p:cNvPr>
          <p:cNvSpPr>
            <a:spLocks noGrp="1"/>
          </p:cNvSpPr>
          <p:nvPr>
            <p:ph type="body" sz="quarter" idx="16" hasCustomPrompt="1"/>
          </p:nvPr>
        </p:nvSpPr>
        <p:spPr>
          <a:xfrm>
            <a:off x="630579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Picture Placeholder 58">
            <a:extLst>
              <a:ext uri="{FF2B5EF4-FFF2-40B4-BE49-F238E27FC236}">
                <a16:creationId xmlns:a16="http://schemas.microsoft.com/office/drawing/2014/main" id="{3710FC84-64E2-2472-B19C-432550BBF82E}"/>
              </a:ext>
            </a:extLst>
          </p:cNvPr>
          <p:cNvSpPr>
            <a:spLocks noGrp="1"/>
          </p:cNvSpPr>
          <p:nvPr>
            <p:ph type="pic" sz="quarter" idx="25"/>
          </p:nvPr>
        </p:nvSpPr>
        <p:spPr>
          <a:xfrm>
            <a:off x="894205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92" name="Text Placeholder 35">
            <a:extLst>
              <a:ext uri="{FF2B5EF4-FFF2-40B4-BE49-F238E27FC236}">
                <a16:creationId xmlns:a16="http://schemas.microsoft.com/office/drawing/2014/main" id="{892EBCBB-B547-BE6C-98F0-452AB31DB7E9}"/>
              </a:ext>
            </a:extLst>
          </p:cNvPr>
          <p:cNvSpPr>
            <a:spLocks noGrp="1"/>
          </p:cNvSpPr>
          <p:nvPr>
            <p:ph type="body" sz="quarter" idx="19" hasCustomPrompt="1"/>
          </p:nvPr>
        </p:nvSpPr>
        <p:spPr>
          <a:xfrm>
            <a:off x="909038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3" name="Text Placeholder 35">
            <a:extLst>
              <a:ext uri="{FF2B5EF4-FFF2-40B4-BE49-F238E27FC236}">
                <a16:creationId xmlns:a16="http://schemas.microsoft.com/office/drawing/2014/main" id="{21446E10-2A13-C2BF-12D0-F0DD73232ECA}"/>
              </a:ext>
            </a:extLst>
          </p:cNvPr>
          <p:cNvSpPr>
            <a:spLocks noGrp="1"/>
          </p:cNvSpPr>
          <p:nvPr>
            <p:ph type="body" sz="quarter" idx="18" hasCustomPrompt="1"/>
          </p:nvPr>
        </p:nvSpPr>
        <p:spPr>
          <a:xfrm>
            <a:off x="909038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34699647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3_Custom Layout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CB9202-F0B3-B910-BE65-EF290B4B3E0F}"/>
              </a:ext>
              <a:ext uri="{C183D7F6-B498-43B3-948B-1728B52AA6E4}">
                <adec:decorative xmlns:adec="http://schemas.microsoft.com/office/drawing/2017/decorative" val="1"/>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1" y="0"/>
            <a:ext cx="12191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pic>
        <p:nvPicPr>
          <p:cNvPr id="4" name="Picture 3">
            <a:extLst>
              <a:ext uri="{FF2B5EF4-FFF2-40B4-BE49-F238E27FC236}">
                <a16:creationId xmlns:a16="http://schemas.microsoft.com/office/drawing/2014/main" id="{216A86DE-F827-56A7-BFF5-4263CEF73A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extLst>
              <a:ext uri="{28A0092B-C50C-407E-A947-70E740481C1C}">
                <a14:useLocalDpi xmlns:a14="http://schemas.microsoft.com/office/drawing/2010/main"/>
              </a:ext>
            </a:extLst>
          </a:blip>
          <a:srcRect/>
          <a:stretch/>
        </p:blipFill>
        <p:spPr>
          <a:xfrm>
            <a:off x="0" y="4597400"/>
            <a:ext cx="12193057" cy="2260599"/>
          </a:xfrm>
          <a:prstGeom prst="rect">
            <a:avLst/>
          </a:prstGeom>
        </p:spPr>
      </p:pic>
      <p:sp>
        <p:nvSpPr>
          <p:cNvPr id="14" name="Rectangle: Rounded Corners 13">
            <a:extLst>
              <a:ext uri="{FF2B5EF4-FFF2-40B4-BE49-F238E27FC236}">
                <a16:creationId xmlns:a16="http://schemas.microsoft.com/office/drawing/2014/main" id="{A2CF7B3C-1375-70E7-BF9C-325FE359C0AD}"/>
              </a:ext>
              <a:ext uri="{C183D7F6-B498-43B3-948B-1728B52AA6E4}">
                <adec:decorative xmlns:adec="http://schemas.microsoft.com/office/drawing/2017/decorative" val="1"/>
              </a:ext>
            </a:extLst>
          </p:cNvPr>
          <p:cNvSpPr/>
          <p:nvPr userDrawn="1"/>
        </p:nvSpPr>
        <p:spPr bwMode="auto">
          <a:xfrm>
            <a:off x="584709"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46" name="Straight Connector 45">
            <a:extLst>
              <a:ext uri="{FF2B5EF4-FFF2-40B4-BE49-F238E27FC236}">
                <a16:creationId xmlns:a16="http://schemas.microsoft.com/office/drawing/2014/main" id="{66AFFF1C-9F30-7A3B-D119-CF1212976EAB}"/>
              </a:ext>
              <a:ext uri="{C183D7F6-B498-43B3-948B-1728B52AA6E4}">
                <adec:decorative xmlns:adec="http://schemas.microsoft.com/office/drawing/2017/decorative" val="1"/>
              </a:ext>
            </a:extLst>
          </p:cNvPr>
          <p:cNvCxnSpPr>
            <a:cxnSpLocks/>
          </p:cNvCxnSpPr>
          <p:nvPr userDrawn="1"/>
        </p:nvCxnSpPr>
        <p:spPr>
          <a:xfrm>
            <a:off x="1435609"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2E4F7FC6-5051-7F30-EF33-05737A0846D1}"/>
              </a:ext>
              <a:ext uri="{C183D7F6-B498-43B3-948B-1728B52AA6E4}">
                <adec:decorative xmlns:adec="http://schemas.microsoft.com/office/drawing/2017/decorative" val="1"/>
              </a:ext>
            </a:extLst>
          </p:cNvPr>
          <p:cNvSpPr/>
          <p:nvPr userDrawn="1"/>
        </p:nvSpPr>
        <p:spPr bwMode="auto">
          <a:xfrm>
            <a:off x="4307517"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26" name="Straight Connector 125">
            <a:extLst>
              <a:ext uri="{FF2B5EF4-FFF2-40B4-BE49-F238E27FC236}">
                <a16:creationId xmlns:a16="http://schemas.microsoft.com/office/drawing/2014/main" id="{6219896E-5025-4584-DB70-0F4A799A689D}"/>
              </a:ext>
              <a:ext uri="{C183D7F6-B498-43B3-948B-1728B52AA6E4}">
                <adec:decorative xmlns:adec="http://schemas.microsoft.com/office/drawing/2017/decorative" val="1"/>
              </a:ext>
            </a:extLst>
          </p:cNvPr>
          <p:cNvCxnSpPr>
            <a:cxnSpLocks/>
          </p:cNvCxnSpPr>
          <p:nvPr userDrawn="1"/>
        </p:nvCxnSpPr>
        <p:spPr>
          <a:xfrm>
            <a:off x="5158417"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3" name="Rectangle: Rounded Corners 162">
            <a:extLst>
              <a:ext uri="{FF2B5EF4-FFF2-40B4-BE49-F238E27FC236}">
                <a16:creationId xmlns:a16="http://schemas.microsoft.com/office/drawing/2014/main" id="{FF75BE38-16A7-B720-EDAE-ED6D2B9C0182}"/>
              </a:ext>
              <a:ext uri="{C183D7F6-B498-43B3-948B-1728B52AA6E4}">
                <adec:decorative xmlns:adec="http://schemas.microsoft.com/office/drawing/2017/decorative" val="1"/>
              </a:ext>
            </a:extLst>
          </p:cNvPr>
          <p:cNvSpPr/>
          <p:nvPr userDrawn="1"/>
        </p:nvSpPr>
        <p:spPr bwMode="auto">
          <a:xfrm>
            <a:off x="8030324"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81" name="Straight Connector 180">
            <a:extLst>
              <a:ext uri="{FF2B5EF4-FFF2-40B4-BE49-F238E27FC236}">
                <a16:creationId xmlns:a16="http://schemas.microsoft.com/office/drawing/2014/main" id="{47465EED-9251-B079-7458-4FA3AC32CA89}"/>
              </a:ext>
              <a:ext uri="{C183D7F6-B498-43B3-948B-1728B52AA6E4}">
                <adec:decorative xmlns:adec="http://schemas.microsoft.com/office/drawing/2017/decorative" val="1"/>
              </a:ext>
            </a:extLst>
          </p:cNvPr>
          <p:cNvCxnSpPr>
            <a:cxnSpLocks/>
          </p:cNvCxnSpPr>
          <p:nvPr userDrawn="1"/>
        </p:nvCxnSpPr>
        <p:spPr>
          <a:xfrm>
            <a:off x="8881224"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9" name="Rectangle: Rounded Corners 208">
            <a:extLst>
              <a:ext uri="{FF2B5EF4-FFF2-40B4-BE49-F238E27FC236}">
                <a16:creationId xmlns:a16="http://schemas.microsoft.com/office/drawing/2014/main" id="{47386A6B-4554-5ECB-9823-E43FB1FD098C}"/>
              </a:ext>
              <a:ext uri="{C183D7F6-B498-43B3-948B-1728B52AA6E4}">
                <adec:decorative xmlns:adec="http://schemas.microsoft.com/office/drawing/2017/decorative" val="1"/>
              </a:ext>
            </a:extLst>
          </p:cNvPr>
          <p:cNvSpPr/>
          <p:nvPr userDrawn="1"/>
        </p:nvSpPr>
        <p:spPr bwMode="auto">
          <a:xfrm>
            <a:off x="588263" y="2413000"/>
            <a:ext cx="11018520" cy="3856037"/>
          </a:xfrm>
          <a:prstGeom prst="roundRect">
            <a:avLst>
              <a:gd name="adj" fmla="val 4481"/>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2000" err="1">
              <a:solidFill>
                <a:schemeClr val="bg1"/>
              </a:solidFill>
              <a:latin typeface="+mj-lt"/>
              <a:ea typeface="Segoe UI Black" panose="020B0A02040204020203" pitchFamily="34" charset="0"/>
            </a:endParaRPr>
          </a:p>
        </p:txBody>
      </p:sp>
      <p:cxnSp>
        <p:nvCxnSpPr>
          <p:cNvPr id="251" name="Straight Connector 250">
            <a:extLst>
              <a:ext uri="{FF2B5EF4-FFF2-40B4-BE49-F238E27FC236}">
                <a16:creationId xmlns:a16="http://schemas.microsoft.com/office/drawing/2014/main" id="{2CE32FE0-881B-8615-974B-FE7D5EE36163}"/>
              </a:ext>
              <a:ext uri="{C183D7F6-B498-43B3-948B-1728B52AA6E4}">
                <adec:decorative xmlns:adec="http://schemas.microsoft.com/office/drawing/2017/decorative" val="1"/>
              </a:ext>
            </a:extLst>
          </p:cNvPr>
          <p:cNvCxnSpPr>
            <a:cxnSpLocks/>
          </p:cNvCxnSpPr>
          <p:nvPr userDrawn="1"/>
        </p:nvCxnSpPr>
        <p:spPr>
          <a:xfrm rot="5400000">
            <a:off x="2456187"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86A64F0F-9D6E-0EB5-9229-DF0BC5194B43}"/>
              </a:ext>
              <a:ext uri="{C183D7F6-B498-43B3-948B-1728B52AA6E4}">
                <adec:decorative xmlns:adec="http://schemas.microsoft.com/office/drawing/2017/decorative" val="1"/>
              </a:ext>
            </a:extLst>
          </p:cNvPr>
          <p:cNvCxnSpPr>
            <a:cxnSpLocks/>
          </p:cNvCxnSpPr>
          <p:nvPr userDrawn="1"/>
        </p:nvCxnSpPr>
        <p:spPr>
          <a:xfrm rot="5400000">
            <a:off x="4636509"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657F0C70-7064-2CBC-FFDB-3237134641F7}"/>
              </a:ext>
              <a:ext uri="{C183D7F6-B498-43B3-948B-1728B52AA6E4}">
                <adec:decorative xmlns:adec="http://schemas.microsoft.com/office/drawing/2017/decorative" val="1"/>
              </a:ext>
            </a:extLst>
          </p:cNvPr>
          <p:cNvCxnSpPr>
            <a:cxnSpLocks/>
          </p:cNvCxnSpPr>
          <p:nvPr userDrawn="1"/>
        </p:nvCxnSpPr>
        <p:spPr>
          <a:xfrm rot="5400000">
            <a:off x="6816831"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21D14C52-94EB-3292-9F9D-D4E416AB14D6}"/>
              </a:ext>
              <a:ext uri="{C183D7F6-B498-43B3-948B-1728B52AA6E4}">
                <adec:decorative xmlns:adec="http://schemas.microsoft.com/office/drawing/2017/decorative" val="1"/>
              </a:ext>
            </a:extLst>
          </p:cNvPr>
          <p:cNvCxnSpPr>
            <a:cxnSpLocks/>
          </p:cNvCxnSpPr>
          <p:nvPr userDrawn="1"/>
        </p:nvCxnSpPr>
        <p:spPr>
          <a:xfrm rot="5400000">
            <a:off x="8997153"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9F0009AA-7F31-4ABA-D204-9F32713D725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85" name="Text Placeholder 35">
            <a:extLst>
              <a:ext uri="{FF2B5EF4-FFF2-40B4-BE49-F238E27FC236}">
                <a16:creationId xmlns:a16="http://schemas.microsoft.com/office/drawing/2014/main" id="{DF54318F-C42F-2F9F-A596-D9921476FFD1}"/>
              </a:ext>
            </a:extLst>
          </p:cNvPr>
          <p:cNvSpPr>
            <a:spLocks noGrp="1"/>
          </p:cNvSpPr>
          <p:nvPr>
            <p:ph type="body" sz="quarter" idx="12" hasCustomPrompt="1"/>
          </p:nvPr>
        </p:nvSpPr>
        <p:spPr>
          <a:xfrm>
            <a:off x="164148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6" name="Text Placeholder 35">
            <a:extLst>
              <a:ext uri="{FF2B5EF4-FFF2-40B4-BE49-F238E27FC236}">
                <a16:creationId xmlns:a16="http://schemas.microsoft.com/office/drawing/2014/main" id="{B0F68AA7-8719-1B00-8760-730F23D1DEF7}"/>
              </a:ext>
            </a:extLst>
          </p:cNvPr>
          <p:cNvSpPr>
            <a:spLocks noGrp="1"/>
          </p:cNvSpPr>
          <p:nvPr>
            <p:ph type="body" sz="quarter" idx="13" hasCustomPrompt="1"/>
          </p:nvPr>
        </p:nvSpPr>
        <p:spPr>
          <a:xfrm>
            <a:off x="538671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8" name="Text Placeholder 35">
            <a:extLst>
              <a:ext uri="{FF2B5EF4-FFF2-40B4-BE49-F238E27FC236}">
                <a16:creationId xmlns:a16="http://schemas.microsoft.com/office/drawing/2014/main" id="{B0FF26FE-696A-7AA9-0301-9DADD71AF3DD}"/>
              </a:ext>
            </a:extLst>
          </p:cNvPr>
          <p:cNvSpPr>
            <a:spLocks noGrp="1"/>
          </p:cNvSpPr>
          <p:nvPr>
            <p:ph type="body" sz="quarter" idx="14" hasCustomPrompt="1"/>
          </p:nvPr>
        </p:nvSpPr>
        <p:spPr>
          <a:xfrm>
            <a:off x="9118761"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8" name="Text Placeholder 35">
            <a:extLst>
              <a:ext uri="{FF2B5EF4-FFF2-40B4-BE49-F238E27FC236}">
                <a16:creationId xmlns:a16="http://schemas.microsoft.com/office/drawing/2014/main" id="{099CB3E9-BEFB-7D78-7B2F-340511FD299A}"/>
              </a:ext>
            </a:extLst>
          </p:cNvPr>
          <p:cNvSpPr>
            <a:spLocks noGrp="1"/>
          </p:cNvSpPr>
          <p:nvPr>
            <p:ph type="body" sz="quarter" idx="15" hasCustomPrompt="1"/>
          </p:nvPr>
        </p:nvSpPr>
        <p:spPr>
          <a:xfrm>
            <a:off x="771076"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6" name="Picture Placeholder 58">
            <a:extLst>
              <a:ext uri="{FF2B5EF4-FFF2-40B4-BE49-F238E27FC236}">
                <a16:creationId xmlns:a16="http://schemas.microsoft.com/office/drawing/2014/main" id="{ABB7846B-BC41-EA48-F7E6-CE3A9D572C61}"/>
              </a:ext>
            </a:extLst>
          </p:cNvPr>
          <p:cNvSpPr>
            <a:spLocks noGrp="1"/>
          </p:cNvSpPr>
          <p:nvPr>
            <p:ph type="pic" sz="quarter" idx="22"/>
          </p:nvPr>
        </p:nvSpPr>
        <p:spPr>
          <a:xfrm>
            <a:off x="69668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266" name="Text Placeholder 35">
            <a:extLst>
              <a:ext uri="{FF2B5EF4-FFF2-40B4-BE49-F238E27FC236}">
                <a16:creationId xmlns:a16="http://schemas.microsoft.com/office/drawing/2014/main" id="{EF6FA129-22E6-BB31-A892-87EBE2280452}"/>
              </a:ext>
            </a:extLst>
          </p:cNvPr>
          <p:cNvSpPr>
            <a:spLocks noGrp="1"/>
          </p:cNvSpPr>
          <p:nvPr>
            <p:ph type="body" sz="quarter" idx="16" hasCustomPrompt="1"/>
          </p:nvPr>
        </p:nvSpPr>
        <p:spPr>
          <a:xfrm>
            <a:off x="2933368"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0" name="Picture Placeholder 58">
            <a:extLst>
              <a:ext uri="{FF2B5EF4-FFF2-40B4-BE49-F238E27FC236}">
                <a16:creationId xmlns:a16="http://schemas.microsoft.com/office/drawing/2014/main" id="{0FD6E56B-658F-CA96-95AA-C52FFA4E2FB6}"/>
              </a:ext>
            </a:extLst>
          </p:cNvPr>
          <p:cNvSpPr>
            <a:spLocks noGrp="1"/>
          </p:cNvSpPr>
          <p:nvPr>
            <p:ph type="pic" sz="quarter" idx="23"/>
          </p:nvPr>
        </p:nvSpPr>
        <p:spPr>
          <a:xfrm>
            <a:off x="287700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5" name="Text Placeholder 35">
            <a:extLst>
              <a:ext uri="{FF2B5EF4-FFF2-40B4-BE49-F238E27FC236}">
                <a16:creationId xmlns:a16="http://schemas.microsoft.com/office/drawing/2014/main" id="{A3292A91-B9D9-A3A7-56A7-6927AAFB80B7}"/>
              </a:ext>
            </a:extLst>
          </p:cNvPr>
          <p:cNvSpPr>
            <a:spLocks noGrp="1"/>
          </p:cNvSpPr>
          <p:nvPr>
            <p:ph type="body" sz="quarter" idx="17" hasCustomPrompt="1"/>
          </p:nvPr>
        </p:nvSpPr>
        <p:spPr>
          <a:xfrm>
            <a:off x="5113689"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3" name="Picture Placeholder 58">
            <a:extLst>
              <a:ext uri="{FF2B5EF4-FFF2-40B4-BE49-F238E27FC236}">
                <a16:creationId xmlns:a16="http://schemas.microsoft.com/office/drawing/2014/main" id="{86C60096-3B2C-8721-9EAC-5D5A572B7C1C}"/>
              </a:ext>
            </a:extLst>
          </p:cNvPr>
          <p:cNvSpPr>
            <a:spLocks noGrp="1"/>
          </p:cNvSpPr>
          <p:nvPr>
            <p:ph type="pic" sz="quarter" idx="24"/>
          </p:nvPr>
        </p:nvSpPr>
        <p:spPr>
          <a:xfrm>
            <a:off x="505732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23" name="Text Placeholder 35">
            <a:extLst>
              <a:ext uri="{FF2B5EF4-FFF2-40B4-BE49-F238E27FC236}">
                <a16:creationId xmlns:a16="http://schemas.microsoft.com/office/drawing/2014/main" id="{38B2AFE8-9EA6-95DE-A86F-3187A37B11CB}"/>
              </a:ext>
            </a:extLst>
          </p:cNvPr>
          <p:cNvSpPr>
            <a:spLocks noGrp="1"/>
          </p:cNvSpPr>
          <p:nvPr>
            <p:ph type="body" sz="quarter" idx="18" hasCustomPrompt="1"/>
          </p:nvPr>
        </p:nvSpPr>
        <p:spPr>
          <a:xfrm>
            <a:off x="7294010"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9" name="Picture Placeholder 58">
            <a:extLst>
              <a:ext uri="{FF2B5EF4-FFF2-40B4-BE49-F238E27FC236}">
                <a16:creationId xmlns:a16="http://schemas.microsoft.com/office/drawing/2014/main" id="{7053850D-B66A-7703-3DD6-95A9D6ACA7BE}"/>
              </a:ext>
            </a:extLst>
          </p:cNvPr>
          <p:cNvSpPr>
            <a:spLocks noGrp="1"/>
          </p:cNvSpPr>
          <p:nvPr>
            <p:ph type="pic" sz="quarter" idx="25"/>
          </p:nvPr>
        </p:nvSpPr>
        <p:spPr>
          <a:xfrm>
            <a:off x="723764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34" name="Text Placeholder 35">
            <a:extLst>
              <a:ext uri="{FF2B5EF4-FFF2-40B4-BE49-F238E27FC236}">
                <a16:creationId xmlns:a16="http://schemas.microsoft.com/office/drawing/2014/main" id="{5DCD03F2-95A1-329F-CB5D-2B5D8380F9DB}"/>
              </a:ext>
            </a:extLst>
          </p:cNvPr>
          <p:cNvSpPr>
            <a:spLocks noGrp="1"/>
          </p:cNvSpPr>
          <p:nvPr>
            <p:ph type="body" sz="quarter" idx="19" hasCustomPrompt="1"/>
          </p:nvPr>
        </p:nvSpPr>
        <p:spPr>
          <a:xfrm>
            <a:off x="9474331"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6" name="Picture Placeholder 58">
            <a:extLst>
              <a:ext uri="{FF2B5EF4-FFF2-40B4-BE49-F238E27FC236}">
                <a16:creationId xmlns:a16="http://schemas.microsoft.com/office/drawing/2014/main" id="{029623A3-3E91-CB8A-2DB4-411434FC7F0F}"/>
              </a:ext>
            </a:extLst>
          </p:cNvPr>
          <p:cNvSpPr>
            <a:spLocks noGrp="1"/>
          </p:cNvSpPr>
          <p:nvPr>
            <p:ph type="pic" sz="quarter" idx="26"/>
          </p:nvPr>
        </p:nvSpPr>
        <p:spPr>
          <a:xfrm>
            <a:off x="941796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496957617"/>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hree bullet with side image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0943B4-4880-E10F-62F9-1A1A72AE4FAB}"/>
              </a:ext>
              <a:ext uri="{C183D7F6-B498-43B3-948B-1728B52AA6E4}">
                <adec:decorative xmlns:adec="http://schemas.microsoft.com/office/drawing/2017/decorative" val="1"/>
              </a:ext>
            </a:extLst>
          </p:cNvPr>
          <p:cNvSpPr>
            <a:spLocks/>
          </p:cNvSpPr>
          <p:nvPr userDrawn="1"/>
        </p:nvSpPr>
        <p:spPr bwMode="auto">
          <a:xfrm>
            <a:off x="1" y="0"/>
            <a:ext cx="9524999" cy="6857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F46AD0D-16AF-1F19-FA71-8FF439678DE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8935724E-DE71-60A9-1D72-A7CCB756B175}"/>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l="-1"/>
          <a:stretch/>
        </p:blipFill>
        <p:spPr>
          <a:xfrm>
            <a:off x="1" y="0"/>
            <a:ext cx="9524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5" name="Rectangle: Rounded Corners 4">
            <a:extLst>
              <a:ext uri="{FF2B5EF4-FFF2-40B4-BE49-F238E27FC236}">
                <a16:creationId xmlns:a16="http://schemas.microsoft.com/office/drawing/2014/main" id="{2ABE4288-98BB-666E-1D51-F41686B6BBE9}"/>
              </a:ext>
              <a:ext uri="{C183D7F6-B498-43B3-948B-1728B52AA6E4}">
                <adec:decorative xmlns:adec="http://schemas.microsoft.com/office/drawing/2017/decorative" val="1"/>
              </a:ext>
            </a:extLst>
          </p:cNvPr>
          <p:cNvSpPr>
            <a:spLocks/>
          </p:cNvSpPr>
          <p:nvPr userDrawn="1"/>
        </p:nvSpPr>
        <p:spPr bwMode="auto">
          <a:xfrm>
            <a:off x="317500" y="1468398"/>
            <a:ext cx="5778500" cy="4809290"/>
          </a:xfrm>
          <a:prstGeom prst="roundRect">
            <a:avLst>
              <a:gd name="adj" fmla="val 4857"/>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8" name="Freeform: Shape 7">
            <a:extLst>
              <a:ext uri="{FF2B5EF4-FFF2-40B4-BE49-F238E27FC236}">
                <a16:creationId xmlns:a16="http://schemas.microsoft.com/office/drawing/2014/main" id="{111393A8-5705-A59F-F3BF-F1226C7CC210}"/>
              </a:ext>
              <a:ext uri="{C183D7F6-B498-43B3-948B-1728B52AA6E4}">
                <adec:decorative xmlns:adec="http://schemas.microsoft.com/office/drawing/2017/decorative" val="1"/>
              </a:ext>
            </a:extLst>
          </p:cNvPr>
          <p:cNvSpPr/>
          <p:nvPr userDrawn="1"/>
        </p:nvSpPr>
        <p:spPr>
          <a:xfrm>
            <a:off x="0" y="5999523"/>
            <a:ext cx="9525000" cy="858477"/>
          </a:xfrm>
          <a:custGeom>
            <a:avLst/>
            <a:gdLst>
              <a:gd name="connsiteX0" fmla="*/ 7676696 w 9525000"/>
              <a:gd name="connsiteY0" fmla="*/ 530993 h 858477"/>
              <a:gd name="connsiteX1" fmla="*/ 8188475 w 9525000"/>
              <a:gd name="connsiteY1" fmla="*/ 547368 h 858477"/>
              <a:gd name="connsiteX2" fmla="*/ 9324798 w 9525000"/>
              <a:gd name="connsiteY2" fmla="*/ 750487 h 858477"/>
              <a:gd name="connsiteX3" fmla="*/ 9525000 w 9525000"/>
              <a:gd name="connsiteY3" fmla="*/ 808516 h 858477"/>
              <a:gd name="connsiteX4" fmla="*/ 9525000 w 9525000"/>
              <a:gd name="connsiteY4" fmla="*/ 858477 h 858477"/>
              <a:gd name="connsiteX5" fmla="*/ 4572598 w 9525000"/>
              <a:gd name="connsiteY5" fmla="*/ 858477 h 858477"/>
              <a:gd name="connsiteX6" fmla="*/ 4606017 w 9525000"/>
              <a:gd name="connsiteY6" fmla="*/ 856651 h 858477"/>
              <a:gd name="connsiteX7" fmla="*/ 7676696 w 9525000"/>
              <a:gd name="connsiteY7" fmla="*/ 530993 h 858477"/>
              <a:gd name="connsiteX8" fmla="*/ 0 w 9525000"/>
              <a:gd name="connsiteY8" fmla="*/ 0 h 858477"/>
              <a:gd name="connsiteX9" fmla="*/ 682372 w 9525000"/>
              <a:gd name="connsiteY9" fmla="*/ 218742 h 858477"/>
              <a:gd name="connsiteX10" fmla="*/ 3583790 w 9525000"/>
              <a:gd name="connsiteY10" fmla="*/ 856009 h 858477"/>
              <a:gd name="connsiteX11" fmla="*/ 3627014 w 9525000"/>
              <a:gd name="connsiteY11" fmla="*/ 858477 h 858477"/>
              <a:gd name="connsiteX12" fmla="*/ 0 w 9525000"/>
              <a:gd name="connsiteY12"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00" h="858477">
                <a:moveTo>
                  <a:pt x="7676696" y="530993"/>
                </a:moveTo>
                <a:cubicBezTo>
                  <a:pt x="7847289" y="529316"/>
                  <a:pt x="8017882" y="534146"/>
                  <a:pt x="8188475" y="547368"/>
                </a:cubicBezTo>
                <a:cubicBezTo>
                  <a:pt x="8572310" y="578273"/>
                  <a:pt x="8956144" y="652475"/>
                  <a:pt x="9324798" y="750487"/>
                </a:cubicBezTo>
                <a:lnTo>
                  <a:pt x="9525000" y="808516"/>
                </a:lnTo>
                <a:lnTo>
                  <a:pt x="9525000"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
        <p:nvSpPr>
          <p:cNvPr id="13" name="Rectangle 12">
            <a:extLst>
              <a:ext uri="{FF2B5EF4-FFF2-40B4-BE49-F238E27FC236}">
                <a16:creationId xmlns:a16="http://schemas.microsoft.com/office/drawing/2014/main" id="{D62DDA98-5FF3-DBEA-7A67-465EFDE8955A}"/>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0F70E65B-F7BD-7633-A9C4-A5602CB69B3F}"/>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6" name="Text Placeholder 35">
            <a:extLst>
              <a:ext uri="{FF2B5EF4-FFF2-40B4-BE49-F238E27FC236}">
                <a16:creationId xmlns:a16="http://schemas.microsoft.com/office/drawing/2014/main" id="{137F2901-2041-9485-514F-D231514C6C00}"/>
              </a:ext>
            </a:extLst>
          </p:cNvPr>
          <p:cNvSpPr>
            <a:spLocks noGrp="1"/>
          </p:cNvSpPr>
          <p:nvPr>
            <p:ph type="body" sz="quarter" idx="15" hasCustomPrompt="1"/>
          </p:nvPr>
        </p:nvSpPr>
        <p:spPr>
          <a:xfrm>
            <a:off x="588263" y="1627779"/>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7F57E1B0-98DF-6225-9936-2D7F216E345F}"/>
              </a:ext>
            </a:extLst>
          </p:cNvPr>
          <p:cNvSpPr>
            <a:spLocks noGrp="1"/>
          </p:cNvSpPr>
          <p:nvPr>
            <p:ph type="body" sz="quarter" idx="12" hasCustomPrompt="1"/>
          </p:nvPr>
        </p:nvSpPr>
        <p:spPr>
          <a:xfrm>
            <a:off x="588263" y="2019300"/>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66DEE5AB-9412-F26B-6CE8-151A63C66FFE}"/>
              </a:ext>
            </a:extLst>
          </p:cNvPr>
          <p:cNvSpPr>
            <a:spLocks noGrp="1"/>
          </p:cNvSpPr>
          <p:nvPr>
            <p:ph type="body" sz="quarter" idx="16" hasCustomPrompt="1"/>
          </p:nvPr>
        </p:nvSpPr>
        <p:spPr>
          <a:xfrm>
            <a:off x="588263" y="311280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5A40C563-852C-37F3-E367-EDE58C7FCD59}"/>
              </a:ext>
            </a:extLst>
          </p:cNvPr>
          <p:cNvSpPr>
            <a:spLocks noGrp="1"/>
          </p:cNvSpPr>
          <p:nvPr>
            <p:ph type="body" sz="quarter" idx="17" hasCustomPrompt="1"/>
          </p:nvPr>
        </p:nvSpPr>
        <p:spPr>
          <a:xfrm>
            <a:off x="588263" y="350432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15B05EA5-3AD2-E196-3400-76EA2AF587E1}"/>
              </a:ext>
            </a:extLst>
          </p:cNvPr>
          <p:cNvSpPr>
            <a:spLocks noGrp="1"/>
          </p:cNvSpPr>
          <p:nvPr>
            <p:ph type="body" sz="quarter" idx="18" hasCustomPrompt="1"/>
          </p:nvPr>
        </p:nvSpPr>
        <p:spPr>
          <a:xfrm>
            <a:off x="588263" y="468779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Text Placeholder 35">
            <a:extLst>
              <a:ext uri="{FF2B5EF4-FFF2-40B4-BE49-F238E27FC236}">
                <a16:creationId xmlns:a16="http://schemas.microsoft.com/office/drawing/2014/main" id="{27591425-E795-E159-9160-D589C4352E2E}"/>
              </a:ext>
            </a:extLst>
          </p:cNvPr>
          <p:cNvSpPr>
            <a:spLocks noGrp="1"/>
          </p:cNvSpPr>
          <p:nvPr>
            <p:ph type="body" sz="quarter" idx="19" hasCustomPrompt="1"/>
          </p:nvPr>
        </p:nvSpPr>
        <p:spPr>
          <a:xfrm>
            <a:off x="588263" y="507931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C9FC747D-A6BA-9F50-4542-EBA890BE4B55}"/>
              </a:ext>
            </a:extLst>
          </p:cNvPr>
          <p:cNvSpPr>
            <a:spLocks noGrp="1"/>
          </p:cNvSpPr>
          <p:nvPr>
            <p:ph type="pic" sz="quarter" idx="22"/>
          </p:nvPr>
        </p:nvSpPr>
        <p:spPr>
          <a:xfrm>
            <a:off x="6657973" y="1468397"/>
            <a:ext cx="5240337" cy="4809290"/>
          </a:xfrm>
          <a:prstGeom prst="roundRect">
            <a:avLst>
              <a:gd name="adj" fmla="val 4500"/>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562007058"/>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ntent with side image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211CB7-DBF6-C36A-6D1A-4E19A7516B46}"/>
              </a:ext>
              <a:ext uri="{C183D7F6-B498-43B3-948B-1728B52AA6E4}">
                <adec:decorative xmlns:adec="http://schemas.microsoft.com/office/drawing/2017/decorative" val="1"/>
              </a:ext>
            </a:extLst>
          </p:cNvPr>
          <p:cNvSpPr>
            <a:spLocks/>
          </p:cNvSpPr>
          <p:nvPr userDrawn="1"/>
        </p:nvSpPr>
        <p:spPr bwMode="auto">
          <a:xfrm>
            <a:off x="1" y="0"/>
            <a:ext cx="9524999" cy="6857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 name="Picture 4">
            <a:extLst>
              <a:ext uri="{FF2B5EF4-FFF2-40B4-BE49-F238E27FC236}">
                <a16:creationId xmlns:a16="http://schemas.microsoft.com/office/drawing/2014/main" id="{10458351-7755-D79F-7FB4-8943C1CC4E6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5147BB5B-EE3F-6D49-51E7-88BA2F8843D8}"/>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l="-1"/>
          <a:stretch/>
        </p:blipFill>
        <p:spPr>
          <a:xfrm>
            <a:off x="1" y="0"/>
            <a:ext cx="9524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3" name="Rectangle 12">
            <a:extLst>
              <a:ext uri="{FF2B5EF4-FFF2-40B4-BE49-F238E27FC236}">
                <a16:creationId xmlns:a16="http://schemas.microsoft.com/office/drawing/2014/main" id="{686E8C9A-7CBD-7463-32E0-C4FACE3E8090}"/>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ACB8128C-4C58-63C6-D872-2F46CF45BFC7}"/>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7" name="Freeform: Shape 6">
            <a:extLst>
              <a:ext uri="{FF2B5EF4-FFF2-40B4-BE49-F238E27FC236}">
                <a16:creationId xmlns:a16="http://schemas.microsoft.com/office/drawing/2014/main" id="{9FC4AE73-034C-C179-37D6-7B5E5BCB9880}"/>
              </a:ext>
              <a:ext uri="{C183D7F6-B498-43B3-948B-1728B52AA6E4}">
                <adec:decorative xmlns:adec="http://schemas.microsoft.com/office/drawing/2017/decorative" val="1"/>
              </a:ext>
            </a:extLst>
          </p:cNvPr>
          <p:cNvSpPr/>
          <p:nvPr userDrawn="1"/>
        </p:nvSpPr>
        <p:spPr>
          <a:xfrm>
            <a:off x="0" y="5999523"/>
            <a:ext cx="9450161" cy="858477"/>
          </a:xfrm>
          <a:custGeom>
            <a:avLst/>
            <a:gdLst>
              <a:gd name="connsiteX0" fmla="*/ 7676696 w 9525000"/>
              <a:gd name="connsiteY0" fmla="*/ 530993 h 858477"/>
              <a:gd name="connsiteX1" fmla="*/ 8188475 w 9525000"/>
              <a:gd name="connsiteY1" fmla="*/ 547368 h 858477"/>
              <a:gd name="connsiteX2" fmla="*/ 9324798 w 9525000"/>
              <a:gd name="connsiteY2" fmla="*/ 750487 h 858477"/>
              <a:gd name="connsiteX3" fmla="*/ 9525000 w 9525000"/>
              <a:gd name="connsiteY3" fmla="*/ 808516 h 858477"/>
              <a:gd name="connsiteX4" fmla="*/ 9525000 w 9525000"/>
              <a:gd name="connsiteY4" fmla="*/ 858477 h 858477"/>
              <a:gd name="connsiteX5" fmla="*/ 4572598 w 9525000"/>
              <a:gd name="connsiteY5" fmla="*/ 858477 h 858477"/>
              <a:gd name="connsiteX6" fmla="*/ 4606017 w 9525000"/>
              <a:gd name="connsiteY6" fmla="*/ 856651 h 858477"/>
              <a:gd name="connsiteX7" fmla="*/ 7676696 w 9525000"/>
              <a:gd name="connsiteY7" fmla="*/ 530993 h 858477"/>
              <a:gd name="connsiteX8" fmla="*/ 0 w 9525000"/>
              <a:gd name="connsiteY8" fmla="*/ 0 h 858477"/>
              <a:gd name="connsiteX9" fmla="*/ 682372 w 9525000"/>
              <a:gd name="connsiteY9" fmla="*/ 218742 h 858477"/>
              <a:gd name="connsiteX10" fmla="*/ 3583790 w 9525000"/>
              <a:gd name="connsiteY10" fmla="*/ 856009 h 858477"/>
              <a:gd name="connsiteX11" fmla="*/ 3627014 w 9525000"/>
              <a:gd name="connsiteY11" fmla="*/ 858477 h 858477"/>
              <a:gd name="connsiteX12" fmla="*/ 0 w 9525000"/>
              <a:gd name="connsiteY12"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00" h="858477">
                <a:moveTo>
                  <a:pt x="7676696" y="530993"/>
                </a:moveTo>
                <a:cubicBezTo>
                  <a:pt x="7847289" y="529316"/>
                  <a:pt x="8017882" y="534146"/>
                  <a:pt x="8188475" y="547368"/>
                </a:cubicBezTo>
                <a:cubicBezTo>
                  <a:pt x="8572310" y="578273"/>
                  <a:pt x="8956144" y="652475"/>
                  <a:pt x="9324798" y="750487"/>
                </a:cubicBezTo>
                <a:lnTo>
                  <a:pt x="9525000" y="808516"/>
                </a:lnTo>
                <a:lnTo>
                  <a:pt x="9525000"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
        <p:nvSpPr>
          <p:cNvPr id="2" name="Rectangle: Rounded Corners 1">
            <a:extLst>
              <a:ext uri="{FF2B5EF4-FFF2-40B4-BE49-F238E27FC236}">
                <a16:creationId xmlns:a16="http://schemas.microsoft.com/office/drawing/2014/main" id="{BEE69CFD-242E-FE6F-BCBE-F8F384C101B7}"/>
              </a:ext>
              <a:ext uri="{C183D7F6-B498-43B3-948B-1728B52AA6E4}">
                <adec:decorative xmlns:adec="http://schemas.microsoft.com/office/drawing/2017/decorative" val="1"/>
              </a:ext>
            </a:extLst>
          </p:cNvPr>
          <p:cNvSpPr>
            <a:spLocks/>
          </p:cNvSpPr>
          <p:nvPr userDrawn="1"/>
        </p:nvSpPr>
        <p:spPr bwMode="auto">
          <a:xfrm>
            <a:off x="317500" y="1468398"/>
            <a:ext cx="6046788" cy="4809290"/>
          </a:xfrm>
          <a:prstGeom prst="roundRect">
            <a:avLst>
              <a:gd name="adj" fmla="val 4857"/>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lvl="0" indent="0">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7" name="Text Placeholder 35">
            <a:extLst>
              <a:ext uri="{FF2B5EF4-FFF2-40B4-BE49-F238E27FC236}">
                <a16:creationId xmlns:a16="http://schemas.microsoft.com/office/drawing/2014/main" id="{F831F155-8A54-997C-765C-6C941063424C}"/>
              </a:ext>
            </a:extLst>
          </p:cNvPr>
          <p:cNvSpPr>
            <a:spLocks noGrp="1"/>
          </p:cNvSpPr>
          <p:nvPr>
            <p:ph type="body" sz="quarter" idx="12" hasCustomPrompt="1"/>
          </p:nvPr>
        </p:nvSpPr>
        <p:spPr>
          <a:xfrm>
            <a:off x="317500" y="1468398"/>
            <a:ext cx="6046788" cy="4809290"/>
          </a:xfrm>
          <a:noFill/>
        </p:spPr>
        <p:txBody>
          <a:bodyPr wrap="square" lIns="274320" tIns="182880" rIns="182880" bIns="18288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F4E70418-56F2-1389-58B8-C8C96D2D6AE8}"/>
              </a:ext>
            </a:extLst>
          </p:cNvPr>
          <p:cNvSpPr>
            <a:spLocks noGrp="1"/>
          </p:cNvSpPr>
          <p:nvPr>
            <p:ph type="pic" sz="quarter" idx="22"/>
          </p:nvPr>
        </p:nvSpPr>
        <p:spPr>
          <a:xfrm>
            <a:off x="6657973" y="1468397"/>
            <a:ext cx="5240337" cy="4809290"/>
          </a:xfrm>
          <a:prstGeom prst="roundRect">
            <a:avLst>
              <a:gd name="adj" fmla="val 4500"/>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458306540"/>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Video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3B80D-FE7B-F433-4AF3-F85B6B69D59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6375EF45-343E-151E-EDED-A4CCB5B29FC1}"/>
              </a:ext>
              <a:ext uri="{C183D7F6-B498-43B3-948B-1728B52AA6E4}">
                <adec:decorative xmlns:adec="http://schemas.microsoft.com/office/drawing/2017/decorative" val="1"/>
              </a:ext>
            </a:extLst>
          </p:cNvPr>
          <p:cNvSpPr>
            <a:spLocks/>
          </p:cNvSpPr>
          <p:nvPr userDrawn="1"/>
        </p:nvSpPr>
        <p:spPr bwMode="auto">
          <a:xfrm>
            <a:off x="317500" y="1226372"/>
            <a:ext cx="3492500" cy="5051316"/>
          </a:xfrm>
          <a:prstGeom prst="roundRect">
            <a:avLst>
              <a:gd name="adj" fmla="val 4857"/>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9" name="Freeform: Shape 8">
            <a:extLst>
              <a:ext uri="{FF2B5EF4-FFF2-40B4-BE49-F238E27FC236}">
                <a16:creationId xmlns:a16="http://schemas.microsoft.com/office/drawing/2014/main" id="{3AADE8D7-0EAF-E265-2FDA-EAFCFFF07F9F}"/>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10" name="Picture 9">
            <a:extLst>
              <a:ext uri="{FF2B5EF4-FFF2-40B4-BE49-F238E27FC236}">
                <a16:creationId xmlns:a16="http://schemas.microsoft.com/office/drawing/2014/main" id="{D8238485-15BA-040F-C9BB-9F5B21C896E1}"/>
              </a:ext>
              <a:ext uri="{C183D7F6-B498-43B3-948B-1728B52AA6E4}">
                <adec:decorative xmlns:adec="http://schemas.microsoft.com/office/drawing/2017/decorative" val="1"/>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065588" y="-1"/>
            <a:ext cx="8126412" cy="6858000"/>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2" name="Rectangle 11">
            <a:extLst>
              <a:ext uri="{FF2B5EF4-FFF2-40B4-BE49-F238E27FC236}">
                <a16:creationId xmlns:a16="http://schemas.microsoft.com/office/drawing/2014/main" id="{B719E595-D0F0-9FD2-2D69-77E4E78A05E3}"/>
              </a:ext>
              <a:ext uri="{C183D7F6-B498-43B3-948B-1728B52AA6E4}">
                <adec:decorative xmlns:adec="http://schemas.microsoft.com/office/drawing/2017/decorative" val="1"/>
              </a:ext>
            </a:extLst>
          </p:cNvPr>
          <p:cNvSpPr/>
          <p:nvPr userDrawn="1"/>
        </p:nvSpPr>
        <p:spPr bwMode="auto">
          <a:xfrm>
            <a:off x="4065588"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14" name="Title 1">
            <a:extLst>
              <a:ext uri="{FF2B5EF4-FFF2-40B4-BE49-F238E27FC236}">
                <a16:creationId xmlns:a16="http://schemas.microsoft.com/office/drawing/2014/main" id="{3EE7491C-80EC-44F5-63F9-D9C8995CB8AC}"/>
              </a:ext>
            </a:extLst>
          </p:cNvPr>
          <p:cNvSpPr>
            <a:spLocks noGrp="1"/>
          </p:cNvSpPr>
          <p:nvPr>
            <p:ph type="title" hasCustomPrompt="1"/>
          </p:nvPr>
        </p:nvSpPr>
        <p:spPr>
          <a:xfrm>
            <a:off x="588263" y="457200"/>
            <a:ext cx="322173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Video slide</a:t>
            </a:r>
            <a:endParaRPr lang="en-IN"/>
          </a:p>
        </p:txBody>
      </p:sp>
      <p:sp>
        <p:nvSpPr>
          <p:cNvPr id="16" name="Text Placeholder 35">
            <a:extLst>
              <a:ext uri="{FF2B5EF4-FFF2-40B4-BE49-F238E27FC236}">
                <a16:creationId xmlns:a16="http://schemas.microsoft.com/office/drawing/2014/main" id="{860C9690-DA85-8A4D-8192-F10A44D1A5CA}"/>
              </a:ext>
            </a:extLst>
          </p:cNvPr>
          <p:cNvSpPr>
            <a:spLocks noGrp="1"/>
          </p:cNvSpPr>
          <p:nvPr>
            <p:ph type="body" sz="quarter" idx="15" hasCustomPrompt="1"/>
          </p:nvPr>
        </p:nvSpPr>
        <p:spPr>
          <a:xfrm>
            <a:off x="588263" y="1525877"/>
            <a:ext cx="3031237" cy="399787"/>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609A4BB8-D547-2DEA-5BA8-82750CB9648A}"/>
              </a:ext>
            </a:extLst>
          </p:cNvPr>
          <p:cNvSpPr>
            <a:spLocks noGrp="1"/>
          </p:cNvSpPr>
          <p:nvPr>
            <p:ph type="body" sz="quarter" idx="16" hasCustomPrompt="1"/>
          </p:nvPr>
        </p:nvSpPr>
        <p:spPr>
          <a:xfrm>
            <a:off x="588263" y="2162629"/>
            <a:ext cx="3031237" cy="3836894"/>
          </a:xfrm>
          <a:noFill/>
        </p:spPr>
        <p:txBody>
          <a:bodyPr wrap="square" lIns="0" tIns="0" rIns="0" bIns="0" anchor="t">
            <a:noAutofit/>
          </a:bodyPr>
          <a:lstStyle>
            <a:lvl1pPr marL="0" indent="0">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2D394F12-658C-06E9-4907-BCC4A79E4D84}"/>
              </a:ext>
            </a:extLst>
          </p:cNvPr>
          <p:cNvSpPr>
            <a:spLocks noGrp="1"/>
          </p:cNvSpPr>
          <p:nvPr>
            <p:ph type="body" sz="quarter" idx="12" hasCustomPrompt="1"/>
          </p:nvPr>
        </p:nvSpPr>
        <p:spPr>
          <a:xfrm>
            <a:off x="4504976" y="1436689"/>
            <a:ext cx="7098760" cy="341312"/>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Media Placeholder 32">
            <a:extLst>
              <a:ext uri="{FF2B5EF4-FFF2-40B4-BE49-F238E27FC236}">
                <a16:creationId xmlns:a16="http://schemas.microsoft.com/office/drawing/2014/main" id="{F841C6BF-428C-C02F-CB96-583559870666}"/>
              </a:ext>
            </a:extLst>
          </p:cNvPr>
          <p:cNvSpPr>
            <a:spLocks noGrp="1"/>
          </p:cNvSpPr>
          <p:nvPr>
            <p:ph type="media" sz="quarter" idx="17" hasCustomPrompt="1"/>
          </p:nvPr>
        </p:nvSpPr>
        <p:spPr>
          <a:xfrm>
            <a:off x="4504976" y="2008188"/>
            <a:ext cx="7098411" cy="3940740"/>
          </a:xfrm>
          <a:prstGeom prst="roundRect">
            <a:avLst>
              <a:gd name="adj" fmla="val 4582"/>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54000" sx="102000" sy="102000" algn="ctr" rotWithShape="0">
              <a:prstClr val="black">
                <a:alpha val="8000"/>
              </a:prstClr>
            </a:outerShdw>
          </a:effectLst>
        </p:spPr>
        <p:txBody>
          <a:bodyPr vert="horz" wrap="square" lIns="0" tIns="0" rIns="0" bIns="640080" rtlCol="0" anchor="ctr">
            <a:noAutofit/>
          </a:bodyPr>
          <a:lstStyle>
            <a:lvl1pPr marL="0" indent="0" algn="ctr">
              <a:buNone/>
              <a:defRPr lang="en-IN" sz="2000">
                <a:solidFill>
                  <a:schemeClr val="bg1"/>
                </a:solidFill>
              </a:defRPr>
            </a:lvl1pPr>
          </a:lstStyle>
          <a:p>
            <a:pPr marL="228600" lvl="0" indent="-228600" algn="ctr"/>
            <a:r>
              <a:rPr lang="en-IN"/>
              <a:t>Media</a:t>
            </a:r>
          </a:p>
        </p:txBody>
      </p:sp>
    </p:spTree>
    <p:extLst>
      <p:ext uri="{BB962C8B-B14F-4D97-AF65-F5344CB8AC3E}">
        <p14:creationId xmlns:p14="http://schemas.microsoft.com/office/powerpoint/2010/main" val="51621042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Blank_1">
    <p:bg>
      <p:bgPr>
        <a:solidFill>
          <a:srgbClr val="F2F2F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939821"/>
      </p:ext>
    </p:extLst>
  </p:cSld>
  <p:clrMapOvr>
    <a:masterClrMapping/>
  </p:clrMapOvr>
  <p:transition>
    <p:fade/>
  </p:transition>
  <p:extLst>
    <p:ext uri="{DCECCB84-F9BA-43D5-87BE-67443E8EF086}">
      <p15:sldGuideLst xmlns:p15="http://schemas.microsoft.com/office/powerpoint/2012/main"/>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wo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CFCCEF-3918-CF00-30D3-E294097BB72F}"/>
              </a:ext>
              <a:ext uri="{C183D7F6-B498-43B3-948B-1728B52AA6E4}">
                <adec:decorative xmlns:adec="http://schemas.microsoft.com/office/drawing/2017/decorative" val="1"/>
              </a:ext>
            </a:extLst>
          </p:cNvPr>
          <p:cNvGrpSpPr/>
          <p:nvPr userDrawn="1"/>
        </p:nvGrpSpPr>
        <p:grpSpPr>
          <a:xfrm>
            <a:off x="0" y="0"/>
            <a:ext cx="12192000" cy="6795078"/>
            <a:chOff x="0" y="62922"/>
            <a:chExt cx="12192000" cy="6795078"/>
          </a:xfrm>
        </p:grpSpPr>
        <p:pic>
          <p:nvPicPr>
            <p:cNvPr id="4" name="Picture 3" descr="A picture containing blue, electric blue, majorelle blue, blur&#10;&#10;Description automatically generated">
              <a:extLst>
                <a:ext uri="{FF2B5EF4-FFF2-40B4-BE49-F238E27FC236}">
                  <a16:creationId xmlns:a16="http://schemas.microsoft.com/office/drawing/2014/main" id="{563FD2F3-B17E-BC1A-0FAF-67264126F6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pic>
          <p:nvPicPr>
            <p:cNvPr id="5" name="Picture 4">
              <a:extLst>
                <a:ext uri="{FF2B5EF4-FFF2-40B4-BE49-F238E27FC236}">
                  <a16:creationId xmlns:a16="http://schemas.microsoft.com/office/drawing/2014/main" id="{264DCF94-4975-D093-B2AC-17E1D5E2BC7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grpSp>
      <p:grpSp>
        <p:nvGrpSpPr>
          <p:cNvPr id="6" name="Group 5">
            <a:extLst>
              <a:ext uri="{FF2B5EF4-FFF2-40B4-BE49-F238E27FC236}">
                <a16:creationId xmlns:a16="http://schemas.microsoft.com/office/drawing/2014/main" id="{0ABFE24A-D09D-E203-AA1B-897D34C38507}"/>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4049CEA-7EC2-5A34-82A5-516E6EC6A93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7F003DE2-28AE-392B-B686-C885A07DF88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393311F3-AE18-0246-B457-88CB80D02923}"/>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4A54C77-8975-6473-897F-782C834ED95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09305898-E9C4-DA2A-92F6-4AED7EB430F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2718E2A7-1A44-D454-940A-9EE4A319AD8E}"/>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9" name="Title 1">
            <a:extLst>
              <a:ext uri="{FF2B5EF4-FFF2-40B4-BE49-F238E27FC236}">
                <a16:creationId xmlns:a16="http://schemas.microsoft.com/office/drawing/2014/main" id="{DB3A8C41-1702-ADBE-95C9-F96DE2BCFB70}"/>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8" name="Text Placeholder 35">
            <a:extLst>
              <a:ext uri="{FF2B5EF4-FFF2-40B4-BE49-F238E27FC236}">
                <a16:creationId xmlns:a16="http://schemas.microsoft.com/office/drawing/2014/main" id="{F2D681CF-A6A0-F14C-96D3-D7745BFC8D35}"/>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Rectangle: Rounded Corners 26">
            <a:extLst>
              <a:ext uri="{FF2B5EF4-FFF2-40B4-BE49-F238E27FC236}">
                <a16:creationId xmlns:a16="http://schemas.microsoft.com/office/drawing/2014/main" id="{92FD983C-E8E1-AFDC-C74E-954F064937D9}"/>
              </a:ext>
              <a:ext uri="{C183D7F6-B498-43B3-948B-1728B52AA6E4}">
                <adec:decorative xmlns:adec="http://schemas.microsoft.com/office/drawing/2017/decorative" val="1"/>
              </a:ext>
            </a:extLst>
          </p:cNvPr>
          <p:cNvSpPr>
            <a:spLocks/>
          </p:cNvSpPr>
          <p:nvPr userDrawn="1"/>
        </p:nvSpPr>
        <p:spPr bwMode="auto">
          <a:xfrm>
            <a:off x="588263"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41" name="Straight Connector 40">
            <a:extLst>
              <a:ext uri="{FF2B5EF4-FFF2-40B4-BE49-F238E27FC236}">
                <a16:creationId xmlns:a16="http://schemas.microsoft.com/office/drawing/2014/main" id="{14DF00F1-BE61-577E-8135-B5BFBC8B97F7}"/>
              </a:ext>
              <a:ext uri="{C183D7F6-B498-43B3-948B-1728B52AA6E4}">
                <adec:decorative xmlns:adec="http://schemas.microsoft.com/office/drawing/2017/decorative" val="1"/>
              </a:ext>
            </a:extLst>
          </p:cNvPr>
          <p:cNvCxnSpPr>
            <a:cxnSpLocks/>
          </p:cNvCxnSpPr>
          <p:nvPr userDrawn="1"/>
        </p:nvCxnSpPr>
        <p:spPr>
          <a:xfrm>
            <a:off x="891808"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35">
            <a:extLst>
              <a:ext uri="{FF2B5EF4-FFF2-40B4-BE49-F238E27FC236}">
                <a16:creationId xmlns:a16="http://schemas.microsoft.com/office/drawing/2014/main" id="{C5DBE4EF-3241-CB4C-3583-254E18D14D59}"/>
              </a:ext>
            </a:extLst>
          </p:cNvPr>
          <p:cNvSpPr>
            <a:spLocks noGrp="1"/>
          </p:cNvSpPr>
          <p:nvPr>
            <p:ph type="body" sz="quarter" idx="15" hasCustomPrompt="1"/>
          </p:nvPr>
        </p:nvSpPr>
        <p:spPr>
          <a:xfrm>
            <a:off x="808037"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6D789100-608F-4D85-606E-DECAC8DE36C0}"/>
              </a:ext>
            </a:extLst>
          </p:cNvPr>
          <p:cNvSpPr>
            <a:spLocks noGrp="1"/>
          </p:cNvSpPr>
          <p:nvPr>
            <p:ph type="body" sz="quarter" idx="18" hasCustomPrompt="1"/>
          </p:nvPr>
        </p:nvSpPr>
        <p:spPr>
          <a:xfrm>
            <a:off x="808037"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Rectangle: Rounded Corners 56">
            <a:extLst>
              <a:ext uri="{FF2B5EF4-FFF2-40B4-BE49-F238E27FC236}">
                <a16:creationId xmlns:a16="http://schemas.microsoft.com/office/drawing/2014/main" id="{2A0E944B-9897-6438-3EA5-26D9E137182F}"/>
              </a:ext>
              <a:ext uri="{C183D7F6-B498-43B3-948B-1728B52AA6E4}">
                <adec:decorative xmlns:adec="http://schemas.microsoft.com/office/drawing/2017/decorative" val="1"/>
              </a:ext>
            </a:extLst>
          </p:cNvPr>
          <p:cNvSpPr>
            <a:spLocks/>
          </p:cNvSpPr>
          <p:nvPr userDrawn="1"/>
        </p:nvSpPr>
        <p:spPr bwMode="auto">
          <a:xfrm>
            <a:off x="6187381"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1" name="Straight Connector 60">
            <a:extLst>
              <a:ext uri="{FF2B5EF4-FFF2-40B4-BE49-F238E27FC236}">
                <a16:creationId xmlns:a16="http://schemas.microsoft.com/office/drawing/2014/main" id="{CCB15D87-1F1A-F44C-38F8-5FE95E4E56B3}"/>
              </a:ext>
              <a:ext uri="{C183D7F6-B498-43B3-948B-1728B52AA6E4}">
                <adec:decorative xmlns:adec="http://schemas.microsoft.com/office/drawing/2017/decorative" val="1"/>
              </a:ext>
            </a:extLst>
          </p:cNvPr>
          <p:cNvCxnSpPr>
            <a:cxnSpLocks/>
          </p:cNvCxnSpPr>
          <p:nvPr userDrawn="1"/>
        </p:nvCxnSpPr>
        <p:spPr>
          <a:xfrm>
            <a:off x="6498801"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 Placeholder 35">
            <a:extLst>
              <a:ext uri="{FF2B5EF4-FFF2-40B4-BE49-F238E27FC236}">
                <a16:creationId xmlns:a16="http://schemas.microsoft.com/office/drawing/2014/main" id="{E6EE5E53-DCE2-137C-CBD3-897D0C12CE08}"/>
              </a:ext>
            </a:extLst>
          </p:cNvPr>
          <p:cNvSpPr>
            <a:spLocks noGrp="1"/>
          </p:cNvSpPr>
          <p:nvPr>
            <p:ph type="body" sz="quarter" idx="19" hasCustomPrompt="1"/>
          </p:nvPr>
        </p:nvSpPr>
        <p:spPr>
          <a:xfrm>
            <a:off x="6415031"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F973E258-E188-E73E-67B2-212B55795058}"/>
              </a:ext>
            </a:extLst>
          </p:cNvPr>
          <p:cNvSpPr>
            <a:spLocks noGrp="1"/>
          </p:cNvSpPr>
          <p:nvPr>
            <p:ph type="body" sz="quarter" idx="20" hasCustomPrompt="1"/>
          </p:nvPr>
        </p:nvSpPr>
        <p:spPr>
          <a:xfrm>
            <a:off x="6415031"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423478932"/>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hree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622D58-3D17-EAE2-6819-F3574F70CA7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E77D8DDE-5A63-7362-682A-5F2001D5DE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CB883B7-BC08-B88B-E53C-03F97CA8BDB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49810951-FEBA-5005-5A3E-E7A5AE53265F}"/>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6B3EB83D-FF46-C8A3-DA66-C83EB4C3C10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F7F68CA3-909F-2888-1F5B-C4B78D756738}"/>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EB8F7A0-A283-18BC-6C1F-4082040BBE7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E7B2EF12-0BF5-CE0D-6806-C543653CFBD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D4E305A2-5DDF-F2DF-2C86-C516FCBB321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06B5D9-755E-03EB-9EB0-6FE717F4C1A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6" name="Title 1">
            <a:extLst>
              <a:ext uri="{FF2B5EF4-FFF2-40B4-BE49-F238E27FC236}">
                <a16:creationId xmlns:a16="http://schemas.microsoft.com/office/drawing/2014/main" id="{AA45064F-6F8B-9B56-60CA-A7293BB9DAB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36790569-A252-B327-84E6-93AF1E96D8FC}"/>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Rectangle: Rounded Corners 34">
            <a:extLst>
              <a:ext uri="{FF2B5EF4-FFF2-40B4-BE49-F238E27FC236}">
                <a16:creationId xmlns:a16="http://schemas.microsoft.com/office/drawing/2014/main" id="{3F192C70-AB04-FF1D-8CCC-DD597DBD68DB}"/>
              </a:ext>
              <a:ext uri="{C183D7F6-B498-43B3-948B-1728B52AA6E4}">
                <adec:decorative xmlns:adec="http://schemas.microsoft.com/office/drawing/2017/decorative" val="1"/>
              </a:ext>
            </a:extLst>
          </p:cNvPr>
          <p:cNvSpPr>
            <a:spLocks/>
          </p:cNvSpPr>
          <p:nvPr userDrawn="1"/>
        </p:nvSpPr>
        <p:spPr bwMode="auto">
          <a:xfrm>
            <a:off x="588264"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55" name="Straight Connector 54">
            <a:extLst>
              <a:ext uri="{FF2B5EF4-FFF2-40B4-BE49-F238E27FC236}">
                <a16:creationId xmlns:a16="http://schemas.microsoft.com/office/drawing/2014/main" id="{AF14E754-6BD4-B4F3-15ED-123BCFA11AD0}"/>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Text Placeholder 35">
            <a:extLst>
              <a:ext uri="{FF2B5EF4-FFF2-40B4-BE49-F238E27FC236}">
                <a16:creationId xmlns:a16="http://schemas.microsoft.com/office/drawing/2014/main" id="{9955069B-B322-A5F3-6D16-24ABACED2A9A}"/>
              </a:ext>
            </a:extLst>
          </p:cNvPr>
          <p:cNvSpPr>
            <a:spLocks noGrp="1"/>
          </p:cNvSpPr>
          <p:nvPr>
            <p:ph type="body" sz="quarter" idx="15" hasCustomPrompt="1"/>
          </p:nvPr>
        </p:nvSpPr>
        <p:spPr>
          <a:xfrm>
            <a:off x="808037"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06FDE671-1E20-A42E-0A50-E44B130921F4}"/>
              </a:ext>
            </a:extLst>
          </p:cNvPr>
          <p:cNvSpPr>
            <a:spLocks noGrp="1"/>
          </p:cNvSpPr>
          <p:nvPr>
            <p:ph type="body" sz="quarter" idx="18" hasCustomPrompt="1"/>
          </p:nvPr>
        </p:nvSpPr>
        <p:spPr>
          <a:xfrm>
            <a:off x="808037"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Rectangle: Rounded Corners 82">
            <a:extLst>
              <a:ext uri="{FF2B5EF4-FFF2-40B4-BE49-F238E27FC236}">
                <a16:creationId xmlns:a16="http://schemas.microsoft.com/office/drawing/2014/main" id="{0C1CDFB8-1C55-DA56-4D67-D60377A4A1D8}"/>
              </a:ext>
              <a:ext uri="{C183D7F6-B498-43B3-948B-1728B52AA6E4}">
                <adec:decorative xmlns:adec="http://schemas.microsoft.com/office/drawing/2017/decorative" val="1"/>
              </a:ext>
            </a:extLst>
          </p:cNvPr>
          <p:cNvSpPr>
            <a:spLocks/>
          </p:cNvSpPr>
          <p:nvPr userDrawn="1"/>
        </p:nvSpPr>
        <p:spPr bwMode="auto">
          <a:xfrm>
            <a:off x="436913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91" name="Straight Connector 90">
            <a:extLst>
              <a:ext uri="{FF2B5EF4-FFF2-40B4-BE49-F238E27FC236}">
                <a16:creationId xmlns:a16="http://schemas.microsoft.com/office/drawing/2014/main" id="{EBF6A7F5-EA0F-C38C-005D-05697A85CA70}"/>
              </a:ext>
              <a:ext uri="{C183D7F6-B498-43B3-948B-1728B52AA6E4}">
                <adec:decorative xmlns:adec="http://schemas.microsoft.com/office/drawing/2017/decorative" val="1"/>
              </a:ext>
            </a:extLst>
          </p:cNvPr>
          <p:cNvCxnSpPr>
            <a:cxnSpLocks/>
          </p:cNvCxnSpPr>
          <p:nvPr userDrawn="1"/>
        </p:nvCxnSpPr>
        <p:spPr>
          <a:xfrm>
            <a:off x="467267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8" name="Text Placeholder 35">
            <a:extLst>
              <a:ext uri="{FF2B5EF4-FFF2-40B4-BE49-F238E27FC236}">
                <a16:creationId xmlns:a16="http://schemas.microsoft.com/office/drawing/2014/main" id="{C69F89E4-BE9D-61AD-E65E-B9C520A2DC7A}"/>
              </a:ext>
            </a:extLst>
          </p:cNvPr>
          <p:cNvSpPr>
            <a:spLocks noGrp="1"/>
          </p:cNvSpPr>
          <p:nvPr>
            <p:ph type="body" sz="quarter" idx="19" hasCustomPrompt="1"/>
          </p:nvPr>
        </p:nvSpPr>
        <p:spPr>
          <a:xfrm>
            <a:off x="458890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4" name="Text Placeholder 35">
            <a:extLst>
              <a:ext uri="{FF2B5EF4-FFF2-40B4-BE49-F238E27FC236}">
                <a16:creationId xmlns:a16="http://schemas.microsoft.com/office/drawing/2014/main" id="{B32118F7-5A65-3490-4F7D-A0B2FA8410C0}"/>
              </a:ext>
            </a:extLst>
          </p:cNvPr>
          <p:cNvSpPr>
            <a:spLocks noGrp="1"/>
          </p:cNvSpPr>
          <p:nvPr>
            <p:ph type="body" sz="quarter" idx="20" hasCustomPrompt="1"/>
          </p:nvPr>
        </p:nvSpPr>
        <p:spPr>
          <a:xfrm>
            <a:off x="458890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7" name="Rectangle: Rounded Corners 106">
            <a:extLst>
              <a:ext uri="{FF2B5EF4-FFF2-40B4-BE49-F238E27FC236}">
                <a16:creationId xmlns:a16="http://schemas.microsoft.com/office/drawing/2014/main" id="{E66144AF-03CB-545E-78BA-A286157B1584}"/>
              </a:ext>
              <a:ext uri="{C183D7F6-B498-43B3-948B-1728B52AA6E4}">
                <adec:decorative xmlns:adec="http://schemas.microsoft.com/office/drawing/2017/decorative" val="1"/>
              </a:ext>
            </a:extLst>
          </p:cNvPr>
          <p:cNvSpPr>
            <a:spLocks/>
          </p:cNvSpPr>
          <p:nvPr userDrawn="1"/>
        </p:nvSpPr>
        <p:spPr bwMode="auto">
          <a:xfrm>
            <a:off x="812641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1" name="Straight Connector 110">
            <a:extLst>
              <a:ext uri="{FF2B5EF4-FFF2-40B4-BE49-F238E27FC236}">
                <a16:creationId xmlns:a16="http://schemas.microsoft.com/office/drawing/2014/main" id="{DD5AF553-B479-B588-99ED-5E0B16ACCB5A}"/>
              </a:ext>
              <a:ext uri="{C183D7F6-B498-43B3-948B-1728B52AA6E4}">
                <adec:decorative xmlns:adec="http://schemas.microsoft.com/office/drawing/2017/decorative" val="1"/>
              </a:ext>
            </a:extLst>
          </p:cNvPr>
          <p:cNvCxnSpPr>
            <a:cxnSpLocks/>
          </p:cNvCxnSpPr>
          <p:nvPr userDrawn="1"/>
        </p:nvCxnSpPr>
        <p:spPr>
          <a:xfrm>
            <a:off x="842995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 name="Text Placeholder 35">
            <a:extLst>
              <a:ext uri="{FF2B5EF4-FFF2-40B4-BE49-F238E27FC236}">
                <a16:creationId xmlns:a16="http://schemas.microsoft.com/office/drawing/2014/main" id="{2DDCE853-F035-4F1D-6ADC-3D74E01CBA13}"/>
              </a:ext>
            </a:extLst>
          </p:cNvPr>
          <p:cNvSpPr>
            <a:spLocks noGrp="1"/>
          </p:cNvSpPr>
          <p:nvPr>
            <p:ph type="body" sz="quarter" idx="21" hasCustomPrompt="1"/>
          </p:nvPr>
        </p:nvSpPr>
        <p:spPr>
          <a:xfrm>
            <a:off x="834618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6" name="Text Placeholder 35">
            <a:extLst>
              <a:ext uri="{FF2B5EF4-FFF2-40B4-BE49-F238E27FC236}">
                <a16:creationId xmlns:a16="http://schemas.microsoft.com/office/drawing/2014/main" id="{63E421E8-4622-F672-A7DE-0041CFE8FBE5}"/>
              </a:ext>
            </a:extLst>
          </p:cNvPr>
          <p:cNvSpPr>
            <a:spLocks noGrp="1"/>
          </p:cNvSpPr>
          <p:nvPr>
            <p:ph type="body" sz="quarter" idx="22" hasCustomPrompt="1"/>
          </p:nvPr>
        </p:nvSpPr>
        <p:spPr>
          <a:xfrm>
            <a:off x="834618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01456745"/>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Four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83410A-EAEF-1265-E404-6DF4F511BB98}"/>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A5C78AAD-02FD-10AC-CC3C-30F9EAB1804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D13D3E9-40FD-4B69-2DA6-36CE7390384B}"/>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9532A76-E802-0E51-4936-C7EDD3BD0C99}"/>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0AA94023-659C-DF1A-1432-D80BD0048ABA}"/>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4EEF02ED-858D-3E44-8A85-75B04AC34033}"/>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9303F9AF-1C03-E782-C803-2BB6C40057B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C7D8CCDE-6152-905A-F816-02DBF4194D2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29766E26-7ACB-2ACF-521B-DDD840AB7FF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524187-AAE3-2430-A752-8B62BFFB8C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43" name="Title 1">
            <a:extLst>
              <a:ext uri="{FF2B5EF4-FFF2-40B4-BE49-F238E27FC236}">
                <a16:creationId xmlns:a16="http://schemas.microsoft.com/office/drawing/2014/main" id="{787345B3-AA16-9C51-1F2F-7F312B7A4D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8" name="Text Placeholder 35">
            <a:extLst>
              <a:ext uri="{FF2B5EF4-FFF2-40B4-BE49-F238E27FC236}">
                <a16:creationId xmlns:a16="http://schemas.microsoft.com/office/drawing/2014/main" id="{1BF1BD34-7F91-443E-8B7D-BC38F9827F34}"/>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Rectangle: Rounded Corners 52">
            <a:extLst>
              <a:ext uri="{FF2B5EF4-FFF2-40B4-BE49-F238E27FC236}">
                <a16:creationId xmlns:a16="http://schemas.microsoft.com/office/drawing/2014/main" id="{35652C22-C463-E479-AF2B-2D3E833E2626}"/>
              </a:ext>
              <a:ext uri="{C183D7F6-B498-43B3-948B-1728B52AA6E4}">
                <adec:decorative xmlns:adec="http://schemas.microsoft.com/office/drawing/2017/decorative" val="1"/>
              </a:ext>
            </a:extLst>
          </p:cNvPr>
          <p:cNvSpPr>
            <a:spLocks/>
          </p:cNvSpPr>
          <p:nvPr userDrawn="1"/>
        </p:nvSpPr>
        <p:spPr bwMode="auto">
          <a:xfrm>
            <a:off x="588264"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9" name="Straight Connector 68">
            <a:extLst>
              <a:ext uri="{FF2B5EF4-FFF2-40B4-BE49-F238E27FC236}">
                <a16:creationId xmlns:a16="http://schemas.microsoft.com/office/drawing/2014/main" id="{C65E4C8E-E218-D4AD-15CF-A69FF6BC7FCE}"/>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 Placeholder 35">
            <a:extLst>
              <a:ext uri="{FF2B5EF4-FFF2-40B4-BE49-F238E27FC236}">
                <a16:creationId xmlns:a16="http://schemas.microsoft.com/office/drawing/2014/main" id="{0D5B07DE-9C3F-C612-1BCC-5ADA4EE3D71E}"/>
              </a:ext>
            </a:extLst>
          </p:cNvPr>
          <p:cNvSpPr>
            <a:spLocks noGrp="1"/>
          </p:cNvSpPr>
          <p:nvPr>
            <p:ph type="body" sz="quarter" idx="15" hasCustomPrompt="1"/>
          </p:nvPr>
        </p:nvSpPr>
        <p:spPr>
          <a:xfrm>
            <a:off x="80803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8" name="Text Placeholder 35">
            <a:extLst>
              <a:ext uri="{FF2B5EF4-FFF2-40B4-BE49-F238E27FC236}">
                <a16:creationId xmlns:a16="http://schemas.microsoft.com/office/drawing/2014/main" id="{2281C67E-7FE9-E607-E9C0-6E8C182028B2}"/>
              </a:ext>
            </a:extLst>
          </p:cNvPr>
          <p:cNvSpPr>
            <a:spLocks noGrp="1"/>
          </p:cNvSpPr>
          <p:nvPr>
            <p:ph type="body" sz="quarter" idx="18" hasCustomPrompt="1"/>
          </p:nvPr>
        </p:nvSpPr>
        <p:spPr>
          <a:xfrm>
            <a:off x="80803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9" name="Rectangle: Rounded Corners 108">
            <a:extLst>
              <a:ext uri="{FF2B5EF4-FFF2-40B4-BE49-F238E27FC236}">
                <a16:creationId xmlns:a16="http://schemas.microsoft.com/office/drawing/2014/main" id="{9C37832D-BBC1-29EF-3693-02C5FD94456E}"/>
              </a:ext>
              <a:ext uri="{C183D7F6-B498-43B3-948B-1728B52AA6E4}">
                <adec:decorative xmlns:adec="http://schemas.microsoft.com/office/drawing/2017/decorative" val="1"/>
              </a:ext>
            </a:extLst>
          </p:cNvPr>
          <p:cNvSpPr>
            <a:spLocks/>
          </p:cNvSpPr>
          <p:nvPr userDrawn="1"/>
        </p:nvSpPr>
        <p:spPr bwMode="auto">
          <a:xfrm>
            <a:off x="3403960"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0" name="Straight Connector 109">
            <a:extLst>
              <a:ext uri="{FF2B5EF4-FFF2-40B4-BE49-F238E27FC236}">
                <a16:creationId xmlns:a16="http://schemas.microsoft.com/office/drawing/2014/main" id="{939F2199-CB00-3ABD-BF0F-4478DD166811}"/>
              </a:ext>
              <a:ext uri="{C183D7F6-B498-43B3-948B-1728B52AA6E4}">
                <adec:decorative xmlns:adec="http://schemas.microsoft.com/office/drawing/2017/decorative" val="1"/>
              </a:ext>
            </a:extLst>
          </p:cNvPr>
          <p:cNvCxnSpPr>
            <a:cxnSpLocks/>
          </p:cNvCxnSpPr>
          <p:nvPr userDrawn="1"/>
        </p:nvCxnSpPr>
        <p:spPr>
          <a:xfrm>
            <a:off x="3707504"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Text Placeholder 35">
            <a:extLst>
              <a:ext uri="{FF2B5EF4-FFF2-40B4-BE49-F238E27FC236}">
                <a16:creationId xmlns:a16="http://schemas.microsoft.com/office/drawing/2014/main" id="{6856AF34-6CD5-0E67-CBEF-3ADF42E1547F}"/>
              </a:ext>
            </a:extLst>
          </p:cNvPr>
          <p:cNvSpPr>
            <a:spLocks noGrp="1"/>
          </p:cNvSpPr>
          <p:nvPr>
            <p:ph type="body" sz="quarter" idx="19" hasCustomPrompt="1"/>
          </p:nvPr>
        </p:nvSpPr>
        <p:spPr>
          <a:xfrm>
            <a:off x="3623734"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3" name="Text Placeholder 35">
            <a:extLst>
              <a:ext uri="{FF2B5EF4-FFF2-40B4-BE49-F238E27FC236}">
                <a16:creationId xmlns:a16="http://schemas.microsoft.com/office/drawing/2014/main" id="{1F1E669A-E33C-A9D5-2F2D-B9C3CFD72809}"/>
              </a:ext>
            </a:extLst>
          </p:cNvPr>
          <p:cNvSpPr>
            <a:spLocks noGrp="1"/>
          </p:cNvSpPr>
          <p:nvPr>
            <p:ph type="body" sz="quarter" idx="20" hasCustomPrompt="1"/>
          </p:nvPr>
        </p:nvSpPr>
        <p:spPr>
          <a:xfrm>
            <a:off x="3623734"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0" name="Rectangle: Rounded Corners 149">
            <a:extLst>
              <a:ext uri="{FF2B5EF4-FFF2-40B4-BE49-F238E27FC236}">
                <a16:creationId xmlns:a16="http://schemas.microsoft.com/office/drawing/2014/main" id="{0330CE2D-C47D-7096-4933-67AD267BDD9C}"/>
              </a:ext>
              <a:ext uri="{C183D7F6-B498-43B3-948B-1728B52AA6E4}">
                <adec:decorative xmlns:adec="http://schemas.microsoft.com/office/drawing/2017/decorative" val="1"/>
              </a:ext>
            </a:extLst>
          </p:cNvPr>
          <p:cNvSpPr>
            <a:spLocks/>
          </p:cNvSpPr>
          <p:nvPr userDrawn="1"/>
        </p:nvSpPr>
        <p:spPr bwMode="auto">
          <a:xfrm>
            <a:off x="6219656"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58" name="Straight Connector 157">
            <a:extLst>
              <a:ext uri="{FF2B5EF4-FFF2-40B4-BE49-F238E27FC236}">
                <a16:creationId xmlns:a16="http://schemas.microsoft.com/office/drawing/2014/main" id="{77869FC7-BFA9-CB48-8F56-745487AC9107}"/>
              </a:ext>
              <a:ext uri="{C183D7F6-B498-43B3-948B-1728B52AA6E4}">
                <adec:decorative xmlns:adec="http://schemas.microsoft.com/office/drawing/2017/decorative" val="1"/>
              </a:ext>
            </a:extLst>
          </p:cNvPr>
          <p:cNvCxnSpPr>
            <a:cxnSpLocks/>
          </p:cNvCxnSpPr>
          <p:nvPr userDrawn="1"/>
        </p:nvCxnSpPr>
        <p:spPr>
          <a:xfrm>
            <a:off x="6523200"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5" name="Text Placeholder 35">
            <a:extLst>
              <a:ext uri="{FF2B5EF4-FFF2-40B4-BE49-F238E27FC236}">
                <a16:creationId xmlns:a16="http://schemas.microsoft.com/office/drawing/2014/main" id="{2E4C8D99-8BC0-843D-C75C-25D5A9C41F9A}"/>
              </a:ext>
            </a:extLst>
          </p:cNvPr>
          <p:cNvSpPr>
            <a:spLocks noGrp="1"/>
          </p:cNvSpPr>
          <p:nvPr>
            <p:ph type="body" sz="quarter" idx="21" hasCustomPrompt="1"/>
          </p:nvPr>
        </p:nvSpPr>
        <p:spPr>
          <a:xfrm>
            <a:off x="6439430"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1" name="Text Placeholder 35">
            <a:extLst>
              <a:ext uri="{FF2B5EF4-FFF2-40B4-BE49-F238E27FC236}">
                <a16:creationId xmlns:a16="http://schemas.microsoft.com/office/drawing/2014/main" id="{00A7A2B4-E7FE-20A9-9EEF-B44C397FAC53}"/>
              </a:ext>
            </a:extLst>
          </p:cNvPr>
          <p:cNvSpPr>
            <a:spLocks noGrp="1"/>
          </p:cNvSpPr>
          <p:nvPr>
            <p:ph type="body" sz="quarter" idx="22" hasCustomPrompt="1"/>
          </p:nvPr>
        </p:nvSpPr>
        <p:spPr>
          <a:xfrm>
            <a:off x="6439430"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4" name="Rectangle: Rounded Corners 173">
            <a:extLst>
              <a:ext uri="{FF2B5EF4-FFF2-40B4-BE49-F238E27FC236}">
                <a16:creationId xmlns:a16="http://schemas.microsoft.com/office/drawing/2014/main" id="{4571B59D-9E06-8FF1-B146-0AA2FF2EAE13}"/>
              </a:ext>
              <a:ext uri="{C183D7F6-B498-43B3-948B-1728B52AA6E4}">
                <adec:decorative xmlns:adec="http://schemas.microsoft.com/office/drawing/2017/decorative" val="1"/>
              </a:ext>
            </a:extLst>
          </p:cNvPr>
          <p:cNvSpPr>
            <a:spLocks/>
          </p:cNvSpPr>
          <p:nvPr userDrawn="1"/>
        </p:nvSpPr>
        <p:spPr bwMode="auto">
          <a:xfrm>
            <a:off x="9035353"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78" name="Straight Connector 177">
            <a:extLst>
              <a:ext uri="{FF2B5EF4-FFF2-40B4-BE49-F238E27FC236}">
                <a16:creationId xmlns:a16="http://schemas.microsoft.com/office/drawing/2014/main" id="{C279A0F6-AC9B-2EED-55D4-04150A0DD298}"/>
              </a:ext>
              <a:ext uri="{C183D7F6-B498-43B3-948B-1728B52AA6E4}">
                <adec:decorative xmlns:adec="http://schemas.microsoft.com/office/drawing/2017/decorative" val="1"/>
              </a:ext>
            </a:extLst>
          </p:cNvPr>
          <p:cNvCxnSpPr>
            <a:cxnSpLocks/>
          </p:cNvCxnSpPr>
          <p:nvPr userDrawn="1"/>
        </p:nvCxnSpPr>
        <p:spPr>
          <a:xfrm>
            <a:off x="9338897"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 name="Text Placeholder 35">
            <a:extLst>
              <a:ext uri="{FF2B5EF4-FFF2-40B4-BE49-F238E27FC236}">
                <a16:creationId xmlns:a16="http://schemas.microsoft.com/office/drawing/2014/main" id="{101466BB-162A-A0E7-46C6-B3B25BB9A7AB}"/>
              </a:ext>
            </a:extLst>
          </p:cNvPr>
          <p:cNvSpPr>
            <a:spLocks noGrp="1"/>
          </p:cNvSpPr>
          <p:nvPr>
            <p:ph type="body" sz="quarter" idx="23" hasCustomPrompt="1"/>
          </p:nvPr>
        </p:nvSpPr>
        <p:spPr>
          <a:xfrm>
            <a:off x="925512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3" name="Text Placeholder 35">
            <a:extLst>
              <a:ext uri="{FF2B5EF4-FFF2-40B4-BE49-F238E27FC236}">
                <a16:creationId xmlns:a16="http://schemas.microsoft.com/office/drawing/2014/main" id="{605F3648-1819-2A2A-EB5C-2515ED2B6A35}"/>
              </a:ext>
            </a:extLst>
          </p:cNvPr>
          <p:cNvSpPr>
            <a:spLocks noGrp="1"/>
          </p:cNvSpPr>
          <p:nvPr>
            <p:ph type="body" sz="quarter" idx="24" hasCustomPrompt="1"/>
          </p:nvPr>
        </p:nvSpPr>
        <p:spPr>
          <a:xfrm>
            <a:off x="925512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288724949"/>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wo column (Dark)">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4CF64B4-D4DC-A7B6-9717-79474B64A6D7}"/>
              </a:ext>
            </a:extLst>
          </p:cNvPr>
          <p:cNvGrpSpPr/>
          <p:nvPr userDrawn="1"/>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0162699A-E41E-3D99-C301-7FD40EEFA1DC}"/>
                </a:ext>
              </a:extLst>
            </p:cNvPr>
            <p:cNvGrpSpPr/>
            <p:nvPr userDrawn="1"/>
          </p:nvGrpSpPr>
          <p:grpSpPr>
            <a:xfrm>
              <a:off x="0" y="0"/>
              <a:ext cx="12192000" cy="6858000"/>
              <a:chOff x="0" y="0"/>
              <a:chExt cx="12192000" cy="6858000"/>
            </a:xfrm>
          </p:grpSpPr>
          <p:pic>
            <p:nvPicPr>
              <p:cNvPr id="27" name="Picture 26" descr="A picture containing blue, electric blue, majorelle blue, blur&#10;&#10;Description automatically generated">
                <a:extLst>
                  <a:ext uri="{FF2B5EF4-FFF2-40B4-BE49-F238E27FC236}">
                    <a16:creationId xmlns:a16="http://schemas.microsoft.com/office/drawing/2014/main" id="{A3204511-06CD-9FB8-D62E-92A6A5B8752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8" name="Picture 27">
                <a:extLst>
                  <a:ext uri="{FF2B5EF4-FFF2-40B4-BE49-F238E27FC236}">
                    <a16:creationId xmlns:a16="http://schemas.microsoft.com/office/drawing/2014/main" id="{1874DA23-E87F-EB21-9DA1-567E2DD250B1}"/>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20" name="Group 19">
              <a:extLst>
                <a:ext uri="{FF2B5EF4-FFF2-40B4-BE49-F238E27FC236}">
                  <a16:creationId xmlns:a16="http://schemas.microsoft.com/office/drawing/2014/main" id="{C4910108-2A45-B41E-8FB2-6D0159D34903}"/>
                </a:ext>
              </a:extLst>
            </p:cNvPr>
            <p:cNvGrpSpPr/>
            <p:nvPr userDrawn="1"/>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C68EFB24-F60F-F5AA-6C8E-BC7C04D19EF0}"/>
                  </a:ext>
                </a:extLst>
              </p:cNvPr>
              <p:cNvGrpSpPr/>
              <p:nvPr/>
            </p:nvGrpSpPr>
            <p:grpSpPr>
              <a:xfrm>
                <a:off x="0" y="0"/>
                <a:ext cx="12192000" cy="6858002"/>
                <a:chOff x="0" y="0"/>
                <a:chExt cx="12192000" cy="6858002"/>
              </a:xfrm>
            </p:grpSpPr>
            <p:grpSp>
              <p:nvGrpSpPr>
                <p:cNvPr id="23" name="Group 22">
                  <a:extLst>
                    <a:ext uri="{FF2B5EF4-FFF2-40B4-BE49-F238E27FC236}">
                      <a16:creationId xmlns:a16="http://schemas.microsoft.com/office/drawing/2014/main" id="{680074C0-BD53-CF32-689D-7BA851ABBD9C}"/>
                    </a:ext>
                  </a:extLst>
                </p:cNvPr>
                <p:cNvGrpSpPr/>
                <p:nvPr/>
              </p:nvGrpSpPr>
              <p:grpSpPr>
                <a:xfrm>
                  <a:off x="9486900" y="0"/>
                  <a:ext cx="2705100" cy="694583"/>
                  <a:chOff x="9486900" y="0"/>
                  <a:chExt cx="2705100" cy="694583"/>
                </a:xfrm>
              </p:grpSpPr>
              <p:sp>
                <p:nvSpPr>
                  <p:cNvPr id="25" name="Freeform: Shape 24">
                    <a:extLst>
                      <a:ext uri="{FF2B5EF4-FFF2-40B4-BE49-F238E27FC236}">
                        <a16:creationId xmlns:a16="http://schemas.microsoft.com/office/drawing/2014/main" id="{F950FDD7-AD9B-D725-7E89-A366FA792F6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26" name="Freeform: Shape 25">
                    <a:extLst>
                      <a:ext uri="{FF2B5EF4-FFF2-40B4-BE49-F238E27FC236}">
                        <a16:creationId xmlns:a16="http://schemas.microsoft.com/office/drawing/2014/main" id="{3F604E45-E19D-AC53-13C6-8283B7F14ED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24" name="Freeform: Shape 23">
                  <a:extLst>
                    <a:ext uri="{FF2B5EF4-FFF2-40B4-BE49-F238E27FC236}">
                      <a16:creationId xmlns:a16="http://schemas.microsoft.com/office/drawing/2014/main" id="{30481EC0-46B9-821A-C656-F5D7DA12FA8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22" name="Freeform: Shape 21">
                <a:extLst>
                  <a:ext uri="{FF2B5EF4-FFF2-40B4-BE49-F238E27FC236}">
                    <a16:creationId xmlns:a16="http://schemas.microsoft.com/office/drawing/2014/main" id="{347EBAF1-FAAA-527D-5283-95F6013C354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2" name="Rectangle: Rounded Corners 1">
            <a:extLst>
              <a:ext uri="{FF2B5EF4-FFF2-40B4-BE49-F238E27FC236}">
                <a16:creationId xmlns:a16="http://schemas.microsoft.com/office/drawing/2014/main" id="{50F1D4C8-2BD0-D272-D4F8-7DF1015BA6A6}"/>
              </a:ext>
            </a:extLst>
          </p:cNvPr>
          <p:cNvSpPr/>
          <p:nvPr userDrawn="1"/>
        </p:nvSpPr>
        <p:spPr bwMode="auto">
          <a:xfrm>
            <a:off x="6187379" y="1468398"/>
            <a:ext cx="5422009"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12" name="Rectangle: Rounded Corners 11">
            <a:extLst>
              <a:ext uri="{FF2B5EF4-FFF2-40B4-BE49-F238E27FC236}">
                <a16:creationId xmlns:a16="http://schemas.microsoft.com/office/drawing/2014/main" id="{B1633E4A-EC5B-28FD-A53F-2CB0C31C79F8}"/>
              </a:ext>
            </a:extLst>
          </p:cNvPr>
          <p:cNvSpPr>
            <a:spLocks/>
          </p:cNvSpPr>
          <p:nvPr userDrawn="1"/>
        </p:nvSpPr>
        <p:spPr bwMode="auto">
          <a:xfrm>
            <a:off x="588263" y="1468398"/>
            <a:ext cx="5422009"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36" name="Title 1">
            <a:extLst>
              <a:ext uri="{FF2B5EF4-FFF2-40B4-BE49-F238E27FC236}">
                <a16:creationId xmlns:a16="http://schemas.microsoft.com/office/drawing/2014/main" id="{4ACE9511-F52F-C8FA-AC9A-3B9853AE68A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8" name="Text Placeholder 35">
            <a:extLst>
              <a:ext uri="{FF2B5EF4-FFF2-40B4-BE49-F238E27FC236}">
                <a16:creationId xmlns:a16="http://schemas.microsoft.com/office/drawing/2014/main" id="{4FA88EA3-74D7-8F20-6CF6-1D7ECD77907B}"/>
              </a:ext>
            </a:extLst>
          </p:cNvPr>
          <p:cNvSpPr>
            <a:spLocks noGrp="1"/>
          </p:cNvSpPr>
          <p:nvPr>
            <p:ph type="body" sz="quarter" idx="15" hasCustomPrompt="1"/>
          </p:nvPr>
        </p:nvSpPr>
        <p:spPr>
          <a:xfrm>
            <a:off x="808037"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AC594335-3B13-B806-DFDD-359BB86A058D}"/>
              </a:ext>
            </a:extLst>
          </p:cNvPr>
          <p:cNvSpPr>
            <a:spLocks noGrp="1"/>
          </p:cNvSpPr>
          <p:nvPr>
            <p:ph type="body" sz="quarter" idx="18" hasCustomPrompt="1"/>
          </p:nvPr>
        </p:nvSpPr>
        <p:spPr>
          <a:xfrm>
            <a:off x="808037"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8120E1C-AC93-18FA-B5C2-EFD0079C7625}"/>
              </a:ext>
            </a:extLst>
          </p:cNvPr>
          <p:cNvSpPr>
            <a:spLocks noGrp="1"/>
          </p:cNvSpPr>
          <p:nvPr>
            <p:ph type="body" sz="quarter" idx="19" hasCustomPrompt="1"/>
          </p:nvPr>
        </p:nvSpPr>
        <p:spPr>
          <a:xfrm>
            <a:off x="6415031"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73FD95C-796C-89AE-3D79-365AFA8DBB7B}"/>
              </a:ext>
            </a:extLst>
          </p:cNvPr>
          <p:cNvSpPr>
            <a:spLocks noGrp="1"/>
          </p:cNvSpPr>
          <p:nvPr>
            <p:ph type="body" sz="quarter" idx="20" hasCustomPrompt="1"/>
          </p:nvPr>
        </p:nvSpPr>
        <p:spPr>
          <a:xfrm>
            <a:off x="6415031"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2250751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hree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EECA4E-B9EB-D9C8-1ABC-FD64965DBEC7}"/>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E20A3CF1-986C-3BCD-E38A-1429ADF84139}"/>
                </a:ext>
              </a:extLst>
            </p:cNvPr>
            <p:cNvGrpSpPr/>
            <p:nvPr userDrawn="1"/>
          </p:nvGrpSpPr>
          <p:grpSpPr>
            <a:xfrm>
              <a:off x="0" y="0"/>
              <a:ext cx="12192000" cy="6858000"/>
              <a:chOff x="0" y="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D4F23F2A-1483-5583-0E1D-4847763F37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D7F6BC42-9F1D-22FC-BD32-5BC631E6568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7" name="Group 6">
              <a:extLst>
                <a:ext uri="{FF2B5EF4-FFF2-40B4-BE49-F238E27FC236}">
                  <a16:creationId xmlns:a16="http://schemas.microsoft.com/office/drawing/2014/main" id="{3434FE91-CE20-01C8-9536-6BE178B69EDC}"/>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9137EAF7-3DFA-C027-7D94-880C5F8A7B03}"/>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93602F9D-37ED-18BC-8690-C680F2ADADD5}"/>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13827D9D-FDAE-654B-99F4-B4BD9949703E}"/>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3" name="Freeform: Shape 12">
                    <a:extLst>
                      <a:ext uri="{FF2B5EF4-FFF2-40B4-BE49-F238E27FC236}">
                        <a16:creationId xmlns:a16="http://schemas.microsoft.com/office/drawing/2014/main" id="{D284C2E7-31F2-BDC7-FD30-5CAB270FEDB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F861AD9C-4BB6-6D4B-2394-6E3128FB61D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3AAEDB83-BA32-82E2-475A-BE96D7FF51F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27" name="Rectangle: Rounded Corners 26">
            <a:extLst>
              <a:ext uri="{FF2B5EF4-FFF2-40B4-BE49-F238E27FC236}">
                <a16:creationId xmlns:a16="http://schemas.microsoft.com/office/drawing/2014/main" id="{C65F0DE8-A097-3207-ACD8-D398CB97192D}"/>
              </a:ext>
            </a:extLst>
          </p:cNvPr>
          <p:cNvSpPr>
            <a:spLocks/>
          </p:cNvSpPr>
          <p:nvPr userDrawn="1"/>
        </p:nvSpPr>
        <p:spPr bwMode="auto">
          <a:xfrm>
            <a:off x="8126412"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30" name="Rectangle: Rounded Corners 29">
            <a:extLst>
              <a:ext uri="{FF2B5EF4-FFF2-40B4-BE49-F238E27FC236}">
                <a16:creationId xmlns:a16="http://schemas.microsoft.com/office/drawing/2014/main" id="{8E74AD7E-C87C-8DC8-3068-5C3AFB0E2782}"/>
              </a:ext>
            </a:extLst>
          </p:cNvPr>
          <p:cNvSpPr>
            <a:spLocks/>
          </p:cNvSpPr>
          <p:nvPr userDrawn="1"/>
        </p:nvSpPr>
        <p:spPr bwMode="auto">
          <a:xfrm>
            <a:off x="4369132"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0" name="Rectangle: Rounded Corners 49">
            <a:extLst>
              <a:ext uri="{FF2B5EF4-FFF2-40B4-BE49-F238E27FC236}">
                <a16:creationId xmlns:a16="http://schemas.microsoft.com/office/drawing/2014/main" id="{15583138-21D4-8B1D-6BB4-BFDA0882BDE2}"/>
              </a:ext>
            </a:extLst>
          </p:cNvPr>
          <p:cNvSpPr>
            <a:spLocks/>
          </p:cNvSpPr>
          <p:nvPr userDrawn="1"/>
        </p:nvSpPr>
        <p:spPr bwMode="auto">
          <a:xfrm>
            <a:off x="588264"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1" name="Text Placeholder 35">
            <a:extLst>
              <a:ext uri="{FF2B5EF4-FFF2-40B4-BE49-F238E27FC236}">
                <a16:creationId xmlns:a16="http://schemas.microsoft.com/office/drawing/2014/main" id="{BA9EC78B-7623-7E3F-5561-C9C308EE422D}"/>
              </a:ext>
            </a:extLst>
          </p:cNvPr>
          <p:cNvSpPr>
            <a:spLocks noGrp="1"/>
          </p:cNvSpPr>
          <p:nvPr>
            <p:ph type="body" sz="quarter" idx="15" hasCustomPrompt="1"/>
          </p:nvPr>
        </p:nvSpPr>
        <p:spPr>
          <a:xfrm>
            <a:off x="808037"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Text Placeholder 35">
            <a:extLst>
              <a:ext uri="{FF2B5EF4-FFF2-40B4-BE49-F238E27FC236}">
                <a16:creationId xmlns:a16="http://schemas.microsoft.com/office/drawing/2014/main" id="{2D805644-012F-CE9C-EE58-81411CF8625C}"/>
              </a:ext>
            </a:extLst>
          </p:cNvPr>
          <p:cNvSpPr>
            <a:spLocks noGrp="1"/>
          </p:cNvSpPr>
          <p:nvPr>
            <p:ph type="body" sz="quarter" idx="18" hasCustomPrompt="1"/>
          </p:nvPr>
        </p:nvSpPr>
        <p:spPr>
          <a:xfrm>
            <a:off x="808037"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Text Placeholder 35">
            <a:extLst>
              <a:ext uri="{FF2B5EF4-FFF2-40B4-BE49-F238E27FC236}">
                <a16:creationId xmlns:a16="http://schemas.microsoft.com/office/drawing/2014/main" id="{37F74FEE-022D-CFCB-12DF-E632F4732B7A}"/>
              </a:ext>
            </a:extLst>
          </p:cNvPr>
          <p:cNvSpPr>
            <a:spLocks noGrp="1"/>
          </p:cNvSpPr>
          <p:nvPr>
            <p:ph type="body" sz="quarter" idx="19" hasCustomPrompt="1"/>
          </p:nvPr>
        </p:nvSpPr>
        <p:spPr>
          <a:xfrm>
            <a:off x="458890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Text Placeholder 35">
            <a:extLst>
              <a:ext uri="{FF2B5EF4-FFF2-40B4-BE49-F238E27FC236}">
                <a16:creationId xmlns:a16="http://schemas.microsoft.com/office/drawing/2014/main" id="{CBB72430-2878-2057-1C09-19632B3FFC1C}"/>
              </a:ext>
            </a:extLst>
          </p:cNvPr>
          <p:cNvSpPr>
            <a:spLocks noGrp="1"/>
          </p:cNvSpPr>
          <p:nvPr>
            <p:ph type="body" sz="quarter" idx="20" hasCustomPrompt="1"/>
          </p:nvPr>
        </p:nvSpPr>
        <p:spPr>
          <a:xfrm>
            <a:off x="458890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Text Placeholder 35">
            <a:extLst>
              <a:ext uri="{FF2B5EF4-FFF2-40B4-BE49-F238E27FC236}">
                <a16:creationId xmlns:a16="http://schemas.microsoft.com/office/drawing/2014/main" id="{58EAB592-0EAB-6E24-B7C0-D5620A42679A}"/>
              </a:ext>
            </a:extLst>
          </p:cNvPr>
          <p:cNvSpPr>
            <a:spLocks noGrp="1"/>
          </p:cNvSpPr>
          <p:nvPr>
            <p:ph type="body" sz="quarter" idx="21" hasCustomPrompt="1"/>
          </p:nvPr>
        </p:nvSpPr>
        <p:spPr>
          <a:xfrm>
            <a:off x="834618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C8C0A4A9-C502-C467-1D73-0218C36E1511}"/>
              </a:ext>
            </a:extLst>
          </p:cNvPr>
          <p:cNvSpPr>
            <a:spLocks noGrp="1"/>
          </p:cNvSpPr>
          <p:nvPr>
            <p:ph type="body" sz="quarter" idx="22" hasCustomPrompt="1"/>
          </p:nvPr>
        </p:nvSpPr>
        <p:spPr>
          <a:xfrm>
            <a:off x="834618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50563563"/>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Four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E25E5F6-0AEA-0505-0D11-F2644B1518A8}"/>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A8E8FE9A-05B1-DA6B-09C0-278C69273AED}"/>
                </a:ext>
              </a:extLst>
            </p:cNvPr>
            <p:cNvGrpSpPr/>
            <p:nvPr userDrawn="1"/>
          </p:nvGrpSpPr>
          <p:grpSpPr>
            <a:xfrm>
              <a:off x="0" y="0"/>
              <a:ext cx="12192000" cy="6858000"/>
              <a:chOff x="0" y="0"/>
              <a:chExt cx="12192000" cy="6858000"/>
            </a:xfrm>
          </p:grpSpPr>
          <p:pic>
            <p:nvPicPr>
              <p:cNvPr id="18" name="Picture 17" descr="A picture containing blue, electric blue, majorelle blue, blur&#10;&#10;Description automatically generated">
                <a:extLst>
                  <a:ext uri="{FF2B5EF4-FFF2-40B4-BE49-F238E27FC236}">
                    <a16:creationId xmlns:a16="http://schemas.microsoft.com/office/drawing/2014/main" id="{FF1A8D6C-5318-00BA-B122-BCA77224AAA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D154F6F-16FA-5C21-74B5-40BC23D376F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1" name="Group 10">
              <a:extLst>
                <a:ext uri="{FF2B5EF4-FFF2-40B4-BE49-F238E27FC236}">
                  <a16:creationId xmlns:a16="http://schemas.microsoft.com/office/drawing/2014/main" id="{ACE18651-1CF2-EDC9-DB80-FA60F621080E}"/>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0274335D-C269-B393-B63F-74B93783DB12}"/>
                  </a:ext>
                </a:extLst>
              </p:cNvPr>
              <p:cNvGrpSpPr/>
              <p:nvPr/>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BA39D17A-A06B-C9B8-A137-3CEAD9585596}"/>
                    </a:ext>
                  </a:extLst>
                </p:cNvPr>
                <p:cNvGrpSpPr/>
                <p:nvPr/>
              </p:nvGrpSpPr>
              <p:grpSpPr>
                <a:xfrm>
                  <a:off x="9486900" y="0"/>
                  <a:ext cx="2705100" cy="694583"/>
                  <a:chOff x="9486900" y="0"/>
                  <a:chExt cx="2705100" cy="694583"/>
                </a:xfrm>
              </p:grpSpPr>
              <p:sp>
                <p:nvSpPr>
                  <p:cNvPr id="16" name="Freeform: Shape 15">
                    <a:extLst>
                      <a:ext uri="{FF2B5EF4-FFF2-40B4-BE49-F238E27FC236}">
                        <a16:creationId xmlns:a16="http://schemas.microsoft.com/office/drawing/2014/main" id="{C6D399D2-8778-9805-B41A-B64E2897B0E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7" name="Freeform: Shape 16">
                    <a:extLst>
                      <a:ext uri="{FF2B5EF4-FFF2-40B4-BE49-F238E27FC236}">
                        <a16:creationId xmlns:a16="http://schemas.microsoft.com/office/drawing/2014/main" id="{043E795E-1F42-D6D4-8D18-6E3F8C8677D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5" name="Freeform: Shape 14">
                  <a:extLst>
                    <a:ext uri="{FF2B5EF4-FFF2-40B4-BE49-F238E27FC236}">
                      <a16:creationId xmlns:a16="http://schemas.microsoft.com/office/drawing/2014/main" id="{E9989B36-8C0B-2987-3FC4-7EA39C9B1DC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3" name="Freeform: Shape 12">
                <a:extLst>
                  <a:ext uri="{FF2B5EF4-FFF2-40B4-BE49-F238E27FC236}">
                    <a16:creationId xmlns:a16="http://schemas.microsoft.com/office/drawing/2014/main" id="{97FCC91B-EB4E-224D-8426-17323DCFF02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3" name="Rectangle: Rounded Corners 2">
            <a:extLst>
              <a:ext uri="{FF2B5EF4-FFF2-40B4-BE49-F238E27FC236}">
                <a16:creationId xmlns:a16="http://schemas.microsoft.com/office/drawing/2014/main" id="{4BF0B8FD-063C-3A7B-A4E6-67D44CD479A3}"/>
              </a:ext>
            </a:extLst>
          </p:cNvPr>
          <p:cNvSpPr>
            <a:spLocks/>
          </p:cNvSpPr>
          <p:nvPr userDrawn="1"/>
        </p:nvSpPr>
        <p:spPr bwMode="auto">
          <a:xfrm>
            <a:off x="9035353"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6" name="Rectangle: Rounded Corners 5">
            <a:extLst>
              <a:ext uri="{FF2B5EF4-FFF2-40B4-BE49-F238E27FC236}">
                <a16:creationId xmlns:a16="http://schemas.microsoft.com/office/drawing/2014/main" id="{A833213E-9BF5-BA4E-112F-52147760EEB3}"/>
              </a:ext>
            </a:extLst>
          </p:cNvPr>
          <p:cNvSpPr>
            <a:spLocks/>
          </p:cNvSpPr>
          <p:nvPr userDrawn="1"/>
        </p:nvSpPr>
        <p:spPr bwMode="auto">
          <a:xfrm>
            <a:off x="6219656"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8" name="Rectangle: Rounded Corners 7">
            <a:extLst>
              <a:ext uri="{FF2B5EF4-FFF2-40B4-BE49-F238E27FC236}">
                <a16:creationId xmlns:a16="http://schemas.microsoft.com/office/drawing/2014/main" id="{18EBD841-657D-91D3-BF43-9B89FDE015CF}"/>
              </a:ext>
            </a:extLst>
          </p:cNvPr>
          <p:cNvSpPr>
            <a:spLocks/>
          </p:cNvSpPr>
          <p:nvPr userDrawn="1"/>
        </p:nvSpPr>
        <p:spPr bwMode="auto">
          <a:xfrm>
            <a:off x="3403960"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10" name="Rectangle: Rounded Corners 9">
            <a:extLst>
              <a:ext uri="{FF2B5EF4-FFF2-40B4-BE49-F238E27FC236}">
                <a16:creationId xmlns:a16="http://schemas.microsoft.com/office/drawing/2014/main" id="{37F6AD40-0DB2-B214-C350-1EB5C4F77F2E}"/>
              </a:ext>
            </a:extLst>
          </p:cNvPr>
          <p:cNvSpPr>
            <a:spLocks/>
          </p:cNvSpPr>
          <p:nvPr userDrawn="1"/>
        </p:nvSpPr>
        <p:spPr bwMode="auto">
          <a:xfrm>
            <a:off x="588264"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5" name="Text Placeholder 35">
            <a:extLst>
              <a:ext uri="{FF2B5EF4-FFF2-40B4-BE49-F238E27FC236}">
                <a16:creationId xmlns:a16="http://schemas.microsoft.com/office/drawing/2014/main" id="{AFA23AD8-1779-5172-D9D8-11AF2111C463}"/>
              </a:ext>
            </a:extLst>
          </p:cNvPr>
          <p:cNvSpPr>
            <a:spLocks noGrp="1"/>
          </p:cNvSpPr>
          <p:nvPr>
            <p:ph type="body" sz="quarter" idx="15" hasCustomPrompt="1"/>
          </p:nvPr>
        </p:nvSpPr>
        <p:spPr>
          <a:xfrm>
            <a:off x="80803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F4247A13-5444-462B-53A0-7A9C693014D8}"/>
              </a:ext>
            </a:extLst>
          </p:cNvPr>
          <p:cNvSpPr>
            <a:spLocks noGrp="1"/>
          </p:cNvSpPr>
          <p:nvPr>
            <p:ph type="body" sz="quarter" idx="18" hasCustomPrompt="1"/>
          </p:nvPr>
        </p:nvSpPr>
        <p:spPr>
          <a:xfrm>
            <a:off x="80803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2" name="Text Placeholder 35">
            <a:extLst>
              <a:ext uri="{FF2B5EF4-FFF2-40B4-BE49-F238E27FC236}">
                <a16:creationId xmlns:a16="http://schemas.microsoft.com/office/drawing/2014/main" id="{CE721595-2ED2-E944-5DCB-7B9C2E6636FB}"/>
              </a:ext>
            </a:extLst>
          </p:cNvPr>
          <p:cNvSpPr>
            <a:spLocks noGrp="1"/>
          </p:cNvSpPr>
          <p:nvPr>
            <p:ph type="body" sz="quarter" idx="19" hasCustomPrompt="1"/>
          </p:nvPr>
        </p:nvSpPr>
        <p:spPr>
          <a:xfrm>
            <a:off x="3623734"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7FA1A1FC-2E4F-9436-00E5-9A7A7D8686C2}"/>
              </a:ext>
            </a:extLst>
          </p:cNvPr>
          <p:cNvSpPr>
            <a:spLocks noGrp="1"/>
          </p:cNvSpPr>
          <p:nvPr>
            <p:ph type="body" sz="quarter" idx="20" hasCustomPrompt="1"/>
          </p:nvPr>
        </p:nvSpPr>
        <p:spPr>
          <a:xfrm>
            <a:off x="3623734"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772EC14D-09D6-AEE1-6D24-94DC4AE366E6}"/>
              </a:ext>
            </a:extLst>
          </p:cNvPr>
          <p:cNvSpPr>
            <a:spLocks noGrp="1"/>
          </p:cNvSpPr>
          <p:nvPr>
            <p:ph type="body" sz="quarter" idx="21" hasCustomPrompt="1"/>
          </p:nvPr>
        </p:nvSpPr>
        <p:spPr>
          <a:xfrm>
            <a:off x="6439430"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8" name="Text Placeholder 35">
            <a:extLst>
              <a:ext uri="{FF2B5EF4-FFF2-40B4-BE49-F238E27FC236}">
                <a16:creationId xmlns:a16="http://schemas.microsoft.com/office/drawing/2014/main" id="{07BECBB1-8FF8-5336-42F4-E74763C3E6F2}"/>
              </a:ext>
            </a:extLst>
          </p:cNvPr>
          <p:cNvSpPr>
            <a:spLocks noGrp="1"/>
          </p:cNvSpPr>
          <p:nvPr>
            <p:ph type="body" sz="quarter" idx="22" hasCustomPrompt="1"/>
          </p:nvPr>
        </p:nvSpPr>
        <p:spPr>
          <a:xfrm>
            <a:off x="6439430"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7" name="Text Placeholder 35">
            <a:extLst>
              <a:ext uri="{FF2B5EF4-FFF2-40B4-BE49-F238E27FC236}">
                <a16:creationId xmlns:a16="http://schemas.microsoft.com/office/drawing/2014/main" id="{03328BDA-C735-F0B0-70D8-458639AF7AEF}"/>
              </a:ext>
            </a:extLst>
          </p:cNvPr>
          <p:cNvSpPr>
            <a:spLocks noGrp="1"/>
          </p:cNvSpPr>
          <p:nvPr>
            <p:ph type="body" sz="quarter" idx="23" hasCustomPrompt="1"/>
          </p:nvPr>
        </p:nvSpPr>
        <p:spPr>
          <a:xfrm>
            <a:off x="925512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1B221C5F-FF34-FD3C-A4DB-5B8FA4FD17D6}"/>
              </a:ext>
            </a:extLst>
          </p:cNvPr>
          <p:cNvSpPr>
            <a:spLocks noGrp="1"/>
          </p:cNvSpPr>
          <p:nvPr>
            <p:ph type="body" sz="quarter" idx="24" hasCustomPrompt="1"/>
          </p:nvPr>
        </p:nvSpPr>
        <p:spPr>
          <a:xfrm>
            <a:off x="925512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0211357"/>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Five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98704B8-7D4D-46C4-5DA3-EE1079DD52F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6CFB0BD3-BB5D-83A0-1535-267C3E734D4B}"/>
                </a:ext>
              </a:extLst>
            </p:cNvPr>
            <p:cNvGrpSpPr/>
            <p:nvPr userDrawn="1"/>
          </p:nvGrpSpPr>
          <p:grpSpPr>
            <a:xfrm>
              <a:off x="0" y="0"/>
              <a:ext cx="12192000" cy="6858000"/>
              <a:chOff x="0" y="0"/>
              <a:chExt cx="12192000" cy="6858000"/>
            </a:xfrm>
          </p:grpSpPr>
          <p:pic>
            <p:nvPicPr>
              <p:cNvPr id="15" name="Picture 14" descr="A picture containing blue, electric blue, majorelle blue, blur&#10;&#10;Description automatically generated">
                <a:extLst>
                  <a:ext uri="{FF2B5EF4-FFF2-40B4-BE49-F238E27FC236}">
                    <a16:creationId xmlns:a16="http://schemas.microsoft.com/office/drawing/2014/main" id="{B789AF27-044C-032C-26AA-431A890743C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9989FD12-7505-3B73-B3AA-77DF9A836DC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7" name="Group 6">
              <a:extLst>
                <a:ext uri="{FF2B5EF4-FFF2-40B4-BE49-F238E27FC236}">
                  <a16:creationId xmlns:a16="http://schemas.microsoft.com/office/drawing/2014/main" id="{333EFD97-BBC6-D0FA-30FC-DB8F2CB8D7CB}"/>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FE500D7-F3F2-C9A5-BAE4-B065E3FFDBCA}"/>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4F355B30-451A-47CA-24D6-770E6358347E}"/>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A5B19C6B-48BC-9BAE-54C0-0108DCFE48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4" name="Freeform: Shape 13">
                    <a:extLst>
                      <a:ext uri="{FF2B5EF4-FFF2-40B4-BE49-F238E27FC236}">
                        <a16:creationId xmlns:a16="http://schemas.microsoft.com/office/drawing/2014/main" id="{981CB587-7831-F3B6-5847-6F2D7C41B151}"/>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F38A1A69-3CF0-38E3-DD15-B6B64633F0AC}"/>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EFEC32C0-8ED1-4F54-D798-1044AD4DCCC3}"/>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13" name="Rectangle: Rounded Corners 12">
            <a:extLst>
              <a:ext uri="{FF2B5EF4-FFF2-40B4-BE49-F238E27FC236}">
                <a16:creationId xmlns:a16="http://schemas.microsoft.com/office/drawing/2014/main" id="{DA8AB36B-9DE2-43F6-AAF9-30CC30B4DA1A}"/>
              </a:ext>
              <a:ext uri="{C183D7F6-B498-43B3-948B-1728B52AA6E4}">
                <adec:decorative xmlns:adec="http://schemas.microsoft.com/office/drawing/2017/decorative" val="1"/>
              </a:ext>
            </a:extLst>
          </p:cNvPr>
          <p:cNvSpPr/>
          <p:nvPr userDrawn="1"/>
        </p:nvSpPr>
        <p:spPr bwMode="auto">
          <a:xfrm>
            <a:off x="580586" y="2477731"/>
            <a:ext cx="11030828" cy="3779977"/>
          </a:xfrm>
          <a:prstGeom prst="roundRect">
            <a:avLst>
              <a:gd name="adj" fmla="val 855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20" name="Straight Connector 19">
            <a:extLst>
              <a:ext uri="{FF2B5EF4-FFF2-40B4-BE49-F238E27FC236}">
                <a16:creationId xmlns:a16="http://schemas.microsoft.com/office/drawing/2014/main" id="{15C60D05-7E7E-DAD7-1716-93FF5D735CD4}"/>
              </a:ext>
              <a:ext uri="{C183D7F6-B498-43B3-948B-1728B52AA6E4}">
                <adec:decorative xmlns:adec="http://schemas.microsoft.com/office/drawing/2017/decorative" val="1"/>
              </a:ext>
            </a:extLst>
          </p:cNvPr>
          <p:cNvCxnSpPr>
            <a:cxnSpLocks/>
          </p:cNvCxnSpPr>
          <p:nvPr/>
        </p:nvCxnSpPr>
        <p:spPr>
          <a:xfrm>
            <a:off x="7166944"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17E78F8-373B-05B1-B73A-73AD8CB6C3E7}"/>
              </a:ext>
              <a:ext uri="{C183D7F6-B498-43B3-948B-1728B52AA6E4}">
                <adec:decorative xmlns:adec="http://schemas.microsoft.com/office/drawing/2017/decorative" val="1"/>
              </a:ext>
            </a:extLst>
          </p:cNvPr>
          <p:cNvCxnSpPr>
            <a:cxnSpLocks/>
          </p:cNvCxnSpPr>
          <p:nvPr/>
        </p:nvCxnSpPr>
        <p:spPr>
          <a:xfrm>
            <a:off x="9351400"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851ADC5-D057-0A07-BB87-F7194BBDEFA0}"/>
              </a:ext>
              <a:ext uri="{C183D7F6-B498-43B3-948B-1728B52AA6E4}">
                <adec:decorative xmlns:adec="http://schemas.microsoft.com/office/drawing/2017/decorative" val="1"/>
              </a:ext>
            </a:extLst>
          </p:cNvPr>
          <p:cNvCxnSpPr>
            <a:cxnSpLocks/>
          </p:cNvCxnSpPr>
          <p:nvPr/>
        </p:nvCxnSpPr>
        <p:spPr>
          <a:xfrm>
            <a:off x="2798032"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0CD0BC-C87D-A7AC-561F-E381B3CD281C}"/>
              </a:ext>
              <a:ext uri="{C183D7F6-B498-43B3-948B-1728B52AA6E4}">
                <adec:decorative xmlns:adec="http://schemas.microsoft.com/office/drawing/2017/decorative" val="1"/>
              </a:ext>
            </a:extLst>
          </p:cNvPr>
          <p:cNvCxnSpPr>
            <a:cxnSpLocks/>
          </p:cNvCxnSpPr>
          <p:nvPr/>
        </p:nvCxnSpPr>
        <p:spPr>
          <a:xfrm>
            <a:off x="4982488"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Freeform: Shape 80">
            <a:extLst>
              <a:ext uri="{FF2B5EF4-FFF2-40B4-BE49-F238E27FC236}">
                <a16:creationId xmlns:a16="http://schemas.microsoft.com/office/drawing/2014/main" id="{F3519852-7744-5930-DEA4-644EC694E8E2}"/>
              </a:ext>
              <a:ext uri="{C183D7F6-B498-43B3-948B-1728B52AA6E4}">
                <adec:decorative xmlns:adec="http://schemas.microsoft.com/office/drawing/2017/decorative" val="1"/>
              </a:ext>
            </a:extLst>
          </p:cNvPr>
          <p:cNvSpPr/>
          <p:nvPr userDrawn="1"/>
        </p:nvSpPr>
        <p:spPr bwMode="auto">
          <a:xfrm>
            <a:off x="677174" y="6179921"/>
            <a:ext cx="10837652" cy="77787"/>
          </a:xfrm>
          <a:custGeom>
            <a:avLst/>
            <a:gdLst>
              <a:gd name="connsiteX0" fmla="*/ 0 w 10837652"/>
              <a:gd name="connsiteY0" fmla="*/ 0 h 77787"/>
              <a:gd name="connsiteX1" fmla="*/ 10837652 w 10837652"/>
              <a:gd name="connsiteY1" fmla="*/ 0 h 77787"/>
              <a:gd name="connsiteX2" fmla="*/ 10804354 w 10837652"/>
              <a:gd name="connsiteY2" fmla="*/ 27474 h 77787"/>
              <a:gd name="connsiteX3" fmla="*/ 10639640 w 10837652"/>
              <a:gd name="connsiteY3" fmla="*/ 77787 h 77787"/>
              <a:gd name="connsiteX4" fmla="*/ 198012 w 10837652"/>
              <a:gd name="connsiteY4" fmla="*/ 77787 h 77787"/>
              <a:gd name="connsiteX5" fmla="*/ 33299 w 10837652"/>
              <a:gd name="connsiteY5" fmla="*/ 27474 h 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7652" h="77787">
                <a:moveTo>
                  <a:pt x="0" y="0"/>
                </a:moveTo>
                <a:lnTo>
                  <a:pt x="10837652" y="0"/>
                </a:lnTo>
                <a:lnTo>
                  <a:pt x="10804354" y="27474"/>
                </a:lnTo>
                <a:cubicBezTo>
                  <a:pt x="10757335" y="59239"/>
                  <a:pt x="10700654" y="77787"/>
                  <a:pt x="10639640" y="77787"/>
                </a:cubicBezTo>
                <a:lnTo>
                  <a:pt x="198012" y="77787"/>
                </a:lnTo>
                <a:cubicBezTo>
                  <a:pt x="136999" y="77787"/>
                  <a:pt x="80317" y="59239"/>
                  <a:pt x="33299" y="27474"/>
                </a:cubicBezTo>
                <a:close/>
              </a:path>
            </a:pathLst>
          </a:cu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a:solidFill>
                <a:srgbClr val="FFFFFF"/>
              </a:solidFill>
              <a:ea typeface="Segoe UI" pitchFamily="34" charset="0"/>
              <a:cs typeface="Segoe UI" pitchFamily="34" charset="0"/>
            </a:endParaRPr>
          </a:p>
        </p:txBody>
      </p:sp>
      <p:sp>
        <p:nvSpPr>
          <p:cNvPr id="59" name="Title 1">
            <a:extLst>
              <a:ext uri="{FF2B5EF4-FFF2-40B4-BE49-F238E27FC236}">
                <a16:creationId xmlns:a16="http://schemas.microsoft.com/office/drawing/2014/main" id="{85898F71-11FD-517B-3F6C-CA86282F6C99}"/>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userDrawn="1">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2" name="Text Placeholder 35">
            <a:extLst>
              <a:ext uri="{FF2B5EF4-FFF2-40B4-BE49-F238E27FC236}">
                <a16:creationId xmlns:a16="http://schemas.microsoft.com/office/drawing/2014/main" id="{F7CC93B6-DC95-01DC-5602-898D1753FC8F}"/>
              </a:ext>
            </a:extLst>
          </p:cNvPr>
          <p:cNvSpPr>
            <a:spLocks noGrp="1"/>
          </p:cNvSpPr>
          <p:nvPr userDrawn="1">
            <p:ph type="body" sz="quarter" idx="15" hasCustomPrompt="1"/>
          </p:nvPr>
        </p:nvSpPr>
        <p:spPr>
          <a:xfrm>
            <a:off x="721982"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Text Placeholder 35">
            <a:extLst>
              <a:ext uri="{FF2B5EF4-FFF2-40B4-BE49-F238E27FC236}">
                <a16:creationId xmlns:a16="http://schemas.microsoft.com/office/drawing/2014/main" id="{B35E4FBE-90B1-5FB4-0A9F-A3B574F1BB25}"/>
              </a:ext>
            </a:extLst>
          </p:cNvPr>
          <p:cNvSpPr>
            <a:spLocks noGrp="1"/>
          </p:cNvSpPr>
          <p:nvPr userDrawn="1">
            <p:ph type="body" sz="quarter" idx="18" hasCustomPrompt="1"/>
          </p:nvPr>
        </p:nvSpPr>
        <p:spPr>
          <a:xfrm>
            <a:off x="721982"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4" name="Text Placeholder 35">
            <a:extLst>
              <a:ext uri="{FF2B5EF4-FFF2-40B4-BE49-F238E27FC236}">
                <a16:creationId xmlns:a16="http://schemas.microsoft.com/office/drawing/2014/main" id="{AD003D60-8790-D35A-3C5B-4B041FC218B3}"/>
              </a:ext>
            </a:extLst>
          </p:cNvPr>
          <p:cNvSpPr>
            <a:spLocks noGrp="1"/>
          </p:cNvSpPr>
          <p:nvPr userDrawn="1">
            <p:ph type="body" sz="quarter" idx="19" hasCustomPrompt="1"/>
          </p:nvPr>
        </p:nvSpPr>
        <p:spPr>
          <a:xfrm>
            <a:off x="2937019"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5D8ED371-8D6A-250E-3863-5350BC5E7E82}"/>
              </a:ext>
            </a:extLst>
          </p:cNvPr>
          <p:cNvSpPr>
            <a:spLocks noGrp="1"/>
          </p:cNvSpPr>
          <p:nvPr userDrawn="1">
            <p:ph type="body" sz="quarter" idx="20" hasCustomPrompt="1"/>
          </p:nvPr>
        </p:nvSpPr>
        <p:spPr>
          <a:xfrm>
            <a:off x="2906438"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6" name="Text Placeholder 35">
            <a:extLst>
              <a:ext uri="{FF2B5EF4-FFF2-40B4-BE49-F238E27FC236}">
                <a16:creationId xmlns:a16="http://schemas.microsoft.com/office/drawing/2014/main" id="{9D1EB66A-CFA0-2E5D-D3F7-6DF2592C83F2}"/>
              </a:ext>
            </a:extLst>
          </p:cNvPr>
          <p:cNvSpPr>
            <a:spLocks noGrp="1"/>
          </p:cNvSpPr>
          <p:nvPr userDrawn="1">
            <p:ph type="body" sz="quarter" idx="21" hasCustomPrompt="1"/>
          </p:nvPr>
        </p:nvSpPr>
        <p:spPr>
          <a:xfrm>
            <a:off x="5109156"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7" name="Text Placeholder 35">
            <a:extLst>
              <a:ext uri="{FF2B5EF4-FFF2-40B4-BE49-F238E27FC236}">
                <a16:creationId xmlns:a16="http://schemas.microsoft.com/office/drawing/2014/main" id="{F138C0BB-1180-AE02-EAA1-C0AA4BB03AEA}"/>
              </a:ext>
            </a:extLst>
          </p:cNvPr>
          <p:cNvSpPr>
            <a:spLocks noGrp="1"/>
          </p:cNvSpPr>
          <p:nvPr userDrawn="1">
            <p:ph type="body" sz="quarter" idx="22" hasCustomPrompt="1"/>
          </p:nvPr>
        </p:nvSpPr>
        <p:spPr>
          <a:xfrm>
            <a:off x="5090894"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8" name="Text Placeholder 35">
            <a:extLst>
              <a:ext uri="{FF2B5EF4-FFF2-40B4-BE49-F238E27FC236}">
                <a16:creationId xmlns:a16="http://schemas.microsoft.com/office/drawing/2014/main" id="{FBD629CA-3753-BD50-F584-0A9CB1045BC6}"/>
              </a:ext>
            </a:extLst>
          </p:cNvPr>
          <p:cNvSpPr>
            <a:spLocks noGrp="1"/>
          </p:cNvSpPr>
          <p:nvPr userDrawn="1">
            <p:ph type="body" sz="quarter" idx="23" hasCustomPrompt="1"/>
          </p:nvPr>
        </p:nvSpPr>
        <p:spPr>
          <a:xfrm>
            <a:off x="7285545"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9" name="Text Placeholder 35">
            <a:extLst>
              <a:ext uri="{FF2B5EF4-FFF2-40B4-BE49-F238E27FC236}">
                <a16:creationId xmlns:a16="http://schemas.microsoft.com/office/drawing/2014/main" id="{09E664BB-4DDC-F4D5-7EA6-F9EFEE5DAD71}"/>
              </a:ext>
            </a:extLst>
          </p:cNvPr>
          <p:cNvSpPr>
            <a:spLocks noGrp="1"/>
          </p:cNvSpPr>
          <p:nvPr userDrawn="1">
            <p:ph type="body" sz="quarter" idx="24" hasCustomPrompt="1"/>
          </p:nvPr>
        </p:nvSpPr>
        <p:spPr>
          <a:xfrm>
            <a:off x="7275350"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0" name="Text Placeholder 35">
            <a:extLst>
              <a:ext uri="{FF2B5EF4-FFF2-40B4-BE49-F238E27FC236}">
                <a16:creationId xmlns:a16="http://schemas.microsoft.com/office/drawing/2014/main" id="{DAA12B3D-86DE-D1B2-33ED-17B269B2A35A}"/>
              </a:ext>
            </a:extLst>
          </p:cNvPr>
          <p:cNvSpPr>
            <a:spLocks noGrp="1"/>
          </p:cNvSpPr>
          <p:nvPr userDrawn="1">
            <p:ph type="body" sz="quarter" idx="25" hasCustomPrompt="1"/>
          </p:nvPr>
        </p:nvSpPr>
        <p:spPr>
          <a:xfrm>
            <a:off x="9459807" y="3074808"/>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1" name="Text Placeholder 35">
            <a:extLst>
              <a:ext uri="{FF2B5EF4-FFF2-40B4-BE49-F238E27FC236}">
                <a16:creationId xmlns:a16="http://schemas.microsoft.com/office/drawing/2014/main" id="{82962E1E-EADE-2CEF-D066-99136F6789AB}"/>
              </a:ext>
            </a:extLst>
          </p:cNvPr>
          <p:cNvSpPr>
            <a:spLocks noGrp="1"/>
          </p:cNvSpPr>
          <p:nvPr userDrawn="1">
            <p:ph type="body" sz="quarter" idx="26" hasCustomPrompt="1"/>
          </p:nvPr>
        </p:nvSpPr>
        <p:spPr>
          <a:xfrm>
            <a:off x="9459807" y="3520778"/>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0660659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1_content with side imag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CDDACDF-E91A-E905-1F10-5A3B5538FF0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76F4DF44-B21E-C368-4DEB-B1FA8C2168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E0A9CFB-6818-48EC-8068-57249818A93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8E85A788-854D-8EAE-1FC3-8FE9827F6309}"/>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14997B84-C50D-599F-9CFA-65280AF6A6A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07D4EA90-D625-30D5-7D29-C53284FEF0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cxnSp>
        <p:nvCxnSpPr>
          <p:cNvPr id="11" name="Straight Connector 10">
            <a:extLst>
              <a:ext uri="{FF2B5EF4-FFF2-40B4-BE49-F238E27FC236}">
                <a16:creationId xmlns:a16="http://schemas.microsoft.com/office/drawing/2014/main" id="{591B683C-991C-64E1-6F9A-9E8E82B5F8CA}"/>
              </a:ext>
              <a:ext uri="{C183D7F6-B498-43B3-948B-1728B52AA6E4}">
                <adec:decorative xmlns:adec="http://schemas.microsoft.com/office/drawing/2017/decorative" val="1"/>
              </a:ext>
            </a:extLst>
          </p:cNvPr>
          <p:cNvCxnSpPr>
            <a:cxnSpLocks/>
          </p:cNvCxnSpPr>
          <p:nvPr userDrawn="1"/>
        </p:nvCxnSpPr>
        <p:spPr>
          <a:xfrm>
            <a:off x="588263" y="2278213"/>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9B17D06-2B06-A1D6-0FBC-032B1EE7D8A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D0AE5BD-19F0-D0AE-42B1-A8E4454CDCE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4" name="Freeform: Shape 13">
              <a:extLst>
                <a:ext uri="{FF2B5EF4-FFF2-40B4-BE49-F238E27FC236}">
                  <a16:creationId xmlns:a16="http://schemas.microsoft.com/office/drawing/2014/main" id="{1154C99A-8C0D-EABC-13FC-155A579C3AF6}"/>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6" name="Title 1">
            <a:extLst>
              <a:ext uri="{FF2B5EF4-FFF2-40B4-BE49-F238E27FC236}">
                <a16:creationId xmlns:a16="http://schemas.microsoft.com/office/drawing/2014/main" id="{A8CB4E05-213E-1AAB-2F8F-1B197E0BCEDA}"/>
              </a:ext>
            </a:extLst>
          </p:cNvPr>
          <p:cNvSpPr>
            <a:spLocks noGrp="1"/>
          </p:cNvSpPr>
          <p:nvPr>
            <p:ph type="title" hasCustomPrompt="1"/>
          </p:nvPr>
        </p:nvSpPr>
        <p:spPr>
          <a:xfrm>
            <a:off x="588263" y="786193"/>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7" name="Text Placeholder 35">
            <a:extLst>
              <a:ext uri="{FF2B5EF4-FFF2-40B4-BE49-F238E27FC236}">
                <a16:creationId xmlns:a16="http://schemas.microsoft.com/office/drawing/2014/main" id="{1F869892-E7B2-AEDD-8D4E-B7FDCAD90C00}"/>
              </a:ext>
            </a:extLst>
          </p:cNvPr>
          <p:cNvSpPr>
            <a:spLocks noGrp="1"/>
          </p:cNvSpPr>
          <p:nvPr>
            <p:ph type="body" sz="quarter" idx="17" hasCustomPrompt="1"/>
          </p:nvPr>
        </p:nvSpPr>
        <p:spPr>
          <a:xfrm>
            <a:off x="588263" y="2524791"/>
            <a:ext cx="4956194" cy="2315908"/>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29C44985-F4B2-4B87-1A53-B5D35B74BC2A}"/>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847085060"/>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image column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335457-EC2F-EB1A-B0F6-B940276E473A}"/>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5D1B9DF4-F760-B216-0DA3-A94449F01C3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2861989-7235-CD1D-DA25-AF315104DED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1B4BD8C0-6577-4A34-D015-202645ED9084}"/>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28CD6D2B-4CF3-771A-2080-BD0FE0AB855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221EBDC2-FCB3-34D3-D939-CE2DE575E919}"/>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grpSp>
        <p:nvGrpSpPr>
          <p:cNvPr id="9" name="Group 8">
            <a:extLst>
              <a:ext uri="{FF2B5EF4-FFF2-40B4-BE49-F238E27FC236}">
                <a16:creationId xmlns:a16="http://schemas.microsoft.com/office/drawing/2014/main" id="{9AA6A546-0095-CC92-363A-70F8CB37C7E6}"/>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0" name="Freeform: Shape 9">
              <a:extLst>
                <a:ext uri="{FF2B5EF4-FFF2-40B4-BE49-F238E27FC236}">
                  <a16:creationId xmlns:a16="http://schemas.microsoft.com/office/drawing/2014/main" id="{DD7F24C4-768D-5560-3FB1-02AB410DDE7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7545ECDA-69F1-8AA4-0B5B-FDF86DD1E0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9" name="Title 1">
            <a:extLst>
              <a:ext uri="{FF2B5EF4-FFF2-40B4-BE49-F238E27FC236}">
                <a16:creationId xmlns:a16="http://schemas.microsoft.com/office/drawing/2014/main" id="{34C023AE-5A2D-858C-C490-9C186F157A8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4" name="Rectangle: Rounded Corners 13">
            <a:extLst>
              <a:ext uri="{FF2B5EF4-FFF2-40B4-BE49-F238E27FC236}">
                <a16:creationId xmlns:a16="http://schemas.microsoft.com/office/drawing/2014/main" id="{B752E2FC-EF70-9CA1-0453-071FF6E396A3}"/>
              </a:ext>
              <a:ext uri="{C183D7F6-B498-43B3-948B-1728B52AA6E4}">
                <adec:decorative xmlns:adec="http://schemas.microsoft.com/office/drawing/2017/decorative" val="1"/>
              </a:ext>
            </a:extLst>
          </p:cNvPr>
          <p:cNvSpPr/>
          <p:nvPr userDrawn="1"/>
        </p:nvSpPr>
        <p:spPr bwMode="auto">
          <a:xfrm>
            <a:off x="730416"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33" name="Picture Placeholder 58">
            <a:extLst>
              <a:ext uri="{FF2B5EF4-FFF2-40B4-BE49-F238E27FC236}">
                <a16:creationId xmlns:a16="http://schemas.microsoft.com/office/drawing/2014/main" id="{3231FACE-796E-0AB0-0DFB-D36D4AA9081E}"/>
              </a:ext>
            </a:extLst>
          </p:cNvPr>
          <p:cNvSpPr>
            <a:spLocks noGrp="1"/>
          </p:cNvSpPr>
          <p:nvPr>
            <p:ph type="pic" sz="quarter" idx="22"/>
          </p:nvPr>
        </p:nvSpPr>
        <p:spPr>
          <a:xfrm>
            <a:off x="868326"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6" name="Text Placeholder 35">
            <a:extLst>
              <a:ext uri="{FF2B5EF4-FFF2-40B4-BE49-F238E27FC236}">
                <a16:creationId xmlns:a16="http://schemas.microsoft.com/office/drawing/2014/main" id="{52CCE436-7175-560D-31F9-7D5BD152B258}"/>
              </a:ext>
            </a:extLst>
          </p:cNvPr>
          <p:cNvSpPr>
            <a:spLocks noGrp="1"/>
          </p:cNvSpPr>
          <p:nvPr>
            <p:ph type="body" sz="quarter" idx="15" hasCustomPrompt="1"/>
          </p:nvPr>
        </p:nvSpPr>
        <p:spPr>
          <a:xfrm>
            <a:off x="977203"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BBEB8DE5-3415-D38E-75DE-5227E77472C3}"/>
              </a:ext>
            </a:extLst>
          </p:cNvPr>
          <p:cNvSpPr>
            <a:spLocks noGrp="1"/>
          </p:cNvSpPr>
          <p:nvPr>
            <p:ph type="body" sz="quarter" idx="17" hasCustomPrompt="1"/>
          </p:nvPr>
        </p:nvSpPr>
        <p:spPr>
          <a:xfrm>
            <a:off x="977202"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Rectangle: Rounded Corners 45">
            <a:extLst>
              <a:ext uri="{FF2B5EF4-FFF2-40B4-BE49-F238E27FC236}">
                <a16:creationId xmlns:a16="http://schemas.microsoft.com/office/drawing/2014/main" id="{80B8A980-FFF3-DAEE-17CD-BFA3E9A874EA}"/>
              </a:ext>
              <a:ext uri="{C183D7F6-B498-43B3-948B-1728B52AA6E4}">
                <adec:decorative xmlns:adec="http://schemas.microsoft.com/office/drawing/2017/decorative" val="1"/>
              </a:ext>
            </a:extLst>
          </p:cNvPr>
          <p:cNvSpPr/>
          <p:nvPr userDrawn="1"/>
        </p:nvSpPr>
        <p:spPr bwMode="auto">
          <a:xfrm>
            <a:off x="6382614"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52" name="Picture Placeholder 58">
            <a:extLst>
              <a:ext uri="{FF2B5EF4-FFF2-40B4-BE49-F238E27FC236}">
                <a16:creationId xmlns:a16="http://schemas.microsoft.com/office/drawing/2014/main" id="{FEE313CF-09FA-C64A-8E0C-FD2516BAD7BE}"/>
              </a:ext>
            </a:extLst>
          </p:cNvPr>
          <p:cNvSpPr>
            <a:spLocks noGrp="1"/>
          </p:cNvSpPr>
          <p:nvPr>
            <p:ph type="pic" sz="quarter" idx="23"/>
          </p:nvPr>
        </p:nvSpPr>
        <p:spPr>
          <a:xfrm>
            <a:off x="6520524"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53" name="Text Placeholder 35">
            <a:extLst>
              <a:ext uri="{FF2B5EF4-FFF2-40B4-BE49-F238E27FC236}">
                <a16:creationId xmlns:a16="http://schemas.microsoft.com/office/drawing/2014/main" id="{ADF6C677-0FC9-20E6-0017-2763FC62C0F6}"/>
              </a:ext>
            </a:extLst>
          </p:cNvPr>
          <p:cNvSpPr>
            <a:spLocks noGrp="1"/>
          </p:cNvSpPr>
          <p:nvPr>
            <p:ph type="body" sz="quarter" idx="18" hasCustomPrompt="1"/>
          </p:nvPr>
        </p:nvSpPr>
        <p:spPr>
          <a:xfrm>
            <a:off x="6629400"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CEB9D15B-2371-5C71-D92A-F3B469AAC02D}"/>
              </a:ext>
            </a:extLst>
          </p:cNvPr>
          <p:cNvSpPr>
            <a:spLocks noGrp="1"/>
          </p:cNvSpPr>
          <p:nvPr>
            <p:ph type="body" sz="quarter" idx="19" hasCustomPrompt="1"/>
          </p:nvPr>
        </p:nvSpPr>
        <p:spPr>
          <a:xfrm>
            <a:off x="6629401"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9445553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with side imag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072F3-E83D-7BC9-B889-8822192322AE}"/>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3EF610A-A7B7-A534-75A2-EFD5BC312E7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92F6666-2516-F221-7719-FC24033CBA8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2D2B7BF2-6CC1-8452-E2F7-172E34A95C19}"/>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AE17A165-F18F-AC2F-F3AC-15252E043E4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8" name="Freeform: Shape 7">
              <a:extLst>
                <a:ext uri="{FF2B5EF4-FFF2-40B4-BE49-F238E27FC236}">
                  <a16:creationId xmlns:a16="http://schemas.microsoft.com/office/drawing/2014/main" id="{46FE4C56-E270-0802-E54E-C3CB0E5BADD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grpSp>
        <p:nvGrpSpPr>
          <p:cNvPr id="10" name="Group 9">
            <a:extLst>
              <a:ext uri="{FF2B5EF4-FFF2-40B4-BE49-F238E27FC236}">
                <a16:creationId xmlns:a16="http://schemas.microsoft.com/office/drawing/2014/main" id="{FBA366A9-CB5F-587B-731C-7AF44856C2ED}"/>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1" name="Freeform: Shape 10">
              <a:extLst>
                <a:ext uri="{FF2B5EF4-FFF2-40B4-BE49-F238E27FC236}">
                  <a16:creationId xmlns:a16="http://schemas.microsoft.com/office/drawing/2014/main" id="{A90FF5AA-C114-0551-5D69-21436E408389}"/>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CF2B147F-132E-7F96-D00D-4D0B0EF86247}"/>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sp>
        <p:nvSpPr>
          <p:cNvPr id="15" name="Title 1">
            <a:extLst>
              <a:ext uri="{FF2B5EF4-FFF2-40B4-BE49-F238E27FC236}">
                <a16:creationId xmlns:a16="http://schemas.microsoft.com/office/drawing/2014/main" id="{579F99F0-94F9-9F50-E1D6-E129252E013F}"/>
              </a:ext>
            </a:extLst>
          </p:cNvPr>
          <p:cNvSpPr>
            <a:spLocks noGrp="1"/>
          </p:cNvSpPr>
          <p:nvPr>
            <p:ph type="title" hasCustomPrompt="1"/>
          </p:nvPr>
        </p:nvSpPr>
        <p:spPr>
          <a:xfrm>
            <a:off x="588263" y="2813445"/>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4" name="Picture Placeholder 58">
            <a:extLst>
              <a:ext uri="{FF2B5EF4-FFF2-40B4-BE49-F238E27FC236}">
                <a16:creationId xmlns:a16="http://schemas.microsoft.com/office/drawing/2014/main" id="{04C8C2BA-A4DE-C21C-53E0-D3F5453389BF}"/>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284119255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_IPS_Energy">
    <p:bg>
      <p:bgPr>
        <a:solidFill>
          <a:schemeClr val="tx1"/>
        </a:solidFill>
        <a:effectLst/>
      </p:bgPr>
    </p:bg>
    <p:spTree>
      <p:nvGrpSpPr>
        <p:cNvPr id="1" name=""/>
        <p:cNvGrpSpPr/>
        <p:nvPr/>
      </p:nvGrpSpPr>
      <p:grpSpPr>
        <a:xfrm>
          <a:off x="0" y="0"/>
          <a:ext cx="0" cy="0"/>
          <a:chOff x="0" y="0"/>
          <a:chExt cx="0" cy="0"/>
        </a:xfrm>
      </p:grpSpPr>
      <p:pic>
        <p:nvPicPr>
          <p:cNvPr id="4" name="Picture 3" descr="A blue planet with lights&#10;&#10;Description automatically generated">
            <a:extLst>
              <a:ext uri="{FF2B5EF4-FFF2-40B4-BE49-F238E27FC236}">
                <a16:creationId xmlns:a16="http://schemas.microsoft.com/office/drawing/2014/main" id="{88F962BF-04BD-0C97-EED5-F89AFF4F53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Freeform: Shape 16">
            <a:extLst>
              <a:ext uri="{FF2B5EF4-FFF2-40B4-BE49-F238E27FC236}">
                <a16:creationId xmlns:a16="http://schemas.microsoft.com/office/drawing/2014/main" id="{50F0A597-5712-CB94-356B-400C5AD79203}"/>
              </a:ext>
            </a:extLst>
          </p:cNvPr>
          <p:cNvSpPr/>
          <p:nvPr userDrawn="1"/>
        </p:nvSpPr>
        <p:spPr bwMode="auto">
          <a:xfrm>
            <a:off x="5830987" y="0"/>
            <a:ext cx="6361013" cy="6857997"/>
          </a:xfrm>
          <a:custGeom>
            <a:avLst/>
            <a:gdLst>
              <a:gd name="connsiteX0" fmla="*/ 2161533 w 6361013"/>
              <a:gd name="connsiteY0" fmla="*/ 0 h 6857997"/>
              <a:gd name="connsiteX1" fmla="*/ 6361013 w 6361013"/>
              <a:gd name="connsiteY1" fmla="*/ 0 h 6857997"/>
              <a:gd name="connsiteX2" fmla="*/ 6361013 w 6361013"/>
              <a:gd name="connsiteY2" fmla="*/ 140415 h 6857997"/>
              <a:gd name="connsiteX3" fmla="*/ 6361013 w 6361013"/>
              <a:gd name="connsiteY3" fmla="*/ 3980616 h 6857997"/>
              <a:gd name="connsiteX4" fmla="*/ 6323101 w 6361013"/>
              <a:gd name="connsiteY4" fmla="*/ 4125401 h 6857997"/>
              <a:gd name="connsiteX5" fmla="*/ 5963546 w 6361013"/>
              <a:gd name="connsiteY5" fmla="*/ 6857996 h 6857997"/>
              <a:gd name="connsiteX6" fmla="*/ 5688886 w 6361013"/>
              <a:gd name="connsiteY6" fmla="*/ 6857996 h 6857997"/>
              <a:gd name="connsiteX7" fmla="*/ 5688886 w 6361013"/>
              <a:gd name="connsiteY7" fmla="*/ 6857997 h 6857997"/>
              <a:gd name="connsiteX8" fmla="*/ 795515 w 6361013"/>
              <a:gd name="connsiteY8" fmla="*/ 6857996 h 6857997"/>
              <a:gd name="connsiteX9" fmla="*/ 795516 w 6361013"/>
              <a:gd name="connsiteY9" fmla="*/ 6857995 h 6857997"/>
              <a:gd name="connsiteX10" fmla="*/ 0 w 6361013"/>
              <a:gd name="connsiteY10" fmla="*/ 6857995 h 6857997"/>
              <a:gd name="connsiteX11" fmla="*/ 1836200 w 6361013"/>
              <a:gd name="connsiteY11" fmla="*/ 925859 h 6857997"/>
              <a:gd name="connsiteX12" fmla="*/ 1886873 w 6361013"/>
              <a:gd name="connsiteY12" fmla="*/ 1 h 6857997"/>
              <a:gd name="connsiteX13" fmla="*/ 2161533 w 6361013"/>
              <a:gd name="connsiteY13"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61013" h="6857997">
                <a:moveTo>
                  <a:pt x="2161533" y="0"/>
                </a:moveTo>
                <a:lnTo>
                  <a:pt x="6361013" y="0"/>
                </a:lnTo>
                <a:lnTo>
                  <a:pt x="6361013" y="140415"/>
                </a:lnTo>
                <a:lnTo>
                  <a:pt x="6361013" y="3980616"/>
                </a:lnTo>
                <a:lnTo>
                  <a:pt x="6323101" y="4125401"/>
                </a:lnTo>
                <a:cubicBezTo>
                  <a:pt x="6120865" y="5008527"/>
                  <a:pt x="5998351" y="5922049"/>
                  <a:pt x="5963546" y="6857996"/>
                </a:cubicBezTo>
                <a:lnTo>
                  <a:pt x="5688886" y="6857996"/>
                </a:lnTo>
                <a:lnTo>
                  <a:pt x="5688886" y="6857997"/>
                </a:lnTo>
                <a:lnTo>
                  <a:pt x="795515" y="6857996"/>
                </a:lnTo>
                <a:lnTo>
                  <a:pt x="795516" y="6857995"/>
                </a:lnTo>
                <a:lnTo>
                  <a:pt x="0" y="6857995"/>
                </a:lnTo>
                <a:cubicBezTo>
                  <a:pt x="1006258" y="5078618"/>
                  <a:pt x="1651495" y="3068069"/>
                  <a:pt x="1836200" y="925859"/>
                </a:cubicBezTo>
                <a:lnTo>
                  <a:pt x="1886873" y="1"/>
                </a:lnTo>
                <a:lnTo>
                  <a:pt x="2161533" y="1"/>
                </a:lnTo>
                <a:close/>
              </a:path>
            </a:pathLst>
          </a:custGeom>
          <a:gradFill flip="none" rotWithShape="1">
            <a:gsLst>
              <a:gs pos="94000">
                <a:schemeClr val="accent4"/>
              </a:gs>
              <a:gs pos="20000">
                <a:srgbClr val="9BF00B"/>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737800" cy="1107996"/>
          </a:xfrm>
        </p:spPr>
        <p:txBody>
          <a:bodyPr wrap="square" anchor="b" anchorCtr="0">
            <a:spAutoFit/>
          </a:bodyPr>
          <a:lstStyle>
            <a:lvl1pPr>
              <a:defRPr>
                <a:solidFill>
                  <a:schemeClr val="tx1"/>
                </a:solidFill>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2042" y="4782281"/>
            <a:ext cx="473404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Picture Placeholder 13">
            <a:extLst>
              <a:ext uri="{FF2B5EF4-FFF2-40B4-BE49-F238E27FC236}">
                <a16:creationId xmlns:a16="http://schemas.microsoft.com/office/drawing/2014/main" id="{81271761-C604-221D-B424-8CBEF4F99A9A}"/>
              </a:ext>
            </a:extLst>
          </p:cNvPr>
          <p:cNvSpPr>
            <a:spLocks noGrp="1"/>
          </p:cNvSpPr>
          <p:nvPr>
            <p:ph type="pic" sz="quarter" idx="14" hasCustomPrompt="1"/>
          </p:nvPr>
        </p:nvSpPr>
        <p:spPr>
          <a:xfrm>
            <a:off x="5978012" y="0"/>
            <a:ext cx="6213988" cy="6857998"/>
          </a:xfrm>
          <a:custGeom>
            <a:avLst/>
            <a:gdLst>
              <a:gd name="connsiteX0" fmla="*/ 1886874 w 6213988"/>
              <a:gd name="connsiteY0" fmla="*/ 0 h 6857998"/>
              <a:gd name="connsiteX1" fmla="*/ 6213988 w 6213988"/>
              <a:gd name="connsiteY1" fmla="*/ 0 h 6857998"/>
              <a:gd name="connsiteX2" fmla="*/ 6213988 w 6213988"/>
              <a:gd name="connsiteY2" fmla="*/ 140414 h 6857998"/>
              <a:gd name="connsiteX3" fmla="*/ 6213988 w 6213988"/>
              <a:gd name="connsiteY3" fmla="*/ 3472644 h 6857998"/>
              <a:gd name="connsiteX4" fmla="*/ 6048441 w 6213988"/>
              <a:gd name="connsiteY4" fmla="*/ 4125403 h 6857998"/>
              <a:gd name="connsiteX5" fmla="*/ 5688887 w 6213988"/>
              <a:gd name="connsiteY5" fmla="*/ 6857998 h 6857998"/>
              <a:gd name="connsiteX6" fmla="*/ 795515 w 6213988"/>
              <a:gd name="connsiteY6" fmla="*/ 6857998 h 6857998"/>
              <a:gd name="connsiteX7" fmla="*/ 795516 w 6213988"/>
              <a:gd name="connsiteY7" fmla="*/ 6857997 h 6857998"/>
              <a:gd name="connsiteX8" fmla="*/ 0 w 6213988"/>
              <a:gd name="connsiteY8" fmla="*/ 6857997 h 6857998"/>
              <a:gd name="connsiteX9" fmla="*/ 1868695 w 6213988"/>
              <a:gd name="connsiteY9" fmla="*/ 46483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3988" h="6857998">
                <a:moveTo>
                  <a:pt x="1886874" y="0"/>
                </a:moveTo>
                <a:lnTo>
                  <a:pt x="6213988" y="0"/>
                </a:lnTo>
                <a:lnTo>
                  <a:pt x="6213988" y="140414"/>
                </a:lnTo>
                <a:lnTo>
                  <a:pt x="6213988" y="3472644"/>
                </a:lnTo>
                <a:lnTo>
                  <a:pt x="6048441" y="4125403"/>
                </a:lnTo>
                <a:cubicBezTo>
                  <a:pt x="5846205" y="5008529"/>
                  <a:pt x="5723692" y="5922052"/>
                  <a:pt x="5688887" y="6857998"/>
                </a:cubicBezTo>
                <a:lnTo>
                  <a:pt x="795515" y="6857998"/>
                </a:lnTo>
                <a:lnTo>
                  <a:pt x="795516" y="6857997"/>
                </a:lnTo>
                <a:lnTo>
                  <a:pt x="0" y="6857997"/>
                </a:lnTo>
                <a:cubicBezTo>
                  <a:pt x="1078134" y="4951521"/>
                  <a:pt x="1741830" y="2779670"/>
                  <a:pt x="1868695" y="464835"/>
                </a:cubicBezTo>
                <a:close/>
              </a:path>
            </a:pathLst>
          </a:custGeom>
          <a:blipFill dpi="0" rotWithShape="1">
            <a:blip r:embed="rId4" cstate="print">
              <a:extLst>
                <a:ext uri="{28A0092B-C50C-407E-A947-70E740481C1C}">
                  <a14:useLocalDpi xmlns:a14="http://schemas.microsoft.com/office/drawing/2010/main"/>
                </a:ext>
              </a:extLst>
            </a:blip>
            <a:srcRect/>
            <a:stretch>
              <a:fillRect/>
            </a:stretch>
          </a:blipFill>
        </p:spPr>
        <p:txBody>
          <a:bodyPr wrap="square" tIns="3931920">
            <a:noAutofit/>
          </a:bodyPr>
          <a:lstStyle>
            <a:lvl1pPr marL="0" indent="0" algn="ctr">
              <a:buNone/>
              <a:defRPr lang="en-US" sz="1600" kern="1200" spc="0" baseline="0" dirty="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above</a:t>
            </a:r>
            <a:br>
              <a:rPr lang="en-US"/>
            </a:br>
            <a:r>
              <a:rPr lang="en-US"/>
              <a:t>to insert</a:t>
            </a:r>
          </a:p>
        </p:txBody>
      </p:sp>
    </p:spTree>
    <p:extLst>
      <p:ext uri="{BB962C8B-B14F-4D97-AF65-F5344CB8AC3E}">
        <p14:creationId xmlns:p14="http://schemas.microsoft.com/office/powerpoint/2010/main" val="501520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Quote slide with circle image (Dark)">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66E22722-B5B3-DF7A-B6A5-A775F1571F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33E3849C-FB19-714C-D137-0B6806FECA4E}"/>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770EAC04-1B38-68C8-658E-19A667C83441}"/>
              </a:ext>
            </a:extLst>
          </p:cNvPr>
          <p:cNvSpPr/>
          <p:nvPr userDrawn="1"/>
        </p:nvSpPr>
        <p:spPr bwMode="auto">
          <a:xfrm rot="5400000" flipV="1">
            <a:off x="223839" y="360365"/>
            <a:ext cx="2017712" cy="1296988"/>
          </a:xfrm>
          <a:prstGeom prst="rect">
            <a:avLst/>
          </a:prstGeom>
          <a:gradFill>
            <a:gsLst>
              <a:gs pos="16000">
                <a:schemeClr val="tx2">
                  <a:alpha val="0"/>
                </a:schemeClr>
              </a:gs>
              <a:gs pos="84000">
                <a:schemeClr val="tx2">
                  <a:lumMod val="75000"/>
                </a:schemeClr>
              </a:gs>
            </a:gsLst>
            <a:lin ang="10800000" scaled="1"/>
          </a:gradFill>
          <a:ln>
            <a:noFill/>
            <a:headEnd type="none" w="med" len="med"/>
            <a:tailEnd type="none" w="med" len="med"/>
          </a:ln>
          <a:effectLst>
            <a:outerShdw blurRad="76200" dist="38100" dir="10800000" sx="101000" sy="101000" algn="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AF93028C-5304-B9F8-4FFE-E7B115839A12}"/>
              </a:ext>
            </a:extLst>
          </p:cNvPr>
          <p:cNvSpPr/>
          <p:nvPr userDrawn="1"/>
        </p:nvSpPr>
        <p:spPr bwMode="auto">
          <a:xfrm>
            <a:off x="7675881" y="1463040"/>
            <a:ext cx="3931920" cy="3931920"/>
          </a:xfrm>
          <a:prstGeom prst="ellipse">
            <a:avLst/>
          </a:prstGeom>
          <a:solidFill>
            <a:schemeClr val="bg1"/>
          </a:solidFill>
          <a:ln w="8467" cap="flat">
            <a:noFill/>
            <a:prstDash val="solid"/>
            <a:miter/>
          </a:ln>
          <a:effectLst>
            <a:outerShdw blurRad="444500" dist="317500" dir="8100000" sx="95000" sy="95000" algn="tr" rotWithShape="0">
              <a:prstClr val="black">
                <a:alpha val="55000"/>
              </a:prstClr>
            </a:outerShdw>
          </a:effectLst>
        </p:spPr>
        <p:txBody>
          <a:bodyPr rtlCol="0" anchor="ctr"/>
          <a:lstStyle/>
          <a:p>
            <a:endParaRPr lang="en-IN" err="1">
              <a:solidFill>
                <a:schemeClr val="tx1"/>
              </a:solidFill>
            </a:endParaRPr>
          </a:p>
        </p:txBody>
      </p:sp>
      <p:sp>
        <p:nvSpPr>
          <p:cNvPr id="8" name="Graphic 28">
            <a:extLst>
              <a:ext uri="{FF2B5EF4-FFF2-40B4-BE49-F238E27FC236}">
                <a16:creationId xmlns:a16="http://schemas.microsoft.com/office/drawing/2014/main" id="{B863102E-9688-B676-72F4-CE919D9B706C}"/>
              </a:ext>
            </a:extLst>
          </p:cNvPr>
          <p:cNvSpPr/>
          <p:nvPr userDrawn="1"/>
        </p:nvSpPr>
        <p:spPr>
          <a:xfrm>
            <a:off x="754008" y="1432563"/>
            <a:ext cx="965312" cy="725262"/>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9" name="Group 8">
            <a:extLst>
              <a:ext uri="{FF2B5EF4-FFF2-40B4-BE49-F238E27FC236}">
                <a16:creationId xmlns:a16="http://schemas.microsoft.com/office/drawing/2014/main" id="{8EFB388B-E329-DA0A-A4D7-D91918B6B689}"/>
              </a:ext>
            </a:extLst>
          </p:cNvPr>
          <p:cNvGrpSpPr/>
          <p:nvPr userDrawn="1"/>
        </p:nvGrpSpPr>
        <p:grpSpPr>
          <a:xfrm>
            <a:off x="7471836" y="1"/>
            <a:ext cx="4720163" cy="1211986"/>
            <a:chOff x="4863262" y="0"/>
            <a:chExt cx="6378217" cy="1637721"/>
          </a:xfrm>
        </p:grpSpPr>
        <p:sp>
          <p:nvSpPr>
            <p:cNvPr id="10" name="Freeform: Shape 9">
              <a:extLst>
                <a:ext uri="{FF2B5EF4-FFF2-40B4-BE49-F238E27FC236}">
                  <a16:creationId xmlns:a16="http://schemas.microsoft.com/office/drawing/2014/main" id="{84A5E03B-15CA-E373-8011-3DC181F004CD}"/>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1" name="Freeform: Shape 10">
              <a:extLst>
                <a:ext uri="{FF2B5EF4-FFF2-40B4-BE49-F238E27FC236}">
                  <a16:creationId xmlns:a16="http://schemas.microsoft.com/office/drawing/2014/main" id="{75B93DFD-7253-B0D7-B4FC-7042F893CCAC}"/>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grpSp>
        <p:nvGrpSpPr>
          <p:cNvPr id="12" name="Group 11">
            <a:extLst>
              <a:ext uri="{FF2B5EF4-FFF2-40B4-BE49-F238E27FC236}">
                <a16:creationId xmlns:a16="http://schemas.microsoft.com/office/drawing/2014/main" id="{45F9E862-C8B6-F40B-DEB5-6AF843B09383}"/>
              </a:ext>
            </a:extLst>
          </p:cNvPr>
          <p:cNvGrpSpPr/>
          <p:nvPr userDrawn="1"/>
        </p:nvGrpSpPr>
        <p:grpSpPr>
          <a:xfrm>
            <a:off x="0" y="5477179"/>
            <a:ext cx="5299075" cy="1381018"/>
            <a:chOff x="950520" y="5263912"/>
            <a:chExt cx="6117399" cy="1594285"/>
          </a:xfrm>
        </p:grpSpPr>
        <p:sp>
          <p:nvSpPr>
            <p:cNvPr id="13" name="Freeform: Shape 12">
              <a:extLst>
                <a:ext uri="{FF2B5EF4-FFF2-40B4-BE49-F238E27FC236}">
                  <a16:creationId xmlns:a16="http://schemas.microsoft.com/office/drawing/2014/main" id="{F015E282-78BA-28C1-E48E-735F196898A6}"/>
                </a:ext>
              </a:extLst>
            </p:cNvPr>
            <p:cNvSpPr/>
            <p:nvPr/>
          </p:nvSpPr>
          <p:spPr>
            <a:xfrm>
              <a:off x="950520" y="5263912"/>
              <a:ext cx="6117399" cy="1594285"/>
            </a:xfrm>
            <a:custGeom>
              <a:avLst/>
              <a:gdLst>
                <a:gd name="connsiteX0" fmla="*/ 6117400 w 6117399"/>
                <a:gd name="connsiteY0" fmla="*/ 1594285 h 1594285"/>
                <a:gd name="connsiteX1" fmla="*/ 2120397 w 6117399"/>
                <a:gd name="connsiteY1" fmla="*/ 5581 h 1594285"/>
                <a:gd name="connsiteX2" fmla="*/ 0 w 6117399"/>
                <a:gd name="connsiteY2" fmla="*/ 450163 h 1594285"/>
                <a:gd name="connsiteX3" fmla="*/ 0 w 6117399"/>
                <a:gd name="connsiteY3" fmla="*/ 1594285 h 1594285"/>
                <a:gd name="connsiteX4" fmla="*/ 6117400 w 6117399"/>
                <a:gd name="connsiteY4" fmla="*/ 1594285 h 1594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1594285">
                  <a:moveTo>
                    <a:pt x="6117400" y="1594285"/>
                  </a:moveTo>
                  <a:cubicBezTo>
                    <a:pt x="4701294" y="1374449"/>
                    <a:pt x="3506331" y="76378"/>
                    <a:pt x="2120397" y="5581"/>
                  </a:cubicBezTo>
                  <a:cubicBezTo>
                    <a:pt x="865565" y="-58485"/>
                    <a:pt x="0" y="450163"/>
                    <a:pt x="0" y="450163"/>
                  </a:cubicBezTo>
                  <a:lnTo>
                    <a:pt x="0" y="1594285"/>
                  </a:lnTo>
                  <a:lnTo>
                    <a:pt x="6117400" y="1594285"/>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B0122188-199D-D5DC-D048-E3259AB72EE4}"/>
                </a:ext>
              </a:extLst>
            </p:cNvPr>
            <p:cNvSpPr/>
            <p:nvPr/>
          </p:nvSpPr>
          <p:spPr>
            <a:xfrm>
              <a:off x="950520" y="5868051"/>
              <a:ext cx="6117399" cy="990146"/>
            </a:xfrm>
            <a:custGeom>
              <a:avLst/>
              <a:gdLst>
                <a:gd name="connsiteX0" fmla="*/ 6117400 w 6117399"/>
                <a:gd name="connsiteY0" fmla="*/ 990147 h 990146"/>
                <a:gd name="connsiteX1" fmla="*/ 2190046 w 6117399"/>
                <a:gd name="connsiteY1" fmla="*/ 4210 h 990146"/>
                <a:gd name="connsiteX2" fmla="*/ 0 w 6117399"/>
                <a:gd name="connsiteY2" fmla="*/ 311513 h 990146"/>
                <a:gd name="connsiteX3" fmla="*/ 0 w 6117399"/>
                <a:gd name="connsiteY3" fmla="*/ 990147 h 990146"/>
                <a:gd name="connsiteX4" fmla="*/ 6117400 w 6117399"/>
                <a:gd name="connsiteY4" fmla="*/ 990147 h 990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990146">
                  <a:moveTo>
                    <a:pt x="6117400" y="990147"/>
                  </a:moveTo>
                  <a:cubicBezTo>
                    <a:pt x="4519312" y="837029"/>
                    <a:pt x="3378436" y="48241"/>
                    <a:pt x="2190046" y="4210"/>
                  </a:cubicBezTo>
                  <a:cubicBezTo>
                    <a:pt x="934462" y="-42275"/>
                    <a:pt x="0" y="311513"/>
                    <a:pt x="0" y="311513"/>
                  </a:cubicBezTo>
                  <a:lnTo>
                    <a:pt x="0" y="990147"/>
                  </a:lnTo>
                  <a:lnTo>
                    <a:pt x="6117400" y="99014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70000"/>
                </a:prstClr>
              </a:outerShdw>
            </a:effectLst>
          </p:spPr>
          <p:txBody>
            <a:bodyPr wrap="square" rtlCol="0" anchor="ctr">
              <a:noAutofit/>
            </a:bodyPr>
            <a:lstStyle/>
            <a:p>
              <a:endParaRPr lang="en-US"/>
            </a:p>
          </p:txBody>
        </p:sp>
      </p:grpSp>
      <p:sp>
        <p:nvSpPr>
          <p:cNvPr id="18" name="Text Placeholder 35">
            <a:extLst>
              <a:ext uri="{FF2B5EF4-FFF2-40B4-BE49-F238E27FC236}">
                <a16:creationId xmlns:a16="http://schemas.microsoft.com/office/drawing/2014/main" id="{BD3C3D3A-B804-24C4-3670-A60637D801F8}"/>
              </a:ext>
            </a:extLst>
          </p:cNvPr>
          <p:cNvSpPr>
            <a:spLocks noGrp="1"/>
          </p:cNvSpPr>
          <p:nvPr>
            <p:ph type="body" sz="quarter" idx="17" hasCustomPrompt="1"/>
          </p:nvPr>
        </p:nvSpPr>
        <p:spPr>
          <a:xfrm>
            <a:off x="1236664" y="2505671"/>
            <a:ext cx="5656263" cy="2215991"/>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3AA1D0C2-76E9-7278-2049-B187D5FC10E4}"/>
              </a:ext>
            </a:extLst>
          </p:cNvPr>
          <p:cNvSpPr>
            <a:spLocks noGrp="1"/>
          </p:cNvSpPr>
          <p:nvPr>
            <p:ph type="body" sz="quarter" idx="15" hasCustomPrompt="1"/>
          </p:nvPr>
        </p:nvSpPr>
        <p:spPr>
          <a:xfrm>
            <a:off x="1236664" y="4969297"/>
            <a:ext cx="5656263"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7" name="Picture Placeholder 58">
            <a:extLst>
              <a:ext uri="{FF2B5EF4-FFF2-40B4-BE49-F238E27FC236}">
                <a16:creationId xmlns:a16="http://schemas.microsoft.com/office/drawing/2014/main" id="{6DA8A634-F07E-B50C-1BA8-0CB62155DE7A}"/>
              </a:ext>
            </a:extLst>
          </p:cNvPr>
          <p:cNvSpPr>
            <a:spLocks noGrp="1"/>
          </p:cNvSpPr>
          <p:nvPr>
            <p:ph type="pic" sz="quarter" idx="22"/>
          </p:nvPr>
        </p:nvSpPr>
        <p:spPr>
          <a:xfrm>
            <a:off x="7758432" y="1545591"/>
            <a:ext cx="3766818" cy="3766818"/>
          </a:xfrm>
          <a:prstGeom prst="ellipse">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256937738"/>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Quote slide with box imag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D39174-8A80-2D08-5E69-4EAEC5FC616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E71F3A4-FB3F-81D4-707D-C1CC017E3C33}"/>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7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Rounded Corners 4">
            <a:extLst>
              <a:ext uri="{FF2B5EF4-FFF2-40B4-BE49-F238E27FC236}">
                <a16:creationId xmlns:a16="http://schemas.microsoft.com/office/drawing/2014/main" id="{E0F2D002-979D-5C94-184D-43E1100E59F4}"/>
              </a:ext>
              <a:ext uri="{C183D7F6-B498-43B3-948B-1728B52AA6E4}">
                <adec:decorative xmlns:adec="http://schemas.microsoft.com/office/drawing/2017/decorative" val="1"/>
              </a:ext>
            </a:extLst>
          </p:cNvPr>
          <p:cNvSpPr/>
          <p:nvPr userDrawn="1"/>
        </p:nvSpPr>
        <p:spPr bwMode="auto">
          <a:xfrm>
            <a:off x="6892925" y="585788"/>
            <a:ext cx="4716463" cy="5683249"/>
          </a:xfrm>
          <a:prstGeom prst="roundRect">
            <a:avLst>
              <a:gd name="adj" fmla="val 6345"/>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6E620489-3B35-B2FF-2B1F-FD7FE22D4DE6}"/>
              </a:ext>
              <a:ext uri="{C183D7F6-B498-43B3-948B-1728B52AA6E4}">
                <adec:decorative xmlns:adec="http://schemas.microsoft.com/office/drawing/2017/decorative" val="1"/>
              </a:ext>
            </a:extLst>
          </p:cNvPr>
          <p:cNvSpPr/>
          <p:nvPr userDrawn="1"/>
        </p:nvSpPr>
        <p:spPr bwMode="auto">
          <a:xfrm>
            <a:off x="0" y="2017713"/>
            <a:ext cx="6892925" cy="3486784"/>
          </a:xfrm>
          <a:prstGeom prst="rect">
            <a:avLst/>
          </a:prstGeom>
          <a:gradFill flip="none" rotWithShape="1">
            <a:gsLst>
              <a:gs pos="0">
                <a:schemeClr val="tx1">
                  <a:alpha val="0"/>
                </a:schemeClr>
              </a:gs>
              <a:gs pos="99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5D12B4-76DF-612A-81F7-817627203F85}"/>
              </a:ext>
              <a:ext uri="{C183D7F6-B498-43B3-948B-1728B52AA6E4}">
                <adec:decorative xmlns:adec="http://schemas.microsoft.com/office/drawing/2017/decorative" val="1"/>
              </a:ext>
            </a:extLst>
          </p:cNvPr>
          <p:cNvGrpSpPr/>
          <p:nvPr userDrawn="1"/>
        </p:nvGrpSpPr>
        <p:grpSpPr>
          <a:xfrm>
            <a:off x="584200" y="1215243"/>
            <a:ext cx="965312" cy="977565"/>
            <a:chOff x="142812" y="139308"/>
            <a:chExt cx="301753" cy="305583"/>
          </a:xfrm>
        </p:grpSpPr>
        <p:sp>
          <p:nvSpPr>
            <p:cNvPr id="10" name="Rectangle: Rounded Corners 9">
              <a:extLst>
                <a:ext uri="{FF2B5EF4-FFF2-40B4-BE49-F238E27FC236}">
                  <a16:creationId xmlns:a16="http://schemas.microsoft.com/office/drawing/2014/main" id="{6E311E46-274D-2F70-2EDE-ADC9249D6033}"/>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B909BD42-BC8A-370C-B49A-5DA13164C98D}"/>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2" name="Graphic 28">
            <a:extLst>
              <a:ext uri="{FF2B5EF4-FFF2-40B4-BE49-F238E27FC236}">
                <a16:creationId xmlns:a16="http://schemas.microsoft.com/office/drawing/2014/main" id="{2D590AED-3B64-F4BC-B5B9-3A5C906E257C}"/>
              </a:ext>
              <a:ext uri="{C183D7F6-B498-43B3-948B-1728B52AA6E4}">
                <adec:decorative xmlns:adec="http://schemas.microsoft.com/office/drawing/2017/decorative" val="1"/>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Text Placeholder 35">
            <a:extLst>
              <a:ext uri="{FF2B5EF4-FFF2-40B4-BE49-F238E27FC236}">
                <a16:creationId xmlns:a16="http://schemas.microsoft.com/office/drawing/2014/main" id="{02EF1E71-0382-4513-27F8-A573764F5AAD}"/>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F36B7424-9BA3-2874-37AA-D45994593555}"/>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6" name="Picture Placeholder 58">
            <a:extLst>
              <a:ext uri="{FF2B5EF4-FFF2-40B4-BE49-F238E27FC236}">
                <a16:creationId xmlns:a16="http://schemas.microsoft.com/office/drawing/2014/main" id="{6203129B-B6A0-80FE-E261-3AE8434A5CB1}"/>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494905761"/>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4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D09D48-91F1-226C-E485-B721D7C4ACFF}"/>
              </a:ext>
              <a:ext uri="{C183D7F6-B498-43B3-948B-1728B52AA6E4}">
                <adec:decorative xmlns:adec="http://schemas.microsoft.com/office/drawing/2017/decorative" val="1"/>
              </a:ext>
            </a:extLst>
          </p:cNvPr>
          <p:cNvGrpSpPr/>
          <p:nvPr userDrawn="1"/>
        </p:nvGrpSpPr>
        <p:grpSpPr>
          <a:xfrm>
            <a:off x="0" y="0"/>
            <a:ext cx="12192000" cy="6795078"/>
            <a:chOff x="0" y="62922"/>
            <a:chExt cx="12192000" cy="6795078"/>
          </a:xfrm>
        </p:grpSpPr>
        <p:pic>
          <p:nvPicPr>
            <p:cNvPr id="4" name="Picture 3" descr="A picture containing blue, electric blue, majorelle blue, blur&#10;&#10;Description automatically generated">
              <a:extLst>
                <a:ext uri="{FF2B5EF4-FFF2-40B4-BE49-F238E27FC236}">
                  <a16:creationId xmlns:a16="http://schemas.microsoft.com/office/drawing/2014/main" id="{67964EF7-8D19-D3F0-E828-0E1D83C52D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pic>
          <p:nvPicPr>
            <p:cNvPr id="5" name="Picture 4">
              <a:extLst>
                <a:ext uri="{FF2B5EF4-FFF2-40B4-BE49-F238E27FC236}">
                  <a16:creationId xmlns:a16="http://schemas.microsoft.com/office/drawing/2014/main" id="{C44B2F78-21E6-3BF0-DFD5-7683A327CB4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grpSp>
      <p:grpSp>
        <p:nvGrpSpPr>
          <p:cNvPr id="6" name="Group 5">
            <a:extLst>
              <a:ext uri="{FF2B5EF4-FFF2-40B4-BE49-F238E27FC236}">
                <a16:creationId xmlns:a16="http://schemas.microsoft.com/office/drawing/2014/main" id="{617F2815-2723-8B68-1895-6F75E8862D7D}"/>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B9A27B1C-368E-BD59-3CAD-0D5C2B8916D6}"/>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8B939BCA-4EA2-A201-945F-BE978159287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E7973B7-4DAE-CD9B-D7A6-6662912FCE9D}"/>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C95961F-3CB5-1F23-81EC-159C024A83F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5B985903-2D31-FC1B-0009-3AA6C0F934F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3B55194A-D386-BFF1-143D-B6E2BB4E09C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Rectangle: Single Corner Rounded 12">
            <a:extLst>
              <a:ext uri="{FF2B5EF4-FFF2-40B4-BE49-F238E27FC236}">
                <a16:creationId xmlns:a16="http://schemas.microsoft.com/office/drawing/2014/main" id="{8374FACD-52DD-EA00-5EF3-BC4189A80511}"/>
              </a:ext>
              <a:ext uri="{C183D7F6-B498-43B3-948B-1728B52AA6E4}">
                <adec:decorative xmlns:adec="http://schemas.microsoft.com/office/drawing/2017/decorative" val="1"/>
              </a:ext>
            </a:extLst>
          </p:cNvPr>
          <p:cNvSpPr/>
          <p:nvPr userDrawn="1"/>
        </p:nvSpPr>
        <p:spPr bwMode="auto">
          <a:xfrm flipH="1" flipV="1">
            <a:off x="588262" y="1436687"/>
            <a:ext cx="11603738" cy="4818968"/>
          </a:xfrm>
          <a:prstGeom prst="round1Rect">
            <a:avLst>
              <a:gd name="adj" fmla="val 98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14" name="Rectangle 13">
            <a:extLst>
              <a:ext uri="{FF2B5EF4-FFF2-40B4-BE49-F238E27FC236}">
                <a16:creationId xmlns:a16="http://schemas.microsoft.com/office/drawing/2014/main" id="{49C9DDBF-8B25-3840-D167-F7A82E6FE24F}"/>
              </a:ext>
              <a:ext uri="{C183D7F6-B498-43B3-948B-1728B52AA6E4}">
                <adec:decorative xmlns:adec="http://schemas.microsoft.com/office/drawing/2017/decorative" val="1"/>
              </a:ext>
            </a:extLst>
          </p:cNvPr>
          <p:cNvSpPr/>
          <p:nvPr userDrawn="1"/>
        </p:nvSpPr>
        <p:spPr bwMode="auto">
          <a:xfrm>
            <a:off x="588262" y="1436687"/>
            <a:ext cx="11603738" cy="27432"/>
          </a:xfrm>
          <a:prstGeom prst="rect">
            <a:avLst/>
          </a:pr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cxnSp>
        <p:nvCxnSpPr>
          <p:cNvPr id="19" name="Straight Connector 18">
            <a:extLst>
              <a:ext uri="{FF2B5EF4-FFF2-40B4-BE49-F238E27FC236}">
                <a16:creationId xmlns:a16="http://schemas.microsoft.com/office/drawing/2014/main" id="{F91E9A27-D6CC-6ADB-3B1A-09AD805944C2}"/>
              </a:ext>
              <a:ext uri="{C183D7F6-B498-43B3-948B-1728B52AA6E4}">
                <adec:decorative xmlns:adec="http://schemas.microsoft.com/office/drawing/2017/decorative" val="1"/>
              </a:ext>
            </a:extLst>
          </p:cNvPr>
          <p:cNvCxnSpPr>
            <a:cxnSpLocks/>
          </p:cNvCxnSpPr>
          <p:nvPr userDrawn="1"/>
        </p:nvCxnSpPr>
        <p:spPr>
          <a:xfrm>
            <a:off x="588262" y="3960694"/>
            <a:ext cx="536803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BA56D00-DB58-EDF1-0A30-1D11A02C988D}"/>
              </a:ext>
              <a:ext uri="{C183D7F6-B498-43B3-948B-1728B52AA6E4}">
                <adec:decorative xmlns:adec="http://schemas.microsoft.com/office/drawing/2017/decorative" val="1"/>
              </a:ext>
            </a:extLst>
          </p:cNvPr>
          <p:cNvCxnSpPr>
            <a:cxnSpLocks/>
          </p:cNvCxnSpPr>
          <p:nvPr userDrawn="1"/>
        </p:nvCxnSpPr>
        <p:spPr>
          <a:xfrm rot="16200000">
            <a:off x="443006" y="2381007"/>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702CFBE-401A-43E3-048B-447ADDF25605}"/>
              </a:ext>
              <a:ext uri="{C183D7F6-B498-43B3-948B-1728B52AA6E4}">
                <adec:decorative xmlns:adec="http://schemas.microsoft.com/office/drawing/2017/decorative" val="1"/>
              </a:ext>
            </a:extLst>
          </p:cNvPr>
          <p:cNvCxnSpPr>
            <a:cxnSpLocks/>
          </p:cNvCxnSpPr>
          <p:nvPr userDrawn="1"/>
        </p:nvCxnSpPr>
        <p:spPr>
          <a:xfrm rot="16200000">
            <a:off x="443006" y="4506369"/>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AF20B33-9D22-25D5-0CFB-8DFC6DD8700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4037518A-EA26-1916-E462-AE8ECFD50937}"/>
              </a:ext>
            </a:extLst>
          </p:cNvPr>
          <p:cNvSpPr>
            <a:spLocks noGrp="1"/>
          </p:cNvSpPr>
          <p:nvPr>
            <p:ph type="body" sz="quarter" idx="15" hasCustomPrompt="1"/>
          </p:nvPr>
        </p:nvSpPr>
        <p:spPr>
          <a:xfrm>
            <a:off x="777238" y="1621002"/>
            <a:ext cx="10826500" cy="298305"/>
          </a:xfrm>
          <a:noFill/>
        </p:spPr>
        <p:txBody>
          <a:bodyPr wrap="square" lIns="0" tIns="0" rIns="0" bIns="0" anchor="t">
            <a:noAutofit/>
          </a:bodyPr>
          <a:lstStyle>
            <a:lvl1pPr marL="0" indent="0" algn="l">
              <a:buFont typeface="Arial" panose="020B0604020202020204" pitchFamily="34" charse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9B957023-D5C8-4C46-7AF3-D557E5C52B36}"/>
              </a:ext>
            </a:extLst>
          </p:cNvPr>
          <p:cNvSpPr>
            <a:spLocks noGrp="1"/>
          </p:cNvSpPr>
          <p:nvPr>
            <p:ph type="body" sz="quarter" idx="16" hasCustomPrompt="1"/>
          </p:nvPr>
        </p:nvSpPr>
        <p:spPr>
          <a:xfrm>
            <a:off x="1402152" y="2261674"/>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294C83CD-3C29-43EC-9DE9-6C8EDB40C39B}"/>
              </a:ext>
            </a:extLst>
          </p:cNvPr>
          <p:cNvSpPr>
            <a:spLocks noGrp="1"/>
          </p:cNvSpPr>
          <p:nvPr>
            <p:ph type="body" sz="quarter" idx="17" hasCustomPrompt="1"/>
          </p:nvPr>
        </p:nvSpPr>
        <p:spPr>
          <a:xfrm>
            <a:off x="1533639" y="2611299"/>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0679245-30A6-784E-C5A4-39B1596ABD57}"/>
              </a:ext>
            </a:extLst>
          </p:cNvPr>
          <p:cNvSpPr>
            <a:spLocks noGrp="1"/>
          </p:cNvSpPr>
          <p:nvPr>
            <p:ph type="body" sz="quarter" idx="18" hasCustomPrompt="1"/>
          </p:nvPr>
        </p:nvSpPr>
        <p:spPr>
          <a:xfrm>
            <a:off x="1402152" y="4384037"/>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C6D3CFE0-62C9-7A43-A5F6-FE9BC528729B}"/>
              </a:ext>
            </a:extLst>
          </p:cNvPr>
          <p:cNvSpPr>
            <a:spLocks noGrp="1"/>
          </p:cNvSpPr>
          <p:nvPr>
            <p:ph type="body" sz="quarter" idx="19" hasCustomPrompt="1"/>
          </p:nvPr>
        </p:nvSpPr>
        <p:spPr>
          <a:xfrm>
            <a:off x="1533639" y="4733662"/>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Picture Placeholder 58">
            <a:extLst>
              <a:ext uri="{FF2B5EF4-FFF2-40B4-BE49-F238E27FC236}">
                <a16:creationId xmlns:a16="http://schemas.microsoft.com/office/drawing/2014/main" id="{7B5AAAD8-C5EB-3E6E-0760-A7F9BAF331FF}"/>
              </a:ext>
            </a:extLst>
          </p:cNvPr>
          <p:cNvSpPr>
            <a:spLocks noGrp="1"/>
          </p:cNvSpPr>
          <p:nvPr>
            <p:ph type="pic" sz="quarter" idx="22"/>
          </p:nvPr>
        </p:nvSpPr>
        <p:spPr>
          <a:xfrm>
            <a:off x="5998916" y="2417148"/>
            <a:ext cx="5604824" cy="322727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
        <p:nvSpPr>
          <p:cNvPr id="40" name="Text Placeholder 35">
            <a:extLst>
              <a:ext uri="{FF2B5EF4-FFF2-40B4-BE49-F238E27FC236}">
                <a16:creationId xmlns:a16="http://schemas.microsoft.com/office/drawing/2014/main" id="{9C0064E9-2676-9B0B-2197-936C8E2D5A44}"/>
              </a:ext>
            </a:extLst>
          </p:cNvPr>
          <p:cNvSpPr>
            <a:spLocks noGrp="1"/>
          </p:cNvSpPr>
          <p:nvPr>
            <p:ph type="body" sz="quarter" idx="20" hasCustomPrompt="1"/>
          </p:nvPr>
        </p:nvSpPr>
        <p:spPr>
          <a:xfrm>
            <a:off x="5998914" y="5869249"/>
            <a:ext cx="5488235" cy="139110"/>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325780964"/>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5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579011D-1C7C-A2D2-7808-778E3AF0A32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1405A153-0FFD-A2D6-638C-28F3375F9F3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D3AB161C-9D77-344D-0323-290CAD47B99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sp>
        <p:nvSpPr>
          <p:cNvPr id="6" name="Rectangle 5">
            <a:extLst>
              <a:ext uri="{FF2B5EF4-FFF2-40B4-BE49-F238E27FC236}">
                <a16:creationId xmlns:a16="http://schemas.microsoft.com/office/drawing/2014/main" id="{765890C9-BA95-2FE6-8773-A60695F10BCC}"/>
              </a:ext>
              <a:ext uri="{C183D7F6-B498-43B3-948B-1728B52AA6E4}">
                <adec:decorative xmlns:adec="http://schemas.microsoft.com/office/drawing/2017/decorative" val="1"/>
              </a:ext>
            </a:extLst>
          </p:cNvPr>
          <p:cNvSpPr/>
          <p:nvPr userDrawn="1"/>
        </p:nvSpPr>
        <p:spPr bwMode="auto">
          <a:xfrm rot="16200000">
            <a:off x="6061472" y="-4758631"/>
            <a:ext cx="69057" cy="12192002"/>
          </a:xfrm>
          <a:prstGeom prst="rect">
            <a:avLst/>
          </a:prstGeom>
          <a:gradFill flip="none" rotWithShape="1">
            <a:gsLst>
              <a:gs pos="100000">
                <a:schemeClr val="tx2">
                  <a:lumMod val="60000"/>
                  <a:lumOff val="40000"/>
                </a:schemeClr>
              </a:gs>
              <a:gs pos="2000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2FA1BDB4-6EB2-0357-3B85-B3F56B10EBA5}"/>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C8145BDC-F2EF-D1D7-6F29-82C55C01A23D}"/>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6DBD9920-8688-04DD-AFE5-C5E74AE7A447}"/>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C00AC885-4AA7-1995-4F2C-071DB9B3475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3" name="Freeform: Shape 12">
                  <a:extLst>
                    <a:ext uri="{FF2B5EF4-FFF2-40B4-BE49-F238E27FC236}">
                      <a16:creationId xmlns:a16="http://schemas.microsoft.com/office/drawing/2014/main" id="{1669860A-6C81-F026-FAF3-A86F6CE4ED8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65C4A214-FF46-CE62-C4E3-DBD245C79BC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17039192-0BBB-AF94-CF10-B163B256C6E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4" name="Rectangle: Top Corners Rounded 13">
            <a:extLst>
              <a:ext uri="{FF2B5EF4-FFF2-40B4-BE49-F238E27FC236}">
                <a16:creationId xmlns:a16="http://schemas.microsoft.com/office/drawing/2014/main" id="{378E9B85-FD23-5291-6803-9521E13AAA85}"/>
              </a:ext>
              <a:ext uri="{C183D7F6-B498-43B3-948B-1728B52AA6E4}">
                <adec:decorative xmlns:adec="http://schemas.microsoft.com/office/drawing/2017/decorative" val="1"/>
              </a:ext>
            </a:extLst>
          </p:cNvPr>
          <p:cNvSpPr/>
          <p:nvPr userDrawn="1"/>
        </p:nvSpPr>
        <p:spPr bwMode="auto">
          <a:xfrm rot="16200000">
            <a:off x="2937230" y="1964970"/>
            <a:ext cx="1908830" cy="6614889"/>
          </a:xfrm>
          <a:prstGeom prst="round2SameRect">
            <a:avLst>
              <a:gd name="adj1" fmla="val 9481"/>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cxnSp>
        <p:nvCxnSpPr>
          <p:cNvPr id="17" name="Straight Connector 16">
            <a:extLst>
              <a:ext uri="{FF2B5EF4-FFF2-40B4-BE49-F238E27FC236}">
                <a16:creationId xmlns:a16="http://schemas.microsoft.com/office/drawing/2014/main" id="{B14EFCE7-4A4D-3160-4EF8-6BCDDC364BC6}"/>
              </a:ext>
              <a:ext uri="{C183D7F6-B498-43B3-948B-1728B52AA6E4}">
                <adec:decorative xmlns:adec="http://schemas.microsoft.com/office/drawing/2017/decorative" val="1"/>
              </a:ext>
            </a:extLst>
          </p:cNvPr>
          <p:cNvCxnSpPr>
            <a:cxnSpLocks/>
          </p:cNvCxnSpPr>
          <p:nvPr userDrawn="1"/>
        </p:nvCxnSpPr>
        <p:spPr>
          <a:xfrm rot="5400000">
            <a:off x="2908877" y="5272415"/>
            <a:ext cx="170303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D8B3620-9E88-798D-E42D-DDF13FEA7D58}"/>
              </a:ext>
            </a:extLst>
          </p:cNvPr>
          <p:cNvCxnSpPr>
            <a:cxnSpLocks/>
          </p:cNvCxnSpPr>
          <p:nvPr userDrawn="1"/>
        </p:nvCxnSpPr>
        <p:spPr>
          <a:xfrm flipH="1">
            <a:off x="1432561" y="2769472"/>
            <a:ext cx="538733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386064D2-13E1-572C-329E-2685E1408598}"/>
              </a:ext>
            </a:extLst>
          </p:cNvPr>
          <p:cNvSpPr>
            <a:spLocks noGrp="1"/>
          </p:cNvSpPr>
          <p:nvPr>
            <p:ph type="title"/>
          </p:nvPr>
        </p:nvSpPr>
        <p:spPr>
          <a:xfrm>
            <a:off x="588263" y="457200"/>
            <a:ext cx="6429757"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E491AA92-D73B-6E33-721B-4F139E3205E4}"/>
              </a:ext>
            </a:extLst>
          </p:cNvPr>
          <p:cNvSpPr>
            <a:spLocks noGrp="1"/>
          </p:cNvSpPr>
          <p:nvPr>
            <p:ph type="body" sz="quarter" idx="16" hasCustomPrompt="1"/>
          </p:nvPr>
        </p:nvSpPr>
        <p:spPr>
          <a:xfrm>
            <a:off x="1432340" y="1509442"/>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0943156C-40F4-8A48-5E6D-AAD60CC3B45D}"/>
              </a:ext>
            </a:extLst>
          </p:cNvPr>
          <p:cNvSpPr>
            <a:spLocks noGrp="1"/>
          </p:cNvSpPr>
          <p:nvPr>
            <p:ph type="body" sz="quarter" idx="18" hasCustomPrompt="1"/>
          </p:nvPr>
        </p:nvSpPr>
        <p:spPr>
          <a:xfrm>
            <a:off x="1432340" y="1895144"/>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B5100769-766C-D10B-F6CB-BC1C67659FDE}"/>
              </a:ext>
            </a:extLst>
          </p:cNvPr>
          <p:cNvSpPr>
            <a:spLocks noGrp="1"/>
          </p:cNvSpPr>
          <p:nvPr>
            <p:ph type="body" sz="quarter" idx="19" hasCustomPrompt="1"/>
          </p:nvPr>
        </p:nvSpPr>
        <p:spPr>
          <a:xfrm>
            <a:off x="1432340" y="2907015"/>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F239A77-6870-09E0-EBCA-C8A6DEDD98A1}"/>
              </a:ext>
            </a:extLst>
          </p:cNvPr>
          <p:cNvSpPr>
            <a:spLocks noGrp="1"/>
          </p:cNvSpPr>
          <p:nvPr>
            <p:ph type="body" sz="quarter" idx="20" hasCustomPrompt="1"/>
          </p:nvPr>
        </p:nvSpPr>
        <p:spPr>
          <a:xfrm>
            <a:off x="1432340" y="3292717"/>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72D22397-195F-7C5B-3BCB-3E13FA171310}"/>
              </a:ext>
            </a:extLst>
          </p:cNvPr>
          <p:cNvSpPr>
            <a:spLocks noGrp="1"/>
          </p:cNvSpPr>
          <p:nvPr>
            <p:ph type="body" sz="quarter" idx="21" hasCustomPrompt="1"/>
          </p:nvPr>
        </p:nvSpPr>
        <p:spPr>
          <a:xfrm>
            <a:off x="78464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CC463DDF-4012-B1E9-19C2-9B1C0962CB64}"/>
              </a:ext>
            </a:extLst>
          </p:cNvPr>
          <p:cNvSpPr>
            <a:spLocks noGrp="1"/>
          </p:cNvSpPr>
          <p:nvPr>
            <p:ph type="body" sz="quarter" idx="22" hasCustomPrompt="1"/>
          </p:nvPr>
        </p:nvSpPr>
        <p:spPr>
          <a:xfrm>
            <a:off x="78464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438EFA4A-A8C7-49F9-3827-4FA4A6E0F3DC}"/>
              </a:ext>
            </a:extLst>
          </p:cNvPr>
          <p:cNvSpPr>
            <a:spLocks noGrp="1"/>
          </p:cNvSpPr>
          <p:nvPr>
            <p:ph type="body" sz="quarter" idx="23" hasCustomPrompt="1"/>
          </p:nvPr>
        </p:nvSpPr>
        <p:spPr>
          <a:xfrm>
            <a:off x="396630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5EC1ED19-3FAA-4E32-70A9-E69DF22EC12F}"/>
              </a:ext>
            </a:extLst>
          </p:cNvPr>
          <p:cNvSpPr>
            <a:spLocks noGrp="1"/>
          </p:cNvSpPr>
          <p:nvPr>
            <p:ph type="body" sz="quarter" idx="24" hasCustomPrompt="1"/>
          </p:nvPr>
        </p:nvSpPr>
        <p:spPr>
          <a:xfrm>
            <a:off x="396630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Picture Placeholder 58">
            <a:extLst>
              <a:ext uri="{FF2B5EF4-FFF2-40B4-BE49-F238E27FC236}">
                <a16:creationId xmlns:a16="http://schemas.microsoft.com/office/drawing/2014/main" id="{F20CB609-76D6-2283-30D6-80BBB75FCEC8}"/>
              </a:ext>
            </a:extLst>
          </p:cNvPr>
          <p:cNvSpPr>
            <a:spLocks noGrp="1"/>
          </p:cNvSpPr>
          <p:nvPr>
            <p:ph type="pic" sz="quarter" idx="25"/>
          </p:nvPr>
        </p:nvSpPr>
        <p:spPr>
          <a:xfrm>
            <a:off x="7199091" y="215899"/>
            <a:ext cx="4410299" cy="6426199"/>
          </a:xfrm>
          <a:prstGeom prst="roundRect">
            <a:avLst>
              <a:gd name="adj" fmla="val 5089"/>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969484193"/>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Journey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A5B046-59E0-972E-F8C1-34708B147DE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E439117-F8A5-C6CE-6461-FB96C254E4FE}"/>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6412AB3-9178-BD49-8DA0-44FF6A9F02CE}"/>
              </a:ext>
              <a:ext uri="{C183D7F6-B498-43B3-948B-1728B52AA6E4}">
                <adec:decorative xmlns:adec="http://schemas.microsoft.com/office/drawing/2017/decorative" val="1"/>
              </a:ext>
            </a:extLst>
          </p:cNvPr>
          <p:cNvSpPr/>
          <p:nvPr userDrawn="1"/>
        </p:nvSpPr>
        <p:spPr bwMode="auto">
          <a:xfrm>
            <a:off x="0" y="1663700"/>
            <a:ext cx="12192000" cy="3975100"/>
          </a:xfrm>
          <a:prstGeom prst="rect">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8" name="Straight Connector 7">
            <a:extLst>
              <a:ext uri="{FF2B5EF4-FFF2-40B4-BE49-F238E27FC236}">
                <a16:creationId xmlns:a16="http://schemas.microsoft.com/office/drawing/2014/main" id="{79FEAACB-A92D-48D2-828C-4E09A76C5F5F}"/>
              </a:ext>
              <a:ext uri="{C183D7F6-B498-43B3-948B-1728B52AA6E4}">
                <adec:decorative xmlns:adec="http://schemas.microsoft.com/office/drawing/2017/decorative" val="1"/>
              </a:ext>
            </a:extLst>
          </p:cNvPr>
          <p:cNvCxnSpPr>
            <a:cxnSpLocks/>
          </p:cNvCxnSpPr>
          <p:nvPr/>
        </p:nvCxnSpPr>
        <p:spPr>
          <a:xfrm>
            <a:off x="484632" y="3437367"/>
            <a:ext cx="11222737" cy="0"/>
          </a:xfrm>
          <a:prstGeom prst="line">
            <a:avLst/>
          </a:prstGeom>
          <a:ln w="231775" cap="rnd">
            <a:gradFill flip="none" rotWithShape="1">
              <a:gsLst>
                <a:gs pos="0">
                  <a:schemeClr val="tx2">
                    <a:lumMod val="50000"/>
                  </a:schemeClr>
                </a:gs>
                <a:gs pos="100000">
                  <a:schemeClr val="tx2">
                    <a:lumMod val="60000"/>
                    <a:lumOff val="40000"/>
                  </a:schemeClr>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AD2F12-CB4D-616E-E0BA-E7FF540F1EA2}"/>
              </a:ext>
              <a:ext uri="{C183D7F6-B498-43B3-948B-1728B52AA6E4}">
                <adec:decorative xmlns:adec="http://schemas.microsoft.com/office/drawing/2017/decorative" val="1"/>
              </a:ext>
            </a:extLst>
          </p:cNvPr>
          <p:cNvCxnSpPr>
            <a:cxnSpLocks/>
          </p:cNvCxnSpPr>
          <p:nvPr/>
        </p:nvCxnSpPr>
        <p:spPr>
          <a:xfrm>
            <a:off x="484632" y="3440798"/>
            <a:ext cx="11222737" cy="0"/>
          </a:xfrm>
          <a:prstGeom prst="line">
            <a:avLst/>
          </a:prstGeom>
          <a:ln w="57150" cap="rnd">
            <a:gradFill flip="none" rotWithShape="1">
              <a:gsLst>
                <a:gs pos="0">
                  <a:schemeClr val="bg1">
                    <a:lumMod val="95000"/>
                  </a:schemeClr>
                </a:gs>
                <a:gs pos="100000">
                  <a:schemeClr val="bg1"/>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F93A6098-6275-2D2D-5D0D-D30882EAAB1A}"/>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61" name="Group 60">
              <a:extLst>
                <a:ext uri="{FF2B5EF4-FFF2-40B4-BE49-F238E27FC236}">
                  <a16:creationId xmlns:a16="http://schemas.microsoft.com/office/drawing/2014/main" id="{1120C87C-41F6-535E-C3EF-1E7FB6DAA3A0}"/>
                </a:ext>
              </a:extLst>
            </p:cNvPr>
            <p:cNvGrpSpPr/>
            <p:nvPr/>
          </p:nvGrpSpPr>
          <p:grpSpPr>
            <a:xfrm>
              <a:off x="0" y="0"/>
              <a:ext cx="12192000" cy="6858002"/>
              <a:chOff x="0" y="0"/>
              <a:chExt cx="12192000" cy="6858002"/>
            </a:xfrm>
          </p:grpSpPr>
          <p:grpSp>
            <p:nvGrpSpPr>
              <p:cNvPr id="63" name="Group 62">
                <a:extLst>
                  <a:ext uri="{FF2B5EF4-FFF2-40B4-BE49-F238E27FC236}">
                    <a16:creationId xmlns:a16="http://schemas.microsoft.com/office/drawing/2014/main" id="{2848DB1C-4508-050F-79AA-9E3B2D0F959D}"/>
                  </a:ext>
                </a:extLst>
              </p:cNvPr>
              <p:cNvGrpSpPr/>
              <p:nvPr/>
            </p:nvGrpSpPr>
            <p:grpSpPr>
              <a:xfrm>
                <a:off x="9486900" y="0"/>
                <a:ext cx="2705100" cy="694583"/>
                <a:chOff x="9486900" y="0"/>
                <a:chExt cx="2705100" cy="694583"/>
              </a:xfrm>
            </p:grpSpPr>
            <p:sp>
              <p:nvSpPr>
                <p:cNvPr id="65" name="Freeform: Shape 64">
                  <a:extLst>
                    <a:ext uri="{FF2B5EF4-FFF2-40B4-BE49-F238E27FC236}">
                      <a16:creationId xmlns:a16="http://schemas.microsoft.com/office/drawing/2014/main" id="{7B68DDC4-B2B8-80C0-1C9F-1C57CC99DAB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66" name="Freeform: Shape 65">
                  <a:extLst>
                    <a:ext uri="{FF2B5EF4-FFF2-40B4-BE49-F238E27FC236}">
                      <a16:creationId xmlns:a16="http://schemas.microsoft.com/office/drawing/2014/main" id="{7AC86BD7-10E6-8DEF-0575-09A29456699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64" name="Freeform: Shape 63">
                <a:extLst>
                  <a:ext uri="{FF2B5EF4-FFF2-40B4-BE49-F238E27FC236}">
                    <a16:creationId xmlns:a16="http://schemas.microsoft.com/office/drawing/2014/main" id="{16CE70C2-FD38-D729-58CE-3006778DDEB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2" name="Freeform: Shape 61">
              <a:extLst>
                <a:ext uri="{FF2B5EF4-FFF2-40B4-BE49-F238E27FC236}">
                  <a16:creationId xmlns:a16="http://schemas.microsoft.com/office/drawing/2014/main" id="{E6EA16CD-6DCE-FC65-B870-3C1BE0FBA25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7" name="Title 1">
            <a:extLst>
              <a:ext uri="{FF2B5EF4-FFF2-40B4-BE49-F238E27FC236}">
                <a16:creationId xmlns:a16="http://schemas.microsoft.com/office/drawing/2014/main" id="{458BF5E6-C801-CE32-4857-8F86425191A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8" name="Text Placeholder 35">
            <a:extLst>
              <a:ext uri="{FF2B5EF4-FFF2-40B4-BE49-F238E27FC236}">
                <a16:creationId xmlns:a16="http://schemas.microsoft.com/office/drawing/2014/main" id="{BB9DFC15-607F-54DB-357C-04CD1CE9FDEC}"/>
              </a:ext>
            </a:extLst>
          </p:cNvPr>
          <p:cNvSpPr>
            <a:spLocks noGrp="1"/>
          </p:cNvSpPr>
          <p:nvPr>
            <p:ph type="body" sz="quarter" idx="21" hasCustomPrompt="1"/>
          </p:nvPr>
        </p:nvSpPr>
        <p:spPr>
          <a:xfrm>
            <a:off x="1229360"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9" name="Text Placeholder 35">
            <a:extLst>
              <a:ext uri="{FF2B5EF4-FFF2-40B4-BE49-F238E27FC236}">
                <a16:creationId xmlns:a16="http://schemas.microsoft.com/office/drawing/2014/main" id="{189414AC-6F31-B358-37BD-98B4D94B2FB0}"/>
              </a:ext>
            </a:extLst>
          </p:cNvPr>
          <p:cNvSpPr>
            <a:spLocks noGrp="1"/>
          </p:cNvSpPr>
          <p:nvPr>
            <p:ph type="body" sz="quarter" idx="22" hasCustomPrompt="1"/>
          </p:nvPr>
        </p:nvSpPr>
        <p:spPr>
          <a:xfrm>
            <a:off x="1229360"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0" name="Text Placeholder 35">
            <a:extLst>
              <a:ext uri="{FF2B5EF4-FFF2-40B4-BE49-F238E27FC236}">
                <a16:creationId xmlns:a16="http://schemas.microsoft.com/office/drawing/2014/main" id="{95424BEE-6890-D3E6-DDDF-B9937D75673A}"/>
              </a:ext>
            </a:extLst>
          </p:cNvPr>
          <p:cNvSpPr>
            <a:spLocks noGrp="1"/>
          </p:cNvSpPr>
          <p:nvPr>
            <p:ph type="body" sz="quarter" idx="23" hasCustomPrompt="1"/>
          </p:nvPr>
        </p:nvSpPr>
        <p:spPr>
          <a:xfrm>
            <a:off x="4692907"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1" name="Text Placeholder 35">
            <a:extLst>
              <a:ext uri="{FF2B5EF4-FFF2-40B4-BE49-F238E27FC236}">
                <a16:creationId xmlns:a16="http://schemas.microsoft.com/office/drawing/2014/main" id="{0DDA5669-4F4C-BF00-5A68-D29157DB3035}"/>
              </a:ext>
            </a:extLst>
          </p:cNvPr>
          <p:cNvSpPr>
            <a:spLocks noGrp="1"/>
          </p:cNvSpPr>
          <p:nvPr>
            <p:ph type="body" sz="quarter" idx="24" hasCustomPrompt="1"/>
          </p:nvPr>
        </p:nvSpPr>
        <p:spPr>
          <a:xfrm>
            <a:off x="4692907"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2" name="Text Placeholder 35">
            <a:extLst>
              <a:ext uri="{FF2B5EF4-FFF2-40B4-BE49-F238E27FC236}">
                <a16:creationId xmlns:a16="http://schemas.microsoft.com/office/drawing/2014/main" id="{3DDD5FF4-28C3-5688-D4D5-D310B4C9EF43}"/>
              </a:ext>
            </a:extLst>
          </p:cNvPr>
          <p:cNvSpPr>
            <a:spLocks noGrp="1"/>
          </p:cNvSpPr>
          <p:nvPr>
            <p:ph type="body" sz="quarter" idx="25" hasCustomPrompt="1"/>
          </p:nvPr>
        </p:nvSpPr>
        <p:spPr>
          <a:xfrm>
            <a:off x="8156454"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3" name="Text Placeholder 35">
            <a:extLst>
              <a:ext uri="{FF2B5EF4-FFF2-40B4-BE49-F238E27FC236}">
                <a16:creationId xmlns:a16="http://schemas.microsoft.com/office/drawing/2014/main" id="{E25B8280-4D41-B249-B0BE-CB743A8BB013}"/>
              </a:ext>
            </a:extLst>
          </p:cNvPr>
          <p:cNvSpPr>
            <a:spLocks noGrp="1"/>
          </p:cNvSpPr>
          <p:nvPr>
            <p:ph type="body" sz="quarter" idx="26" hasCustomPrompt="1"/>
          </p:nvPr>
        </p:nvSpPr>
        <p:spPr>
          <a:xfrm>
            <a:off x="8156454"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6FD07BB8-E65C-4D7B-3227-5B6B27FF0DE9}"/>
              </a:ext>
            </a:extLst>
          </p:cNvPr>
          <p:cNvSpPr>
            <a:spLocks noGrp="1"/>
          </p:cNvSpPr>
          <p:nvPr>
            <p:ph type="body" sz="quarter" idx="29" hasCustomPrompt="1"/>
          </p:nvPr>
        </p:nvSpPr>
        <p:spPr>
          <a:xfrm>
            <a:off x="3018508"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7" name="Text Placeholder 35">
            <a:extLst>
              <a:ext uri="{FF2B5EF4-FFF2-40B4-BE49-F238E27FC236}">
                <a16:creationId xmlns:a16="http://schemas.microsoft.com/office/drawing/2014/main" id="{59B7617D-5400-AD67-34DE-4DED7F0BF422}"/>
              </a:ext>
            </a:extLst>
          </p:cNvPr>
          <p:cNvSpPr>
            <a:spLocks noGrp="1"/>
          </p:cNvSpPr>
          <p:nvPr>
            <p:ph type="body" sz="quarter" idx="30" hasCustomPrompt="1"/>
          </p:nvPr>
        </p:nvSpPr>
        <p:spPr>
          <a:xfrm>
            <a:off x="3018508"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4" name="Text Placeholder 35">
            <a:extLst>
              <a:ext uri="{FF2B5EF4-FFF2-40B4-BE49-F238E27FC236}">
                <a16:creationId xmlns:a16="http://schemas.microsoft.com/office/drawing/2014/main" id="{A7201DD7-B2B1-18D8-C764-B00E25118D54}"/>
              </a:ext>
            </a:extLst>
          </p:cNvPr>
          <p:cNvSpPr>
            <a:spLocks noGrp="1"/>
          </p:cNvSpPr>
          <p:nvPr>
            <p:ph type="body" sz="quarter" idx="27" hasCustomPrompt="1"/>
          </p:nvPr>
        </p:nvSpPr>
        <p:spPr>
          <a:xfrm>
            <a:off x="6482055"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5" name="Text Placeholder 35">
            <a:extLst>
              <a:ext uri="{FF2B5EF4-FFF2-40B4-BE49-F238E27FC236}">
                <a16:creationId xmlns:a16="http://schemas.microsoft.com/office/drawing/2014/main" id="{F4B8B905-C7DA-7937-0719-71BFCCA4A0AE}"/>
              </a:ext>
            </a:extLst>
          </p:cNvPr>
          <p:cNvSpPr>
            <a:spLocks noGrp="1"/>
          </p:cNvSpPr>
          <p:nvPr>
            <p:ph type="body" sz="quarter" idx="28" hasCustomPrompt="1"/>
          </p:nvPr>
        </p:nvSpPr>
        <p:spPr>
          <a:xfrm>
            <a:off x="6482055"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8" name="Text Placeholder 35">
            <a:extLst>
              <a:ext uri="{FF2B5EF4-FFF2-40B4-BE49-F238E27FC236}">
                <a16:creationId xmlns:a16="http://schemas.microsoft.com/office/drawing/2014/main" id="{27A0A4C3-06DD-141F-B062-3F1926EFC76D}"/>
              </a:ext>
            </a:extLst>
          </p:cNvPr>
          <p:cNvSpPr>
            <a:spLocks noGrp="1"/>
          </p:cNvSpPr>
          <p:nvPr>
            <p:ph type="body" sz="quarter" idx="31" hasCustomPrompt="1"/>
          </p:nvPr>
        </p:nvSpPr>
        <p:spPr>
          <a:xfrm>
            <a:off x="9945603" y="3830449"/>
            <a:ext cx="1827298"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9" name="Text Placeholder 35">
            <a:extLst>
              <a:ext uri="{FF2B5EF4-FFF2-40B4-BE49-F238E27FC236}">
                <a16:creationId xmlns:a16="http://schemas.microsoft.com/office/drawing/2014/main" id="{6AEA7289-7121-7115-FDCB-317D2D9C3BF0}"/>
              </a:ext>
            </a:extLst>
          </p:cNvPr>
          <p:cNvSpPr>
            <a:spLocks noGrp="1"/>
          </p:cNvSpPr>
          <p:nvPr>
            <p:ph type="body" sz="quarter" idx="32" hasCustomPrompt="1"/>
          </p:nvPr>
        </p:nvSpPr>
        <p:spPr>
          <a:xfrm>
            <a:off x="9945604" y="4153425"/>
            <a:ext cx="1827296"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70961912"/>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Journey slide 2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2D6FE3-3B27-1DFD-0D96-8B845B1D339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C51E1B8-74C0-FCF7-6360-5E09521D177B}"/>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575E6861-E08B-2006-2C1A-C0134ACA3E9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D76EFE29-6736-0590-0F90-2DE6443B4897}"/>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4897373-7F99-1627-C04F-E621CF58ED5F}"/>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6B82EA48-DAB6-55ED-13B8-C129CFE6378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F8F8D310-F6C8-C061-815D-2B38C947717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F1434399-00A1-8F02-0D47-6A971607F89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7" name="Freeform: Shape 6">
              <a:extLst>
                <a:ext uri="{FF2B5EF4-FFF2-40B4-BE49-F238E27FC236}">
                  <a16:creationId xmlns:a16="http://schemas.microsoft.com/office/drawing/2014/main" id="{D96CDF64-9A87-F83A-707E-B0698057723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70AB124E-D719-02B2-A829-283ADD554E46}"/>
              </a:ext>
              <a:ext uri="{C183D7F6-B498-43B3-948B-1728B52AA6E4}">
                <adec:decorative xmlns:adec="http://schemas.microsoft.com/office/drawing/2017/decorative" val="1"/>
              </a:ext>
            </a:extLst>
          </p:cNvPr>
          <p:cNvSpPr/>
          <p:nvPr userDrawn="1"/>
        </p:nvSpPr>
        <p:spPr bwMode="auto">
          <a:xfrm flipV="1">
            <a:off x="-1" y="1436688"/>
            <a:ext cx="12192001" cy="4595812"/>
          </a:xfrm>
          <a:prstGeom prst="round1Rect">
            <a:avLst>
              <a:gd name="adj" fmla="val 17740"/>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a:solidFill>
                <a:schemeClr val="bg1"/>
              </a:solidFill>
              <a:latin typeface="+mj-lt"/>
              <a:ea typeface="Segoe UI Black" panose="020B0A02040204020203" pitchFamily="34" charset="0"/>
            </a:endParaRPr>
          </a:p>
        </p:txBody>
      </p:sp>
      <p:sp>
        <p:nvSpPr>
          <p:cNvPr id="14" name="Rectangle: Top Corners Rounded 13">
            <a:extLst>
              <a:ext uri="{FF2B5EF4-FFF2-40B4-BE49-F238E27FC236}">
                <a16:creationId xmlns:a16="http://schemas.microsoft.com/office/drawing/2014/main" id="{68A552BB-576F-1E88-CFA9-61230400739B}"/>
              </a:ext>
              <a:ext uri="{C183D7F6-B498-43B3-948B-1728B52AA6E4}">
                <adec:decorative xmlns:adec="http://schemas.microsoft.com/office/drawing/2017/decorative" val="1"/>
              </a:ext>
            </a:extLst>
          </p:cNvPr>
          <p:cNvSpPr/>
          <p:nvPr userDrawn="1"/>
        </p:nvSpPr>
        <p:spPr bwMode="auto">
          <a:xfrm rot="5400000" flipH="1">
            <a:off x="5433569" y="-2076654"/>
            <a:ext cx="736600" cy="11603740"/>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sp>
        <p:nvSpPr>
          <p:cNvPr id="45" name="Title 1">
            <a:extLst>
              <a:ext uri="{FF2B5EF4-FFF2-40B4-BE49-F238E27FC236}">
                <a16:creationId xmlns:a16="http://schemas.microsoft.com/office/drawing/2014/main" id="{CEAC6A46-1430-1B76-FCED-FC7C29AB3612}"/>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48A49D8-5813-6529-9752-9EA0BEEE7966}"/>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2E5FBA0-273F-E26E-B729-D4A77A04E71E}"/>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7D7C18BE-5B23-17A1-2A4A-6202E9CD8BC3}"/>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D3EBE101-992A-308E-88CA-151CDA547095}"/>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75F6DB81-2B06-0702-5952-D99FF76D8744}"/>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16DD49E8-9D9F-71B6-9196-A39FF19B6027}"/>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5C5217AB-2FA9-93A3-6620-B0E0487556B5}"/>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541CD13A-E0B5-99C0-044F-9FAA02E20EB1}"/>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E949BB2D-E1D5-20CB-F8FD-33D595CF831D}"/>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DA426B23-927C-FD71-FCFD-55F06FCA1B66}"/>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339EB25-DBF8-2DA9-F8AA-38BA83D13521}"/>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19F66D2-B094-4DD5-B653-75D9A5561677}"/>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74344017"/>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able slide (Dark)">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874A330F-DDD7-6DF9-0C2B-2C2EA20C8EC6}"/>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17BDB50D-FC04-E2B7-C48F-442EA377C86F}"/>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03F587C-4752-0120-FF5E-4E77D202A3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80BD8AB-3887-B6E4-FF30-02B77D702E2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D9AEBB9E-0EA3-3CF9-5E84-2AD025ABEBA3}"/>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783062F9-78A8-3C20-DE7A-F3101BE763C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A04F062B-9A5C-E7A5-630E-7F5ED1BE26D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5D9E7ED-3A7D-DA98-F03F-E33C76EA6D1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40801A54-6F60-A7D0-43C8-BC30F73BBDA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F4C353FE-A337-4604-1B2F-9C1C2955E0F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2AF0A7C8-246B-1CEF-A00E-97CD85F3745F}"/>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3" name="Rectangle: Top Corners Rounded 12">
            <a:extLst>
              <a:ext uri="{FF2B5EF4-FFF2-40B4-BE49-F238E27FC236}">
                <a16:creationId xmlns:a16="http://schemas.microsoft.com/office/drawing/2014/main" id="{271E3197-E26B-45C1-DD94-4A613C6354AE}"/>
              </a:ext>
            </a:extLst>
          </p:cNvPr>
          <p:cNvSpPr>
            <a:spLocks/>
          </p:cNvSpPr>
          <p:nvPr userDrawn="1"/>
        </p:nvSpPr>
        <p:spPr bwMode="auto">
          <a:xfrm flipH="1">
            <a:off x="588263" y="1733550"/>
            <a:ext cx="11015472" cy="4535488"/>
          </a:xfrm>
          <a:prstGeom prst="round2SameRect">
            <a:avLst>
              <a:gd name="adj1" fmla="val 0"/>
              <a:gd name="adj2" fmla="val 4489"/>
            </a:avLst>
          </a:prstGeom>
          <a:solidFill>
            <a:schemeClr val="tx2">
              <a:alpha val="50000"/>
            </a:schemeClr>
          </a:solidFill>
          <a:ln>
            <a:no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1600" err="1">
              <a:solidFill>
                <a:schemeClr val="tx1"/>
              </a:solidFill>
            </a:endParaRPr>
          </a:p>
        </p:txBody>
      </p:sp>
      <p:sp>
        <p:nvSpPr>
          <p:cNvPr id="14" name="Rectangle: Top Corners Rounded 13">
            <a:extLst>
              <a:ext uri="{FF2B5EF4-FFF2-40B4-BE49-F238E27FC236}">
                <a16:creationId xmlns:a16="http://schemas.microsoft.com/office/drawing/2014/main" id="{DD05F191-7555-34BA-B45C-AE7DE52D8836}"/>
              </a:ext>
            </a:extLst>
          </p:cNvPr>
          <p:cNvSpPr>
            <a:spLocks/>
          </p:cNvSpPr>
          <p:nvPr userDrawn="1"/>
        </p:nvSpPr>
        <p:spPr bwMode="auto">
          <a:xfrm flipH="1">
            <a:off x="587206" y="1428750"/>
            <a:ext cx="11017586" cy="596900"/>
          </a:xfrm>
          <a:prstGeom prst="round2SameRect">
            <a:avLst>
              <a:gd name="adj1" fmla="val 39007"/>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7" name="Title 1">
            <a:extLst>
              <a:ext uri="{FF2B5EF4-FFF2-40B4-BE49-F238E27FC236}">
                <a16:creationId xmlns:a16="http://schemas.microsoft.com/office/drawing/2014/main" id="{A6446783-E9BE-EE7B-DDAA-4BCDACD80AC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2976319593"/>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363C66-72AD-0E93-28D4-C669190056B8}"/>
              </a:ext>
            </a:extLst>
          </p:cNvPr>
          <p:cNvGrpSpPr/>
          <p:nvPr userDrawn="1"/>
        </p:nvGrpSpPr>
        <p:grpSpPr>
          <a:xfrm>
            <a:off x="0" y="0"/>
            <a:ext cx="12192000" cy="6858002"/>
            <a:chOff x="0" y="0"/>
            <a:chExt cx="12192000" cy="6858002"/>
          </a:xfrm>
        </p:grpSpPr>
        <p:grpSp>
          <p:nvGrpSpPr>
            <p:cNvPr id="4" name="Group 3">
              <a:extLst>
                <a:ext uri="{FF2B5EF4-FFF2-40B4-BE49-F238E27FC236}">
                  <a16:creationId xmlns:a16="http://schemas.microsoft.com/office/drawing/2014/main" id="{036CB204-80CF-5C05-00D4-6522A363309E}"/>
                </a:ext>
              </a:extLst>
            </p:cNvPr>
            <p:cNvGrpSpPr/>
            <p:nvPr userDrawn="1"/>
          </p:nvGrpSpPr>
          <p:grpSpPr>
            <a:xfrm>
              <a:off x="0" y="0"/>
              <a:ext cx="12192000" cy="6858000"/>
              <a:chOff x="0" y="0"/>
              <a:chExt cx="12192000" cy="6858000"/>
            </a:xfrm>
          </p:grpSpPr>
          <p:pic>
            <p:nvPicPr>
              <p:cNvPr id="12" name="Picture 11" descr="A picture containing blue, electric blue, majorelle blue, blur&#10;&#10;Description automatically generated">
                <a:extLst>
                  <a:ext uri="{FF2B5EF4-FFF2-40B4-BE49-F238E27FC236}">
                    <a16:creationId xmlns:a16="http://schemas.microsoft.com/office/drawing/2014/main" id="{3600F912-90CC-925B-6278-FC1727358D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A528B455-FECB-B7D6-8FDE-2BD26324B12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5" name="Group 4">
              <a:extLst>
                <a:ext uri="{FF2B5EF4-FFF2-40B4-BE49-F238E27FC236}">
                  <a16:creationId xmlns:a16="http://schemas.microsoft.com/office/drawing/2014/main" id="{5BC8496B-4DAF-63EE-5AFF-13FDF20CF832}"/>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B30AFDA1-5FC7-2B43-88B2-43863D232F69}"/>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0B02FFC-A32A-F3BE-3E95-79CE346B4955}"/>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898A0F8A-0B9B-58F2-2FE7-B8E7B354319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1" name="Freeform: Shape 10">
                    <a:extLst>
                      <a:ext uri="{FF2B5EF4-FFF2-40B4-BE49-F238E27FC236}">
                        <a16:creationId xmlns:a16="http://schemas.microsoft.com/office/drawing/2014/main" id="{6D747D3C-2451-FA89-28AD-1469BA113F4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9" name="Freeform: Shape 8">
                  <a:extLst>
                    <a:ext uri="{FF2B5EF4-FFF2-40B4-BE49-F238E27FC236}">
                      <a16:creationId xmlns:a16="http://schemas.microsoft.com/office/drawing/2014/main" id="{831EEA3D-EDA2-D0AE-B040-3D77052A4E93}"/>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7" name="Freeform: Shape 6">
                <a:extLst>
                  <a:ext uri="{FF2B5EF4-FFF2-40B4-BE49-F238E27FC236}">
                    <a16:creationId xmlns:a16="http://schemas.microsoft.com/office/drawing/2014/main" id="{DCB8B348-739B-0B41-0AEF-A96A3E004DC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1368165221"/>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Chart slid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5108E6-F6F8-A1F5-D4D2-168834BBD8D3}"/>
              </a:ext>
              <a:ext uri="{C183D7F6-B498-43B3-948B-1728B52AA6E4}">
                <adec:decorative xmlns:adec="http://schemas.microsoft.com/office/drawing/2017/decorative" val="1"/>
              </a:ext>
            </a:extLst>
          </p:cNvPr>
          <p:cNvGrpSpPr/>
          <p:nvPr userDrawn="1"/>
        </p:nvGrpSpPr>
        <p:grpSpPr>
          <a:xfrm>
            <a:off x="0" y="0"/>
            <a:ext cx="12192000" cy="6795078"/>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2E60905-D987-21A2-FFB1-C791541C93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0BC4C46-3888-2503-8FA7-E7099CE0B0B5}"/>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6F28955F-905C-5BE2-F38D-47D06EBBBC25}"/>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FD5F1DF1-B26F-5F38-677F-549B56603FC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14CB9709-BB9B-6D0E-86E9-E6402290ABAE}"/>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AE64557-0FC7-FE0D-9C0B-66910B13DCA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7EB0CEA-736C-A6B5-49A3-2D7056524E7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D27B92EA-0834-4C12-CB46-D141B90558C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endParaRPr lang="en-US">
                  <a:solidFill>
                    <a:schemeClr val="bg1"/>
                  </a:solidFill>
                </a:endParaRPr>
              </a:p>
            </p:txBody>
          </p:sp>
        </p:grpSp>
        <p:sp>
          <p:nvSpPr>
            <p:cNvPr id="8" name="Freeform: Shape 7">
              <a:extLst>
                <a:ext uri="{FF2B5EF4-FFF2-40B4-BE49-F238E27FC236}">
                  <a16:creationId xmlns:a16="http://schemas.microsoft.com/office/drawing/2014/main" id="{991E6195-8EC5-A016-E27E-79A12AAF102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Rounded Corners 12">
            <a:extLst>
              <a:ext uri="{FF2B5EF4-FFF2-40B4-BE49-F238E27FC236}">
                <a16:creationId xmlns:a16="http://schemas.microsoft.com/office/drawing/2014/main" id="{80D6BA44-DC14-C18F-8042-67753A9036AC}"/>
              </a:ext>
              <a:ext uri="{C183D7F6-B498-43B3-948B-1728B52AA6E4}">
                <adec:decorative xmlns:adec="http://schemas.microsoft.com/office/drawing/2017/decorative" val="1"/>
              </a:ext>
            </a:extLst>
          </p:cNvPr>
          <p:cNvSpPr>
            <a:spLocks/>
          </p:cNvSpPr>
          <p:nvPr userDrawn="1"/>
        </p:nvSpPr>
        <p:spPr bwMode="auto">
          <a:xfrm flipH="1">
            <a:off x="7069254" y="1428750"/>
            <a:ext cx="4539340" cy="4478564"/>
          </a:xfrm>
          <a:prstGeom prst="roundRect">
            <a:avLst>
              <a:gd name="adj" fmla="val 688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4" name="Rectangle: Rounded Corners 13">
            <a:extLst>
              <a:ext uri="{FF2B5EF4-FFF2-40B4-BE49-F238E27FC236}">
                <a16:creationId xmlns:a16="http://schemas.microsoft.com/office/drawing/2014/main" id="{82BD30B4-F090-031E-0456-132A1C717A4C}"/>
              </a:ext>
              <a:ext uri="{C183D7F6-B498-43B3-948B-1728B52AA6E4}">
                <adec:decorative xmlns:adec="http://schemas.microsoft.com/office/drawing/2017/decorative" val="1"/>
              </a:ext>
            </a:extLst>
          </p:cNvPr>
          <p:cNvSpPr>
            <a:spLocks/>
          </p:cNvSpPr>
          <p:nvPr userDrawn="1"/>
        </p:nvSpPr>
        <p:spPr bwMode="auto">
          <a:xfrm flipH="1">
            <a:off x="588263" y="1428750"/>
            <a:ext cx="6291508" cy="4478564"/>
          </a:xfrm>
          <a:prstGeom prst="roundRect">
            <a:avLst>
              <a:gd name="adj" fmla="val 603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8" name="Title 1">
            <a:extLst>
              <a:ext uri="{FF2B5EF4-FFF2-40B4-BE49-F238E27FC236}">
                <a16:creationId xmlns:a16="http://schemas.microsoft.com/office/drawing/2014/main" id="{0AC946C8-1EF7-AB95-20E5-E529D07E8A5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2925069377"/>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with venn diagram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E8879C0-FA43-E72C-072A-9FF21510100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FA7CA2AB-A783-6A4E-A150-AB8C5EC7868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179F96F-A61F-F9DB-2A42-8A2685403DD4}"/>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B2591517-E68A-0823-F095-19185AE61A99}"/>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5B936E5E-A088-1300-15A2-A199C5C73558}"/>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952C1DDE-2498-91AF-7F3F-124AD3E8DE2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8A9D393A-AC0B-6291-6EC3-6654F3B03AE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4166D34-F33B-BE5E-F8E6-B264FF2490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8AE73743-B861-5DE2-1C6A-475E414C6FA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0CE7177C-A577-4462-BA5B-051EAD09713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Single Corner Rounded 12">
            <a:extLst>
              <a:ext uri="{FF2B5EF4-FFF2-40B4-BE49-F238E27FC236}">
                <a16:creationId xmlns:a16="http://schemas.microsoft.com/office/drawing/2014/main" id="{7BB55CB6-BA4A-E3D5-645C-7F36B6CD6AF0}"/>
              </a:ext>
              <a:ext uri="{C183D7F6-B498-43B3-948B-1728B52AA6E4}">
                <adec:decorative xmlns:adec="http://schemas.microsoft.com/office/drawing/2017/decorative" val="1"/>
              </a:ext>
            </a:extLst>
          </p:cNvPr>
          <p:cNvSpPr/>
          <p:nvPr userDrawn="1"/>
        </p:nvSpPr>
        <p:spPr bwMode="auto">
          <a:xfrm>
            <a:off x="0" y="1436688"/>
            <a:ext cx="7467600" cy="5421312"/>
          </a:xfrm>
          <a:prstGeom prst="round1Rect">
            <a:avLst>
              <a:gd name="adj" fmla="val 11027"/>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ext Placeholder 35">
            <a:extLst>
              <a:ext uri="{FF2B5EF4-FFF2-40B4-BE49-F238E27FC236}">
                <a16:creationId xmlns:a16="http://schemas.microsoft.com/office/drawing/2014/main" id="{AF034EAB-2E3D-D643-0B99-E818D4CD2EDC}"/>
              </a:ext>
            </a:extLst>
          </p:cNvPr>
          <p:cNvSpPr>
            <a:spLocks noGrp="1"/>
          </p:cNvSpPr>
          <p:nvPr>
            <p:ph type="body" sz="quarter" idx="26" hasCustomPrompt="1"/>
          </p:nvPr>
        </p:nvSpPr>
        <p:spPr>
          <a:xfrm>
            <a:off x="8127999" y="307248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2</a:t>
            </a:r>
          </a:p>
        </p:txBody>
      </p:sp>
      <p:sp>
        <p:nvSpPr>
          <p:cNvPr id="37" name="Title 1">
            <a:extLst>
              <a:ext uri="{FF2B5EF4-FFF2-40B4-BE49-F238E27FC236}">
                <a16:creationId xmlns:a16="http://schemas.microsoft.com/office/drawing/2014/main" id="{0CB835E1-7049-E087-9A1A-298CE16395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0" name="Text Placeholder 35">
            <a:extLst>
              <a:ext uri="{FF2B5EF4-FFF2-40B4-BE49-F238E27FC236}">
                <a16:creationId xmlns:a16="http://schemas.microsoft.com/office/drawing/2014/main" id="{6215A782-12AB-D629-E35A-6E935ADBC0EB}"/>
              </a:ext>
            </a:extLst>
          </p:cNvPr>
          <p:cNvSpPr>
            <a:spLocks noGrp="1"/>
          </p:cNvSpPr>
          <p:nvPr>
            <p:ph type="body" sz="quarter" idx="23" hasCustomPrompt="1"/>
          </p:nvPr>
        </p:nvSpPr>
        <p:spPr>
          <a:xfrm>
            <a:off x="8127999" y="1352010"/>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1</a:t>
            </a:r>
          </a:p>
        </p:txBody>
      </p:sp>
      <p:sp>
        <p:nvSpPr>
          <p:cNvPr id="38" name="Text Placeholder 35">
            <a:extLst>
              <a:ext uri="{FF2B5EF4-FFF2-40B4-BE49-F238E27FC236}">
                <a16:creationId xmlns:a16="http://schemas.microsoft.com/office/drawing/2014/main" id="{07B4BF87-1C47-8917-D288-5578973F8D8C}"/>
              </a:ext>
            </a:extLst>
          </p:cNvPr>
          <p:cNvSpPr>
            <a:spLocks noGrp="1"/>
          </p:cNvSpPr>
          <p:nvPr>
            <p:ph type="body" sz="quarter" idx="21" hasCustomPrompt="1"/>
          </p:nvPr>
        </p:nvSpPr>
        <p:spPr>
          <a:xfrm>
            <a:off x="8127999" y="1949738"/>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36AB4032-C2BF-A099-3CA7-4A57D251BEFF}"/>
              </a:ext>
            </a:extLst>
          </p:cNvPr>
          <p:cNvSpPr>
            <a:spLocks noGrp="1"/>
          </p:cNvSpPr>
          <p:nvPr>
            <p:ph type="body" sz="quarter" idx="22" hasCustomPrompt="1"/>
          </p:nvPr>
        </p:nvSpPr>
        <p:spPr>
          <a:xfrm>
            <a:off x="8127999" y="2277208"/>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0899BBF-606C-66FA-800D-C5409F2E44E4}"/>
              </a:ext>
            </a:extLst>
          </p:cNvPr>
          <p:cNvSpPr>
            <a:spLocks noGrp="1"/>
          </p:cNvSpPr>
          <p:nvPr>
            <p:ph type="body" sz="quarter" idx="24" hasCustomPrompt="1"/>
          </p:nvPr>
        </p:nvSpPr>
        <p:spPr>
          <a:xfrm>
            <a:off x="8127999" y="367021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2" name="Text Placeholder 35">
            <a:extLst>
              <a:ext uri="{FF2B5EF4-FFF2-40B4-BE49-F238E27FC236}">
                <a16:creationId xmlns:a16="http://schemas.microsoft.com/office/drawing/2014/main" id="{BCDCCCD1-EBE9-2267-68B8-D32015846134}"/>
              </a:ext>
            </a:extLst>
          </p:cNvPr>
          <p:cNvSpPr>
            <a:spLocks noGrp="1"/>
          </p:cNvSpPr>
          <p:nvPr>
            <p:ph type="body" sz="quarter" idx="25" hasCustomPrompt="1"/>
          </p:nvPr>
        </p:nvSpPr>
        <p:spPr>
          <a:xfrm>
            <a:off x="8127999" y="399768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Text Placeholder 35">
            <a:extLst>
              <a:ext uri="{FF2B5EF4-FFF2-40B4-BE49-F238E27FC236}">
                <a16:creationId xmlns:a16="http://schemas.microsoft.com/office/drawing/2014/main" id="{C565B56E-F858-CB19-32C6-2305C6ADC3D6}"/>
              </a:ext>
            </a:extLst>
          </p:cNvPr>
          <p:cNvSpPr>
            <a:spLocks noGrp="1"/>
          </p:cNvSpPr>
          <p:nvPr>
            <p:ph type="body" sz="quarter" idx="29" hasCustomPrompt="1"/>
          </p:nvPr>
        </p:nvSpPr>
        <p:spPr>
          <a:xfrm>
            <a:off x="8127999" y="479702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3</a:t>
            </a:r>
          </a:p>
        </p:txBody>
      </p:sp>
      <p:sp>
        <p:nvSpPr>
          <p:cNvPr id="44" name="Text Placeholder 35">
            <a:extLst>
              <a:ext uri="{FF2B5EF4-FFF2-40B4-BE49-F238E27FC236}">
                <a16:creationId xmlns:a16="http://schemas.microsoft.com/office/drawing/2014/main" id="{1AE91CED-35D1-7968-988F-D0E391632042}"/>
              </a:ext>
            </a:extLst>
          </p:cNvPr>
          <p:cNvSpPr>
            <a:spLocks noGrp="1"/>
          </p:cNvSpPr>
          <p:nvPr>
            <p:ph type="body" sz="quarter" idx="27" hasCustomPrompt="1"/>
          </p:nvPr>
        </p:nvSpPr>
        <p:spPr>
          <a:xfrm>
            <a:off x="8127999" y="539475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5" name="Text Placeholder 35">
            <a:extLst>
              <a:ext uri="{FF2B5EF4-FFF2-40B4-BE49-F238E27FC236}">
                <a16:creationId xmlns:a16="http://schemas.microsoft.com/office/drawing/2014/main" id="{B20B879D-9E24-FEC6-307F-6791BFD9C0BB}"/>
              </a:ext>
            </a:extLst>
          </p:cNvPr>
          <p:cNvSpPr>
            <a:spLocks noGrp="1"/>
          </p:cNvSpPr>
          <p:nvPr>
            <p:ph type="body" sz="quarter" idx="28" hasCustomPrompt="1"/>
          </p:nvPr>
        </p:nvSpPr>
        <p:spPr>
          <a:xfrm>
            <a:off x="8127999" y="572222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8994220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content (Dark)">
    <p:bg>
      <p:bgPr>
        <a:solidFill>
          <a:schemeClr val="accent2">
            <a:lumMod val="75000"/>
          </a:schemeClr>
        </a:solidFill>
        <a:effectLst/>
      </p:bgPr>
    </p:bg>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screen">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4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
        <p:nvSpPr>
          <p:cNvPr id="15" name="Title 1">
            <a:extLst>
              <a:ext uri="{FF2B5EF4-FFF2-40B4-BE49-F238E27FC236}">
                <a16:creationId xmlns:a16="http://schemas.microsoft.com/office/drawing/2014/main" id="{19D7B461-7CDD-60B2-752A-D57005362B75}"/>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 name="Text Placeholder 13">
            <a:extLst>
              <a:ext uri="{FF2B5EF4-FFF2-40B4-BE49-F238E27FC236}">
                <a16:creationId xmlns:a16="http://schemas.microsoft.com/office/drawing/2014/main" id="{A37C3D04-0454-4C3E-ABA1-108393CAEC87}"/>
              </a:ext>
            </a:extLst>
          </p:cNvPr>
          <p:cNvSpPr>
            <a:spLocks noGrp="1"/>
          </p:cNvSpPr>
          <p:nvPr>
            <p:ph type="body" sz="quarter" idx="10"/>
          </p:nvPr>
        </p:nvSpPr>
        <p:spPr>
          <a:xfrm>
            <a:off x="588962" y="1437180"/>
            <a:ext cx="11018520" cy="1612749"/>
          </a:xfrm>
        </p:spPr>
        <p:txBody>
          <a:bodyPr/>
          <a:lstStyle>
            <a:lvl1pPr marL="0" indent="0">
              <a:buNone/>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47728810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Pyramid slid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DC6972-23CA-3300-EDB4-109A197299D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24FF1EB-18BD-1966-ACCE-D94152B500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3234AF1-69F4-D405-A2A5-2FAAC8D010E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31167EA5-A747-0369-DA83-C0321B1995A1}"/>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F945ADD-E77A-DD29-F01A-20F30E233A75}"/>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5F595E67-387A-2EA7-6456-14D105486C80}"/>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BD7FA6BA-63E8-4B96-4FBE-BB616FCCF13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6CF8393E-A694-5A9A-ABDA-5EAC43AF085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4E878C13-065E-3898-C0ED-2DA7D3227D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D67CD042-7365-247B-C2A6-29F2AF1DEE6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12">
            <a:extLst>
              <a:ext uri="{FF2B5EF4-FFF2-40B4-BE49-F238E27FC236}">
                <a16:creationId xmlns:a16="http://schemas.microsoft.com/office/drawing/2014/main" id="{A0D3F5FB-F504-7273-60B0-E352EA2B1D0E}"/>
              </a:ext>
              <a:ext uri="{C183D7F6-B498-43B3-948B-1728B52AA6E4}">
                <adec:decorative xmlns:adec="http://schemas.microsoft.com/office/drawing/2017/decorative" val="1"/>
              </a:ext>
            </a:extLst>
          </p:cNvPr>
          <p:cNvSpPr/>
          <p:nvPr userDrawn="1"/>
        </p:nvSpPr>
        <p:spPr bwMode="auto">
          <a:xfrm>
            <a:off x="0" y="1436688"/>
            <a:ext cx="12192000" cy="4646612"/>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46" name="Title 1">
            <a:extLst>
              <a:ext uri="{FF2B5EF4-FFF2-40B4-BE49-F238E27FC236}">
                <a16:creationId xmlns:a16="http://schemas.microsoft.com/office/drawing/2014/main" id="{3AADEA7D-7308-9B45-06B2-B2259E4E7CF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462793261"/>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6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4248CB-5698-FF7B-6538-600BA47353CC}"/>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176B034-901C-1F82-171B-435D2B20F7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9B4DD4E-E67C-34A5-0B30-B4C8CC8A591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7E1302F9-D982-798B-B108-0562122DE58F}"/>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DA5E5E54-5A4D-72A2-EF60-F7EDAA4AF351}"/>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D33A7637-FB0D-5C20-9F4E-6D1A0DB05BB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401B8B9-2B48-8104-29D1-FD6826B8C2FA}"/>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36801F86-C036-250C-71B1-0A0D7EFB2D0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C852F0F2-407E-EBED-3F62-E3D4C1D5BF6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67A2CCF2-B385-EB7E-4059-B2FB601BEAB9}"/>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29E05340-EAB3-BF76-6461-A52DC59EB9A5}"/>
              </a:ext>
              <a:ext uri="{C183D7F6-B498-43B3-948B-1728B52AA6E4}">
                <adec:decorative xmlns:adec="http://schemas.microsoft.com/office/drawing/2017/decorative" val="1"/>
              </a:ext>
            </a:extLst>
          </p:cNvPr>
          <p:cNvSpPr/>
          <p:nvPr userDrawn="1"/>
        </p:nvSpPr>
        <p:spPr bwMode="auto">
          <a:xfrm>
            <a:off x="0" y="1436688"/>
            <a:ext cx="5740400" cy="5113533"/>
          </a:xfrm>
          <a:prstGeom prst="round1Rect">
            <a:avLst>
              <a:gd name="adj" fmla="val 13021"/>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20" name="Rectangle 19">
            <a:extLst>
              <a:ext uri="{FF2B5EF4-FFF2-40B4-BE49-F238E27FC236}">
                <a16:creationId xmlns:a16="http://schemas.microsoft.com/office/drawing/2014/main" id="{429E4EC0-E6DF-0784-45EC-7C4F0CB40D4E}"/>
              </a:ext>
              <a:ext uri="{C183D7F6-B498-43B3-948B-1728B52AA6E4}">
                <adec:decorative xmlns:adec="http://schemas.microsoft.com/office/drawing/2017/decorative" val="1"/>
              </a:ext>
            </a:extLst>
          </p:cNvPr>
          <p:cNvSpPr/>
          <p:nvPr userDrawn="1"/>
        </p:nvSpPr>
        <p:spPr bwMode="auto">
          <a:xfrm rot="5400000" flipH="1">
            <a:off x="5942111" y="608110"/>
            <a:ext cx="307777" cy="12192000"/>
          </a:xfrm>
          <a:prstGeom prst="rect">
            <a:avLst/>
          </a:prstGeom>
          <a:gradFill flip="none" rotWithShape="1">
            <a:gsLst>
              <a:gs pos="35000">
                <a:schemeClr val="tx2"/>
              </a:gs>
              <a:gs pos="100000">
                <a:schemeClr val="tx2">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21" name="Straight Connector 20">
            <a:extLst>
              <a:ext uri="{FF2B5EF4-FFF2-40B4-BE49-F238E27FC236}">
                <a16:creationId xmlns:a16="http://schemas.microsoft.com/office/drawing/2014/main" id="{1485150E-FD47-127E-B673-87034023E3A9}"/>
              </a:ext>
              <a:ext uri="{C183D7F6-B498-43B3-948B-1728B52AA6E4}">
                <adec:decorative xmlns:adec="http://schemas.microsoft.com/office/drawing/2017/decorative" val="1"/>
              </a:ext>
            </a:extLst>
          </p:cNvPr>
          <p:cNvCxnSpPr>
            <a:cxnSpLocks/>
          </p:cNvCxnSpPr>
          <p:nvPr userDrawn="1"/>
        </p:nvCxnSpPr>
        <p:spPr>
          <a:xfrm>
            <a:off x="588263"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3ACBB4-384E-885D-7CBB-FDF6BEECA133}"/>
              </a:ext>
              <a:ext uri="{C183D7F6-B498-43B3-948B-1728B52AA6E4}">
                <adec:decorative xmlns:adec="http://schemas.microsoft.com/office/drawing/2017/decorative" val="1"/>
              </a:ext>
            </a:extLst>
          </p:cNvPr>
          <p:cNvCxnSpPr>
            <a:cxnSpLocks/>
          </p:cNvCxnSpPr>
          <p:nvPr userDrawn="1"/>
        </p:nvCxnSpPr>
        <p:spPr>
          <a:xfrm>
            <a:off x="6242050"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E864A51C-A10A-791A-1F2F-D7F40621687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C5240CBC-7D1F-D0EB-B270-D1A8E397C72E}"/>
              </a:ext>
            </a:extLst>
          </p:cNvPr>
          <p:cNvSpPr>
            <a:spLocks noGrp="1"/>
          </p:cNvSpPr>
          <p:nvPr>
            <p:ph type="body" sz="quarter" idx="25" hasCustomPrompt="1"/>
          </p:nvPr>
        </p:nvSpPr>
        <p:spPr>
          <a:xfrm>
            <a:off x="588263" y="1789499"/>
            <a:ext cx="4710812" cy="4210022"/>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5" name="Text Placeholder 35">
            <a:extLst>
              <a:ext uri="{FF2B5EF4-FFF2-40B4-BE49-F238E27FC236}">
                <a16:creationId xmlns:a16="http://schemas.microsoft.com/office/drawing/2014/main" id="{568557E8-52CA-7494-0F15-97192FF3574B}"/>
              </a:ext>
            </a:extLst>
          </p:cNvPr>
          <p:cNvSpPr>
            <a:spLocks noGrp="1"/>
          </p:cNvSpPr>
          <p:nvPr>
            <p:ph type="body" sz="quarter" idx="21" hasCustomPrompt="1"/>
          </p:nvPr>
        </p:nvSpPr>
        <p:spPr>
          <a:xfrm>
            <a:off x="6242050" y="170926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A24E86BE-7759-B356-C8A8-88ED77B2C491}"/>
              </a:ext>
            </a:extLst>
          </p:cNvPr>
          <p:cNvSpPr>
            <a:spLocks noGrp="1"/>
          </p:cNvSpPr>
          <p:nvPr>
            <p:ph type="body" sz="quarter" idx="26" hasCustomPrompt="1"/>
          </p:nvPr>
        </p:nvSpPr>
        <p:spPr>
          <a:xfrm>
            <a:off x="6242049" y="215847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Text Placeholder 35">
            <a:extLst>
              <a:ext uri="{FF2B5EF4-FFF2-40B4-BE49-F238E27FC236}">
                <a16:creationId xmlns:a16="http://schemas.microsoft.com/office/drawing/2014/main" id="{CCB3333D-D5A8-4332-0DDF-EA9406656A84}"/>
              </a:ext>
            </a:extLst>
          </p:cNvPr>
          <p:cNvSpPr>
            <a:spLocks noGrp="1"/>
          </p:cNvSpPr>
          <p:nvPr>
            <p:ph type="body" sz="quarter" idx="27" hasCustomPrompt="1"/>
          </p:nvPr>
        </p:nvSpPr>
        <p:spPr>
          <a:xfrm>
            <a:off x="6242050" y="404981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EF298AF3-BA50-1E5A-2D87-AD25C976757F}"/>
              </a:ext>
            </a:extLst>
          </p:cNvPr>
          <p:cNvSpPr>
            <a:spLocks noGrp="1"/>
          </p:cNvSpPr>
          <p:nvPr>
            <p:ph type="body" sz="quarter" idx="28" hasCustomPrompt="1"/>
          </p:nvPr>
        </p:nvSpPr>
        <p:spPr>
          <a:xfrm>
            <a:off x="6242049" y="449902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3256986"/>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ustomer story slide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5216DB-886C-1209-F59E-1FF3A711566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B0DF6C4-49F2-30D1-69C3-45FFD14CEDBF}"/>
                </a:ext>
              </a:extLst>
            </p:cNvPr>
            <p:cNvGrpSpPr/>
            <p:nvPr userDrawn="1"/>
          </p:nvGrpSpPr>
          <p:grpSpPr>
            <a:xfrm>
              <a:off x="0" y="0"/>
              <a:ext cx="12192000" cy="6858000"/>
              <a:chOff x="0" y="0"/>
              <a:chExt cx="12192000" cy="6858000"/>
            </a:xfrm>
          </p:grpSpPr>
          <p:pic>
            <p:nvPicPr>
              <p:cNvPr id="32" name="Picture 31" descr="A picture containing blue, electric blue, majorelle blue, blur&#10;&#10;Description automatically generated">
                <a:extLst>
                  <a:ext uri="{FF2B5EF4-FFF2-40B4-BE49-F238E27FC236}">
                    <a16:creationId xmlns:a16="http://schemas.microsoft.com/office/drawing/2014/main" id="{4CC43BD4-1985-F9B3-44AE-6C68FB362A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B4C10C80-D9BE-482B-B12F-DD0965C834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FF627A0-12F6-F460-B544-FBB2F7D2A318}"/>
                </a:ext>
              </a:extLst>
            </p:cNvPr>
            <p:cNvGrpSpPr/>
            <p:nvPr userDrawn="1"/>
          </p:nvGrpSpPr>
          <p:grpSpPr>
            <a:xfrm>
              <a:off x="0" y="0"/>
              <a:ext cx="12192000" cy="6858002"/>
              <a:chOff x="0" y="0"/>
              <a:chExt cx="12192000" cy="6858002"/>
            </a:xfrm>
          </p:grpSpPr>
          <p:grpSp>
            <p:nvGrpSpPr>
              <p:cNvPr id="11" name="Group 10">
                <a:extLst>
                  <a:ext uri="{FF2B5EF4-FFF2-40B4-BE49-F238E27FC236}">
                    <a16:creationId xmlns:a16="http://schemas.microsoft.com/office/drawing/2014/main" id="{450D8E45-35B6-B4E2-FDC3-4DF308DB27BA}"/>
                  </a:ext>
                </a:extLst>
              </p:cNvPr>
              <p:cNvGrpSpPr/>
              <p:nvPr/>
            </p:nvGrpSpPr>
            <p:grpSpPr>
              <a:xfrm>
                <a:off x="0" y="0"/>
                <a:ext cx="12192000" cy="6858002"/>
                <a:chOff x="0" y="0"/>
                <a:chExt cx="12192000" cy="6858002"/>
              </a:xfrm>
            </p:grpSpPr>
            <p:grpSp>
              <p:nvGrpSpPr>
                <p:cNvPr id="13" name="Group 12">
                  <a:extLst>
                    <a:ext uri="{FF2B5EF4-FFF2-40B4-BE49-F238E27FC236}">
                      <a16:creationId xmlns:a16="http://schemas.microsoft.com/office/drawing/2014/main" id="{8252B64A-D78A-9FE3-C7E3-3A2E5492F12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3A2A68B5-18BF-DCBE-D545-1F1EEE60858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31" name="Freeform: Shape 30">
                    <a:extLst>
                      <a:ext uri="{FF2B5EF4-FFF2-40B4-BE49-F238E27FC236}">
                        <a16:creationId xmlns:a16="http://schemas.microsoft.com/office/drawing/2014/main" id="{EC3BC400-28E0-DFD7-A22F-962FB51CAA6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8" name="Freeform: Shape 17">
                  <a:extLst>
                    <a:ext uri="{FF2B5EF4-FFF2-40B4-BE49-F238E27FC236}">
                      <a16:creationId xmlns:a16="http://schemas.microsoft.com/office/drawing/2014/main" id="{86938314-582E-2943-CC2F-39AC385C3C1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2" name="Freeform: Shape 11">
                <a:extLst>
                  <a:ext uri="{FF2B5EF4-FFF2-40B4-BE49-F238E27FC236}">
                    <a16:creationId xmlns:a16="http://schemas.microsoft.com/office/drawing/2014/main" id="{750AE3A2-F49C-48CF-5346-988DA98C4B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7" name="Rectangle: Top Corners Rounded 6">
            <a:extLst>
              <a:ext uri="{FF2B5EF4-FFF2-40B4-BE49-F238E27FC236}">
                <a16:creationId xmlns:a16="http://schemas.microsoft.com/office/drawing/2014/main" id="{CB0B2AFE-795D-9F81-C2DA-BE6BA5909955}"/>
              </a:ext>
              <a:ext uri="{C183D7F6-B498-43B3-948B-1728B52AA6E4}">
                <adec:decorative xmlns:adec="http://schemas.microsoft.com/office/drawing/2017/decorative" val="1"/>
              </a:ext>
            </a:extLst>
          </p:cNvPr>
          <p:cNvSpPr/>
          <p:nvPr userDrawn="1"/>
        </p:nvSpPr>
        <p:spPr bwMode="auto">
          <a:xfrm flipH="1">
            <a:off x="2994654" y="4151782"/>
            <a:ext cx="9211883" cy="2706217"/>
          </a:xfrm>
          <a:prstGeom prst="round2SameRect">
            <a:avLst>
              <a:gd name="adj1" fmla="val 0"/>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 uri="{C183D7F6-B498-43B3-948B-1728B52AA6E4}">
                <adec:decorative xmlns:adec="http://schemas.microsoft.com/office/drawing/2017/decorative" val="1"/>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no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 uri="{C183D7F6-B498-43B3-948B-1728B52AA6E4}">
                <adec:decorative xmlns:adec="http://schemas.microsoft.com/office/drawing/2017/decorative" val="1"/>
              </a:ext>
            </a:extLst>
          </p:cNvPr>
          <p:cNvSpPr/>
          <p:nvPr userDrawn="1"/>
        </p:nvSpPr>
        <p:spPr bwMode="auto">
          <a:xfrm>
            <a:off x="-1" y="0"/>
            <a:ext cx="2994654" cy="685800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a:solidFill>
                <a:schemeClr val="lt1"/>
              </a:solidFill>
            </a:endParaRPr>
          </a:p>
        </p:txBody>
      </p:sp>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37" name="Group 36">
            <a:extLst>
              <a:ext uri="{FF2B5EF4-FFF2-40B4-BE49-F238E27FC236}">
                <a16:creationId xmlns:a16="http://schemas.microsoft.com/office/drawing/2014/main" id="{E4776AAC-9A32-F029-8160-C8B636AF5080}"/>
              </a:ext>
              <a:ext uri="{C183D7F6-B498-43B3-948B-1728B52AA6E4}">
                <adec:decorative xmlns:adec="http://schemas.microsoft.com/office/drawing/2017/decorative" val="1"/>
              </a:ext>
            </a:extLst>
          </p:cNvPr>
          <p:cNvGrpSpPr/>
          <p:nvPr userDrawn="1"/>
        </p:nvGrpSpPr>
        <p:grpSpPr>
          <a:xfrm>
            <a:off x="327695" y="6180906"/>
            <a:ext cx="1554479" cy="343989"/>
            <a:chOff x="327695" y="6180906"/>
            <a:chExt cx="1554479" cy="343989"/>
          </a:xfrm>
        </p:grpSpPr>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268" r="76718"/>
            <a:stretch/>
          </p:blipFill>
          <p:spPr>
            <a:xfrm>
              <a:off x="327695" y="6180906"/>
              <a:ext cx="361915" cy="343989"/>
            </a:xfrm>
            <a:prstGeom prst="rect">
              <a:avLst/>
            </a:prstGeom>
          </p:spPr>
        </p:pic>
        <p:pic>
          <p:nvPicPr>
            <p:cNvPr id="36" name="Graphic 35">
              <a:extLst>
                <a:ext uri="{FF2B5EF4-FFF2-40B4-BE49-F238E27FC236}">
                  <a16:creationId xmlns:a16="http://schemas.microsoft.com/office/drawing/2014/main" id="{90BB7AFC-1C37-439A-40FD-08922295A1B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5488" t="-3268"/>
            <a:stretch/>
          </p:blipFill>
          <p:spPr>
            <a:xfrm>
              <a:off x="723899" y="6180906"/>
              <a:ext cx="1158275" cy="343989"/>
            </a:xfrm>
            <a:prstGeom prst="rect">
              <a:avLst/>
            </a:prstGeom>
          </p:spPr>
        </p:pic>
      </p:grpSp>
      <p:sp>
        <p:nvSpPr>
          <p:cNvPr id="38" name="Text Placeholder 35">
            <a:extLst>
              <a:ext uri="{FF2B5EF4-FFF2-40B4-BE49-F238E27FC236}">
                <a16:creationId xmlns:a16="http://schemas.microsoft.com/office/drawing/2014/main" id="{8FD5FFDC-A6EB-3C87-986F-196C59661E0C}"/>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54DFE48E-8FCA-F310-ED49-531C1EC2F6C4}"/>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820F9AEF-BAC6-1441-BB7B-65BCFBABC58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23100291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 Images with title slide (Dark)_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55A9151-FF5A-BBFA-FC6F-5C5AE7189D5D}"/>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0A84938D-A507-AB36-62B2-FB59125170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5" name="Picture 4">
              <a:extLst>
                <a:ext uri="{FF2B5EF4-FFF2-40B4-BE49-F238E27FC236}">
                  <a16:creationId xmlns:a16="http://schemas.microsoft.com/office/drawing/2014/main" id="{89728012-CF59-23C4-91FC-A1A5826B8AD1}"/>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6" name="Picture 5">
            <a:extLst>
              <a:ext uri="{FF2B5EF4-FFF2-40B4-BE49-F238E27FC236}">
                <a16:creationId xmlns:a16="http://schemas.microsoft.com/office/drawing/2014/main" id="{83DDF3A7-E272-1CE1-A437-7B26DA334BC1}"/>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380843"/>
            <a:ext cx="12193057" cy="3504589"/>
          </a:xfrm>
          <a:prstGeom prst="rect">
            <a:avLst/>
          </a:prstGeom>
        </p:spPr>
      </p:pic>
      <p:sp>
        <p:nvSpPr>
          <p:cNvPr id="7" name="Rectangle 6">
            <a:extLst>
              <a:ext uri="{FF2B5EF4-FFF2-40B4-BE49-F238E27FC236}">
                <a16:creationId xmlns:a16="http://schemas.microsoft.com/office/drawing/2014/main" id="{FF640766-8DEA-E672-8D9D-BC44E399AE82}"/>
              </a:ext>
              <a:ext uri="{C183D7F6-B498-43B3-948B-1728B52AA6E4}">
                <adec:decorative xmlns:adec="http://schemas.microsoft.com/office/drawing/2017/decorative" val="1"/>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0C57929-B31F-EF91-FE4E-332BE7BA5E08}"/>
              </a:ext>
              <a:ext uri="{C183D7F6-B498-43B3-948B-1728B52AA6E4}">
                <adec:decorative xmlns:adec="http://schemas.microsoft.com/office/drawing/2017/decorative" val="1"/>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20096B18-4570-3752-4CE0-8EE6264ABCF4}"/>
              </a:ext>
              <a:ext uri="{C183D7F6-B498-43B3-948B-1728B52AA6E4}">
                <adec:decorative xmlns:adec="http://schemas.microsoft.com/office/drawing/2017/decorative" val="1"/>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47FF1D14-F194-9610-B7BB-70F6EC8A1358}"/>
              </a:ext>
              <a:ext uri="{C183D7F6-B498-43B3-948B-1728B52AA6E4}">
                <adec:decorative xmlns:adec="http://schemas.microsoft.com/office/drawing/2017/decorative" val="1"/>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5E0A4AD-4BFA-17D2-AEB6-E0AAA16039C1}"/>
              </a:ext>
              <a:ext uri="{C183D7F6-B498-43B3-948B-1728B52AA6E4}">
                <adec:decorative xmlns:adec="http://schemas.microsoft.com/office/drawing/2017/decorative" val="1"/>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14734127-B7FD-F03F-717F-4565F3FDFF47}"/>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EFB952DC-E675-56C9-318B-BDF9F8A5290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sp>
          <p:nvSpPr>
            <p:cNvPr id="14" name="Freeform: Shape 13">
              <a:extLst>
                <a:ext uri="{FF2B5EF4-FFF2-40B4-BE49-F238E27FC236}">
                  <a16:creationId xmlns:a16="http://schemas.microsoft.com/office/drawing/2014/main" id="{98B78243-DDC4-2C3C-FE6F-24D6F5BFDA0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 name="Title 1">
            <a:extLst>
              <a:ext uri="{FF2B5EF4-FFF2-40B4-BE49-F238E27FC236}">
                <a16:creationId xmlns:a16="http://schemas.microsoft.com/office/drawing/2014/main" id="{CD5F8989-84B4-41C0-9DB0-F9CA38637906}"/>
              </a:ext>
            </a:extLst>
          </p:cNvPr>
          <p:cNvSpPr>
            <a:spLocks noGrp="1"/>
          </p:cNvSpPr>
          <p:nvPr>
            <p:ph type="title"/>
          </p:nvPr>
        </p:nvSpPr>
        <p:spPr>
          <a:xfrm>
            <a:off x="588263" y="885909"/>
            <a:ext cx="11018520" cy="553998"/>
          </a:xfrm>
        </p:spPr>
        <p:txBody>
          <a:bodyPr/>
          <a:lstStyle>
            <a:lvl1pPr algn="ctr">
              <a:defRPr>
                <a:solidFill>
                  <a:schemeClr val="bg1"/>
                </a:solidFill>
              </a:defRPr>
            </a:lvl1pPr>
          </a:lstStyle>
          <a:p>
            <a:r>
              <a:rPr lang="en-US"/>
              <a:t>Click to edit Master title style</a:t>
            </a:r>
            <a:endParaRPr lang="en-IN"/>
          </a:p>
        </p:txBody>
      </p:sp>
      <p:sp>
        <p:nvSpPr>
          <p:cNvPr id="16" name="Picture Placeholder 58">
            <a:extLst>
              <a:ext uri="{FF2B5EF4-FFF2-40B4-BE49-F238E27FC236}">
                <a16:creationId xmlns:a16="http://schemas.microsoft.com/office/drawing/2014/main" id="{A388FA8F-5A7D-02EA-D20F-E4128F5AC089}"/>
              </a:ext>
            </a:extLst>
          </p:cNvPr>
          <p:cNvSpPr>
            <a:spLocks noGrp="1"/>
          </p:cNvSpPr>
          <p:nvPr>
            <p:ph type="pic" sz="quarter" idx="24"/>
          </p:nvPr>
        </p:nvSpPr>
        <p:spPr>
          <a:xfrm>
            <a:off x="5836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7" name="Text Placeholder 35">
            <a:extLst>
              <a:ext uri="{FF2B5EF4-FFF2-40B4-BE49-F238E27FC236}">
                <a16:creationId xmlns:a16="http://schemas.microsoft.com/office/drawing/2014/main" id="{024D7F62-8C18-59AF-ED90-8E11DD462F69}"/>
              </a:ext>
            </a:extLst>
          </p:cNvPr>
          <p:cNvSpPr>
            <a:spLocks noGrp="1"/>
          </p:cNvSpPr>
          <p:nvPr>
            <p:ph type="body" sz="quarter" idx="21" hasCustomPrompt="1"/>
          </p:nvPr>
        </p:nvSpPr>
        <p:spPr>
          <a:xfrm>
            <a:off x="6779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A259161E-A370-C997-516C-3DEB7C87E2F0}"/>
              </a:ext>
            </a:extLst>
          </p:cNvPr>
          <p:cNvSpPr>
            <a:spLocks noGrp="1"/>
          </p:cNvSpPr>
          <p:nvPr>
            <p:ph type="pic" sz="quarter" idx="23"/>
          </p:nvPr>
        </p:nvSpPr>
        <p:spPr>
          <a:xfrm>
            <a:off x="348672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9" name="Text Placeholder 35">
            <a:extLst>
              <a:ext uri="{FF2B5EF4-FFF2-40B4-BE49-F238E27FC236}">
                <a16:creationId xmlns:a16="http://schemas.microsoft.com/office/drawing/2014/main" id="{6E6E7E4D-ED7E-6BDD-1573-0CD3ACA002F1}"/>
              </a:ext>
            </a:extLst>
          </p:cNvPr>
          <p:cNvSpPr>
            <a:spLocks noGrp="1"/>
          </p:cNvSpPr>
          <p:nvPr>
            <p:ph type="body" sz="quarter" idx="26" hasCustomPrompt="1"/>
          </p:nvPr>
        </p:nvSpPr>
        <p:spPr>
          <a:xfrm>
            <a:off x="3580975"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Picture Placeholder 58">
            <a:extLst>
              <a:ext uri="{FF2B5EF4-FFF2-40B4-BE49-F238E27FC236}">
                <a16:creationId xmlns:a16="http://schemas.microsoft.com/office/drawing/2014/main" id="{782DF517-15A7-E94E-11A2-9399257AE7AE}"/>
              </a:ext>
            </a:extLst>
          </p:cNvPr>
          <p:cNvSpPr>
            <a:spLocks noGrp="1"/>
          </p:cNvSpPr>
          <p:nvPr>
            <p:ph type="pic" sz="quarter" idx="22"/>
          </p:nvPr>
        </p:nvSpPr>
        <p:spPr>
          <a:xfrm>
            <a:off x="63897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1" name="Text Placeholder 35">
            <a:extLst>
              <a:ext uri="{FF2B5EF4-FFF2-40B4-BE49-F238E27FC236}">
                <a16:creationId xmlns:a16="http://schemas.microsoft.com/office/drawing/2014/main" id="{11F2FBFA-D4C1-0141-84AC-007BD4491203}"/>
              </a:ext>
            </a:extLst>
          </p:cNvPr>
          <p:cNvSpPr>
            <a:spLocks noGrp="1"/>
          </p:cNvSpPr>
          <p:nvPr>
            <p:ph type="body" sz="quarter" idx="27" hasCustomPrompt="1"/>
          </p:nvPr>
        </p:nvSpPr>
        <p:spPr>
          <a:xfrm>
            <a:off x="64840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3D0BFE87-3D19-052F-136A-56C41D5ACD8A}"/>
              </a:ext>
            </a:extLst>
          </p:cNvPr>
          <p:cNvSpPr>
            <a:spLocks noGrp="1"/>
          </p:cNvSpPr>
          <p:nvPr>
            <p:ph type="pic" sz="quarter" idx="25"/>
          </p:nvPr>
        </p:nvSpPr>
        <p:spPr>
          <a:xfrm>
            <a:off x="9292823"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3" name="Text Placeholder 35">
            <a:extLst>
              <a:ext uri="{FF2B5EF4-FFF2-40B4-BE49-F238E27FC236}">
                <a16:creationId xmlns:a16="http://schemas.microsoft.com/office/drawing/2014/main" id="{A840F39B-BD9C-158B-E796-F5B6CF182C3E}"/>
              </a:ext>
            </a:extLst>
          </p:cNvPr>
          <p:cNvSpPr>
            <a:spLocks noGrp="1"/>
          </p:cNvSpPr>
          <p:nvPr>
            <p:ph type="body" sz="quarter" idx="28" hasCustomPrompt="1"/>
          </p:nvPr>
        </p:nvSpPr>
        <p:spPr>
          <a:xfrm>
            <a:off x="9388093"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891885815"/>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 Images with title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DFFAE00-ADDA-2B85-005F-09E7A4C8202D}"/>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27528F61-87FF-0752-31F1-5C25E7478C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8" name="Picture 17">
              <a:extLst>
                <a:ext uri="{FF2B5EF4-FFF2-40B4-BE49-F238E27FC236}">
                  <a16:creationId xmlns:a16="http://schemas.microsoft.com/office/drawing/2014/main" id="{D90328CB-5CAE-A6FF-358E-183BCD32B9C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3" name="Text Placeholder 35">
            <a:extLst>
              <a:ext uri="{FF2B5EF4-FFF2-40B4-BE49-F238E27FC236}">
                <a16:creationId xmlns:a16="http://schemas.microsoft.com/office/drawing/2014/main" id="{CB7BFC61-7233-1806-2967-562E350868C8}"/>
              </a:ext>
            </a:extLst>
          </p:cNvPr>
          <p:cNvSpPr>
            <a:spLocks noGrp="1"/>
          </p:cNvSpPr>
          <p:nvPr>
            <p:ph type="body" sz="quarter" idx="21" hasCustomPrompt="1"/>
          </p:nvPr>
        </p:nvSpPr>
        <p:spPr>
          <a:xfrm>
            <a:off x="5826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 name="Text Placeholder 35">
            <a:extLst>
              <a:ext uri="{FF2B5EF4-FFF2-40B4-BE49-F238E27FC236}">
                <a16:creationId xmlns:a16="http://schemas.microsoft.com/office/drawing/2014/main" id="{CD3FDA3F-1B66-9AFA-1A5C-CC3EF461516A}"/>
              </a:ext>
            </a:extLst>
          </p:cNvPr>
          <p:cNvSpPr>
            <a:spLocks noGrp="1"/>
          </p:cNvSpPr>
          <p:nvPr>
            <p:ph type="body" sz="quarter" idx="29" hasCustomPrompt="1"/>
          </p:nvPr>
        </p:nvSpPr>
        <p:spPr>
          <a:xfrm>
            <a:off x="5826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19" name="Text Placeholder 35">
            <a:extLst>
              <a:ext uri="{FF2B5EF4-FFF2-40B4-BE49-F238E27FC236}">
                <a16:creationId xmlns:a16="http://schemas.microsoft.com/office/drawing/2014/main" id="{95CB8413-C5EF-6665-249C-477E070C20FF}"/>
              </a:ext>
            </a:extLst>
          </p:cNvPr>
          <p:cNvSpPr>
            <a:spLocks noGrp="1"/>
          </p:cNvSpPr>
          <p:nvPr>
            <p:ph type="body" sz="quarter" idx="26" hasCustomPrompt="1"/>
          </p:nvPr>
        </p:nvSpPr>
        <p:spPr>
          <a:xfrm>
            <a:off x="3485662"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Text Placeholder 35">
            <a:extLst>
              <a:ext uri="{FF2B5EF4-FFF2-40B4-BE49-F238E27FC236}">
                <a16:creationId xmlns:a16="http://schemas.microsoft.com/office/drawing/2014/main" id="{2DEF5C95-0772-4C8B-A69A-8392425F4839}"/>
              </a:ext>
            </a:extLst>
          </p:cNvPr>
          <p:cNvSpPr>
            <a:spLocks noGrp="1"/>
          </p:cNvSpPr>
          <p:nvPr>
            <p:ph type="body" sz="quarter" idx="30" hasCustomPrompt="1"/>
          </p:nvPr>
        </p:nvSpPr>
        <p:spPr>
          <a:xfrm>
            <a:off x="3485662"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0" name="Text Placeholder 35">
            <a:extLst>
              <a:ext uri="{FF2B5EF4-FFF2-40B4-BE49-F238E27FC236}">
                <a16:creationId xmlns:a16="http://schemas.microsoft.com/office/drawing/2014/main" id="{ED20114E-7F68-4348-1DDC-C93012CE9B34}"/>
              </a:ext>
            </a:extLst>
          </p:cNvPr>
          <p:cNvSpPr>
            <a:spLocks noGrp="1"/>
          </p:cNvSpPr>
          <p:nvPr>
            <p:ph type="body" sz="quarter" idx="27" hasCustomPrompt="1"/>
          </p:nvPr>
        </p:nvSpPr>
        <p:spPr>
          <a:xfrm>
            <a:off x="63887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BA6B6957-0357-2D78-4B70-01490782D2A9}"/>
              </a:ext>
            </a:extLst>
          </p:cNvPr>
          <p:cNvSpPr>
            <a:spLocks noGrp="1"/>
          </p:cNvSpPr>
          <p:nvPr>
            <p:ph type="body" sz="quarter" idx="31" hasCustomPrompt="1"/>
          </p:nvPr>
        </p:nvSpPr>
        <p:spPr>
          <a:xfrm>
            <a:off x="63887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21" name="Text Placeholder 35">
            <a:extLst>
              <a:ext uri="{FF2B5EF4-FFF2-40B4-BE49-F238E27FC236}">
                <a16:creationId xmlns:a16="http://schemas.microsoft.com/office/drawing/2014/main" id="{6077B410-07C7-D809-301D-51367049AE9E}"/>
              </a:ext>
            </a:extLst>
          </p:cNvPr>
          <p:cNvSpPr>
            <a:spLocks noGrp="1"/>
          </p:cNvSpPr>
          <p:nvPr>
            <p:ph type="body" sz="quarter" idx="28" hasCustomPrompt="1"/>
          </p:nvPr>
        </p:nvSpPr>
        <p:spPr>
          <a:xfrm>
            <a:off x="9292780"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Text Placeholder 35">
            <a:extLst>
              <a:ext uri="{FF2B5EF4-FFF2-40B4-BE49-F238E27FC236}">
                <a16:creationId xmlns:a16="http://schemas.microsoft.com/office/drawing/2014/main" id="{45BFC8E5-28F5-7F26-9151-3CDFE03BDDA7}"/>
              </a:ext>
            </a:extLst>
          </p:cNvPr>
          <p:cNvSpPr>
            <a:spLocks noGrp="1"/>
          </p:cNvSpPr>
          <p:nvPr>
            <p:ph type="body" sz="quarter" idx="32" hasCustomPrompt="1"/>
          </p:nvPr>
        </p:nvSpPr>
        <p:spPr>
          <a:xfrm>
            <a:off x="9292780"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31843481"/>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5 Images with title slide (Dark)">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AE437AAF-49B9-ED6D-66B6-4CEEEE3C3AAF}"/>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21" name="Picture 20" descr="A picture containing blue, electric blue, majorelle blue, blur&#10;&#10;Description automatically generated">
              <a:extLst>
                <a:ext uri="{FF2B5EF4-FFF2-40B4-BE49-F238E27FC236}">
                  <a16:creationId xmlns:a16="http://schemas.microsoft.com/office/drawing/2014/main" id="{6F8DD459-301D-42B7-74AC-F746CB6BCF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31" name="Picture 30">
              <a:extLst>
                <a:ext uri="{FF2B5EF4-FFF2-40B4-BE49-F238E27FC236}">
                  <a16:creationId xmlns:a16="http://schemas.microsoft.com/office/drawing/2014/main" id="{CB4FF100-775E-F111-CD52-9AE0CE27E854}"/>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 name="Text Placeholder 35">
            <a:extLst>
              <a:ext uri="{FF2B5EF4-FFF2-40B4-BE49-F238E27FC236}">
                <a16:creationId xmlns:a16="http://schemas.microsoft.com/office/drawing/2014/main" id="{97A471DB-1DCC-8062-0414-4B5A7AB54B5E}"/>
              </a:ext>
            </a:extLst>
          </p:cNvPr>
          <p:cNvSpPr>
            <a:spLocks noGrp="1"/>
          </p:cNvSpPr>
          <p:nvPr>
            <p:ph type="body" sz="quarter" idx="21" hasCustomPrompt="1"/>
          </p:nvPr>
        </p:nvSpPr>
        <p:spPr>
          <a:xfrm>
            <a:off x="584200" y="3921107"/>
            <a:ext cx="1933578"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90C6ECF6-2CA9-BD12-0EC4-04ED0B510A3F}"/>
              </a:ext>
            </a:extLst>
          </p:cNvPr>
          <p:cNvSpPr>
            <a:spLocks noGrp="1"/>
          </p:cNvSpPr>
          <p:nvPr>
            <p:ph type="body" sz="quarter" idx="29" hasCustomPrompt="1"/>
          </p:nvPr>
        </p:nvSpPr>
        <p:spPr>
          <a:xfrm>
            <a:off x="584200" y="4267200"/>
            <a:ext cx="1933578"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2" name="Text Placeholder 35">
            <a:extLst>
              <a:ext uri="{FF2B5EF4-FFF2-40B4-BE49-F238E27FC236}">
                <a16:creationId xmlns:a16="http://schemas.microsoft.com/office/drawing/2014/main" id="{CF76E1A8-FEC4-8F30-3C91-C516F6A3F310}"/>
              </a:ext>
            </a:extLst>
          </p:cNvPr>
          <p:cNvSpPr>
            <a:spLocks noGrp="1"/>
          </p:cNvSpPr>
          <p:nvPr>
            <p:ph type="body" sz="quarter" idx="26" hasCustomPrompt="1"/>
          </p:nvPr>
        </p:nvSpPr>
        <p:spPr>
          <a:xfrm>
            <a:off x="2869826"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C3333A1E-E69C-F7EB-D99C-CF0F53BDF8F0}"/>
              </a:ext>
            </a:extLst>
          </p:cNvPr>
          <p:cNvSpPr>
            <a:spLocks noGrp="1"/>
          </p:cNvSpPr>
          <p:nvPr>
            <p:ph type="body" sz="quarter" idx="30" hasCustomPrompt="1"/>
          </p:nvPr>
        </p:nvSpPr>
        <p:spPr>
          <a:xfrm>
            <a:off x="2869826"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3" name="Text Placeholder 35">
            <a:extLst>
              <a:ext uri="{FF2B5EF4-FFF2-40B4-BE49-F238E27FC236}">
                <a16:creationId xmlns:a16="http://schemas.microsoft.com/office/drawing/2014/main" id="{29CC8A25-8282-B793-B8F9-CA7C5F3B42D7}"/>
              </a:ext>
            </a:extLst>
          </p:cNvPr>
          <p:cNvSpPr>
            <a:spLocks noGrp="1"/>
          </p:cNvSpPr>
          <p:nvPr>
            <p:ph type="body" sz="quarter" idx="27" hasCustomPrompt="1"/>
          </p:nvPr>
        </p:nvSpPr>
        <p:spPr>
          <a:xfrm>
            <a:off x="5141355"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E2F40382-3888-9376-FD1C-A3A20E0F82BE}"/>
              </a:ext>
            </a:extLst>
          </p:cNvPr>
          <p:cNvSpPr>
            <a:spLocks noGrp="1"/>
          </p:cNvSpPr>
          <p:nvPr>
            <p:ph type="body" sz="quarter" idx="31" hasCustomPrompt="1"/>
          </p:nvPr>
        </p:nvSpPr>
        <p:spPr>
          <a:xfrm>
            <a:off x="5141355"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4" name="Text Placeholder 35">
            <a:extLst>
              <a:ext uri="{FF2B5EF4-FFF2-40B4-BE49-F238E27FC236}">
                <a16:creationId xmlns:a16="http://schemas.microsoft.com/office/drawing/2014/main" id="{76D5CA59-CC08-9768-F7B0-7F0452A8C42F}"/>
              </a:ext>
            </a:extLst>
          </p:cNvPr>
          <p:cNvSpPr>
            <a:spLocks noGrp="1"/>
          </p:cNvSpPr>
          <p:nvPr>
            <p:ph type="body" sz="quarter" idx="28" hasCustomPrompt="1"/>
          </p:nvPr>
        </p:nvSpPr>
        <p:spPr>
          <a:xfrm>
            <a:off x="7412884"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EADDC656-AF20-ADD0-6600-D5B60D058367}"/>
              </a:ext>
            </a:extLst>
          </p:cNvPr>
          <p:cNvSpPr>
            <a:spLocks noGrp="1"/>
          </p:cNvSpPr>
          <p:nvPr>
            <p:ph type="body" sz="quarter" idx="32" hasCustomPrompt="1"/>
          </p:nvPr>
        </p:nvSpPr>
        <p:spPr>
          <a:xfrm>
            <a:off x="7412884"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9" name="Text Placeholder 35">
            <a:extLst>
              <a:ext uri="{FF2B5EF4-FFF2-40B4-BE49-F238E27FC236}">
                <a16:creationId xmlns:a16="http://schemas.microsoft.com/office/drawing/2014/main" id="{7E1776C1-1814-EC86-13D2-E6D4F6CB6D2C}"/>
              </a:ext>
            </a:extLst>
          </p:cNvPr>
          <p:cNvSpPr>
            <a:spLocks noGrp="1"/>
          </p:cNvSpPr>
          <p:nvPr>
            <p:ph type="body" sz="quarter" idx="34" hasCustomPrompt="1"/>
          </p:nvPr>
        </p:nvSpPr>
        <p:spPr>
          <a:xfrm>
            <a:off x="9684412"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BB1B9FC9-7B57-4F44-F370-731D9B6AD977}"/>
              </a:ext>
            </a:extLst>
          </p:cNvPr>
          <p:cNvSpPr>
            <a:spLocks noGrp="1"/>
          </p:cNvSpPr>
          <p:nvPr>
            <p:ph type="body" sz="quarter" idx="35" hasCustomPrompt="1"/>
          </p:nvPr>
        </p:nvSpPr>
        <p:spPr>
          <a:xfrm>
            <a:off x="9684412"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2512755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6 Images with title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210354E-5467-C896-DA54-72B8A9FBB0D1}"/>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51084DD3-F6DB-AB19-B193-0F23DA9777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23" name="Picture 22">
              <a:extLst>
                <a:ext uri="{FF2B5EF4-FFF2-40B4-BE49-F238E27FC236}">
                  <a16:creationId xmlns:a16="http://schemas.microsoft.com/office/drawing/2014/main" id="{905300BF-8950-E605-E5AB-49BCA18AE9B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 name="Text Placeholder 35">
            <a:extLst>
              <a:ext uri="{FF2B5EF4-FFF2-40B4-BE49-F238E27FC236}">
                <a16:creationId xmlns:a16="http://schemas.microsoft.com/office/drawing/2014/main" id="{119B2796-E50C-EB49-F1F5-31A39C9E15BC}"/>
              </a:ext>
            </a:extLst>
          </p:cNvPr>
          <p:cNvSpPr>
            <a:spLocks noGrp="1"/>
          </p:cNvSpPr>
          <p:nvPr>
            <p:ph type="body" sz="quarter" idx="21" hasCustomPrompt="1"/>
          </p:nvPr>
        </p:nvSpPr>
        <p:spPr>
          <a:xfrm>
            <a:off x="584201" y="3727201"/>
            <a:ext cx="1458761"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Text Placeholder 35">
            <a:extLst>
              <a:ext uri="{FF2B5EF4-FFF2-40B4-BE49-F238E27FC236}">
                <a16:creationId xmlns:a16="http://schemas.microsoft.com/office/drawing/2014/main" id="{2991ADBB-4E46-A512-E714-73BF3F49D1B9}"/>
              </a:ext>
            </a:extLst>
          </p:cNvPr>
          <p:cNvSpPr>
            <a:spLocks noGrp="1"/>
          </p:cNvSpPr>
          <p:nvPr>
            <p:ph type="body" sz="quarter" idx="29" hasCustomPrompt="1"/>
          </p:nvPr>
        </p:nvSpPr>
        <p:spPr>
          <a:xfrm>
            <a:off x="584201"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7" name="Text Placeholder 35">
            <a:extLst>
              <a:ext uri="{FF2B5EF4-FFF2-40B4-BE49-F238E27FC236}">
                <a16:creationId xmlns:a16="http://schemas.microsoft.com/office/drawing/2014/main" id="{182A81C3-4BB6-D158-FEE2-FF4A5FAF1A18}"/>
              </a:ext>
            </a:extLst>
          </p:cNvPr>
          <p:cNvSpPr>
            <a:spLocks noGrp="1"/>
          </p:cNvSpPr>
          <p:nvPr>
            <p:ph type="body" sz="quarter" idx="26" hasCustomPrompt="1"/>
          </p:nvPr>
        </p:nvSpPr>
        <p:spPr>
          <a:xfrm>
            <a:off x="249798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2E0E1073-8B82-D6BA-F524-C80B0EA3512F}"/>
              </a:ext>
            </a:extLst>
          </p:cNvPr>
          <p:cNvSpPr>
            <a:spLocks noGrp="1"/>
          </p:cNvSpPr>
          <p:nvPr>
            <p:ph type="body" sz="quarter" idx="30" hasCustomPrompt="1"/>
          </p:nvPr>
        </p:nvSpPr>
        <p:spPr>
          <a:xfrm>
            <a:off x="249797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8" name="Text Placeholder 35">
            <a:extLst>
              <a:ext uri="{FF2B5EF4-FFF2-40B4-BE49-F238E27FC236}">
                <a16:creationId xmlns:a16="http://schemas.microsoft.com/office/drawing/2014/main" id="{166F6DAA-0E05-7D33-DF48-CD3D1CB61534}"/>
              </a:ext>
            </a:extLst>
          </p:cNvPr>
          <p:cNvSpPr>
            <a:spLocks noGrp="1"/>
          </p:cNvSpPr>
          <p:nvPr>
            <p:ph type="body" sz="quarter" idx="27" hasCustomPrompt="1"/>
          </p:nvPr>
        </p:nvSpPr>
        <p:spPr>
          <a:xfrm>
            <a:off x="441176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AD700B9-F0BF-1056-83E4-7EFD3D02A1AD}"/>
              </a:ext>
            </a:extLst>
          </p:cNvPr>
          <p:cNvSpPr>
            <a:spLocks noGrp="1"/>
          </p:cNvSpPr>
          <p:nvPr>
            <p:ph type="body" sz="quarter" idx="31" hasCustomPrompt="1"/>
          </p:nvPr>
        </p:nvSpPr>
        <p:spPr>
          <a:xfrm>
            <a:off x="441175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9" name="Text Placeholder 35">
            <a:extLst>
              <a:ext uri="{FF2B5EF4-FFF2-40B4-BE49-F238E27FC236}">
                <a16:creationId xmlns:a16="http://schemas.microsoft.com/office/drawing/2014/main" id="{5105ED6F-D384-1BBE-BD4F-8951360571BD}"/>
              </a:ext>
            </a:extLst>
          </p:cNvPr>
          <p:cNvSpPr>
            <a:spLocks noGrp="1"/>
          </p:cNvSpPr>
          <p:nvPr>
            <p:ph type="body" sz="quarter" idx="28" hasCustomPrompt="1"/>
          </p:nvPr>
        </p:nvSpPr>
        <p:spPr>
          <a:xfrm>
            <a:off x="632554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59EE9454-25F0-AA75-5E45-246F4ED13A43}"/>
              </a:ext>
            </a:extLst>
          </p:cNvPr>
          <p:cNvSpPr>
            <a:spLocks noGrp="1"/>
          </p:cNvSpPr>
          <p:nvPr>
            <p:ph type="body" sz="quarter" idx="32" hasCustomPrompt="1"/>
          </p:nvPr>
        </p:nvSpPr>
        <p:spPr>
          <a:xfrm>
            <a:off x="632553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43" name="Text Placeholder 35">
            <a:extLst>
              <a:ext uri="{FF2B5EF4-FFF2-40B4-BE49-F238E27FC236}">
                <a16:creationId xmlns:a16="http://schemas.microsoft.com/office/drawing/2014/main" id="{41CBB04E-43B7-DCBF-8F6B-8D20F8DBCA1E}"/>
              </a:ext>
            </a:extLst>
          </p:cNvPr>
          <p:cNvSpPr>
            <a:spLocks noGrp="1"/>
          </p:cNvSpPr>
          <p:nvPr>
            <p:ph type="body" sz="quarter" idx="34" hasCustomPrompt="1"/>
          </p:nvPr>
        </p:nvSpPr>
        <p:spPr>
          <a:xfrm>
            <a:off x="823932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6F77CE56-CAAF-9433-0DCF-F0D49B504DFD}"/>
              </a:ext>
            </a:extLst>
          </p:cNvPr>
          <p:cNvSpPr>
            <a:spLocks noGrp="1"/>
          </p:cNvSpPr>
          <p:nvPr>
            <p:ph type="body" sz="quarter" idx="35" hasCustomPrompt="1"/>
          </p:nvPr>
        </p:nvSpPr>
        <p:spPr>
          <a:xfrm>
            <a:off x="823931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17944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45" name="Text Placeholder 35">
            <a:extLst>
              <a:ext uri="{FF2B5EF4-FFF2-40B4-BE49-F238E27FC236}">
                <a16:creationId xmlns:a16="http://schemas.microsoft.com/office/drawing/2014/main" id="{025E90EA-2C28-E6C2-F2B5-84A08F2F5B53}"/>
              </a:ext>
            </a:extLst>
          </p:cNvPr>
          <p:cNvSpPr>
            <a:spLocks noGrp="1"/>
          </p:cNvSpPr>
          <p:nvPr>
            <p:ph type="body" sz="quarter" idx="41" hasCustomPrompt="1"/>
          </p:nvPr>
        </p:nvSpPr>
        <p:spPr>
          <a:xfrm>
            <a:off x="10163737"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Text Placeholder 35">
            <a:extLst>
              <a:ext uri="{FF2B5EF4-FFF2-40B4-BE49-F238E27FC236}">
                <a16:creationId xmlns:a16="http://schemas.microsoft.com/office/drawing/2014/main" id="{BCE46786-82C4-1E69-8DB3-6199CE524C9E}"/>
              </a:ext>
            </a:extLst>
          </p:cNvPr>
          <p:cNvSpPr>
            <a:spLocks noGrp="1"/>
          </p:cNvSpPr>
          <p:nvPr>
            <p:ph type="body" sz="quarter" idx="42" hasCustomPrompt="1"/>
          </p:nvPr>
        </p:nvSpPr>
        <p:spPr>
          <a:xfrm>
            <a:off x="10163736"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206101007"/>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 speakers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B0C7CBE9-25ED-87EA-1681-22A22FCC2C5C}"/>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39C32F9C-E976-07CF-E8A6-A91C215CB36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8" name="Picture 17">
              <a:extLst>
                <a:ext uri="{FF2B5EF4-FFF2-40B4-BE49-F238E27FC236}">
                  <a16:creationId xmlns:a16="http://schemas.microsoft.com/office/drawing/2014/main" id="{A16356B1-94B0-1798-E629-A5B7CA0A4E50}"/>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26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26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3485662"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3485662"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63887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63887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971683"/>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9292780"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9292780"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123219991"/>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5 Speakers slide (Dark)">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D92EA39-61E4-3951-F223-22385E4811F4}"/>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5" name="Picture 4" descr="A picture containing blue, electric blue, majorelle blue, blur&#10;&#10;Description automatically generated">
              <a:extLst>
                <a:ext uri="{FF2B5EF4-FFF2-40B4-BE49-F238E27FC236}">
                  <a16:creationId xmlns:a16="http://schemas.microsoft.com/office/drawing/2014/main" id="{E7FCC180-6FDC-F9EF-1B84-0E21FE3DF6B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5" name="Picture 14">
              <a:extLst>
                <a:ext uri="{FF2B5EF4-FFF2-40B4-BE49-F238E27FC236}">
                  <a16:creationId xmlns:a16="http://schemas.microsoft.com/office/drawing/2014/main" id="{4BB9465A-4DF9-6146-BAC5-A1C31D7CF1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20" name="Picture 19">
            <a:extLst>
              <a:ext uri="{FF2B5EF4-FFF2-40B4-BE49-F238E27FC236}">
                <a16:creationId xmlns:a16="http://schemas.microsoft.com/office/drawing/2014/main" id="{F58F077D-AD83-5BF8-FB02-676B81572C85}"/>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21" name="Rectangle 20">
            <a:extLst>
              <a:ext uri="{FF2B5EF4-FFF2-40B4-BE49-F238E27FC236}">
                <a16:creationId xmlns:a16="http://schemas.microsoft.com/office/drawing/2014/main" id="{D6ECC369-2C29-D532-9E7E-8C4FE487A76E}"/>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B1940E9D-6D9D-0130-946D-3054594670E0}"/>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32" name="Freeform: Shape 31">
              <a:extLst>
                <a:ext uri="{FF2B5EF4-FFF2-40B4-BE49-F238E27FC236}">
                  <a16:creationId xmlns:a16="http://schemas.microsoft.com/office/drawing/2014/main" id="{76D281CC-6A0E-B1F5-67B5-8219B7AA9A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33" name="Freeform: Shape 32">
              <a:extLst>
                <a:ext uri="{FF2B5EF4-FFF2-40B4-BE49-F238E27FC236}">
                  <a16:creationId xmlns:a16="http://schemas.microsoft.com/office/drawing/2014/main" id="{ACEB436E-0A50-E046-D24D-FFE89B6B2DC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0" y="4150959"/>
            <a:ext cx="1933578"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0" y="4873101"/>
            <a:ext cx="1933578"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869826"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869826"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5141355"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5141355"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7412884"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7412884"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2033701"/>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9684412"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9684412"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62838455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6 speakers slide (Dark)">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2C96A17-7F33-9136-FAEB-5C3D157112BF}"/>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5" name="Picture 4" descr="A picture containing blue, electric blue, majorelle blue, blur&#10;&#10;Description automatically generated">
              <a:extLst>
                <a:ext uri="{FF2B5EF4-FFF2-40B4-BE49-F238E27FC236}">
                  <a16:creationId xmlns:a16="http://schemas.microsoft.com/office/drawing/2014/main" id="{4707BE70-988F-C4F9-FD61-4E435E81504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5" name="Picture 14">
              <a:extLst>
                <a:ext uri="{FF2B5EF4-FFF2-40B4-BE49-F238E27FC236}">
                  <a16:creationId xmlns:a16="http://schemas.microsoft.com/office/drawing/2014/main" id="{1DE42749-1B7C-4092-961F-298A6C6AD4E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7" name="Picture 6">
            <a:extLst>
              <a:ext uri="{FF2B5EF4-FFF2-40B4-BE49-F238E27FC236}">
                <a16:creationId xmlns:a16="http://schemas.microsoft.com/office/drawing/2014/main" id="{56CE2223-793E-DC36-6096-9A224C75A598}"/>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8" name="Rectangle 7">
            <a:extLst>
              <a:ext uri="{FF2B5EF4-FFF2-40B4-BE49-F238E27FC236}">
                <a16:creationId xmlns:a16="http://schemas.microsoft.com/office/drawing/2014/main" id="{21E1321F-0FDD-E7D4-2A40-C00D72A456A0}"/>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F27FD47A-7C97-5667-ADA3-E0AE7D1B3492}"/>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9878666-54D5-F6EF-2ACC-80649371323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4" name="Freeform: Shape 13">
              <a:extLst>
                <a:ext uri="{FF2B5EF4-FFF2-40B4-BE49-F238E27FC236}">
                  <a16:creationId xmlns:a16="http://schemas.microsoft.com/office/drawing/2014/main" id="{AA39B6E0-B067-A29A-8E1F-5700A6E6527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1" y="3952119"/>
            <a:ext cx="1458761"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1"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49798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49797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441176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441175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632554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632553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823932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823931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2327869"/>
            <a:ext cx="1458762" cy="1458760"/>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9" name="Text Placeholder 35">
            <a:extLst>
              <a:ext uri="{FF2B5EF4-FFF2-40B4-BE49-F238E27FC236}">
                <a16:creationId xmlns:a16="http://schemas.microsoft.com/office/drawing/2014/main" id="{617E7719-FAEE-A779-D036-99FBACC045AF}"/>
              </a:ext>
            </a:extLst>
          </p:cNvPr>
          <p:cNvSpPr>
            <a:spLocks noGrp="1"/>
          </p:cNvSpPr>
          <p:nvPr>
            <p:ph type="body" sz="quarter" idx="41" hasCustomPrompt="1"/>
          </p:nvPr>
        </p:nvSpPr>
        <p:spPr>
          <a:xfrm>
            <a:off x="10163737"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39714483-8AAD-2FC7-F030-69AE44D86130}"/>
              </a:ext>
            </a:extLst>
          </p:cNvPr>
          <p:cNvSpPr>
            <a:spLocks noGrp="1"/>
          </p:cNvSpPr>
          <p:nvPr>
            <p:ph type="body" sz="quarter" idx="42" hasCustomPrompt="1"/>
          </p:nvPr>
        </p:nvSpPr>
        <p:spPr>
          <a:xfrm>
            <a:off x="10163736"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50538658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ix topic (dark)">
    <p:bg>
      <p:bgPr>
        <a:solidFill>
          <a:srgbClr val="193467"/>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23057C64-DAD8-9401-7EE5-A4D097376B67}"/>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sp>
        <p:nvSpPr>
          <p:cNvPr id="2" name="Rectangle: Rounded Corners 1">
            <a:extLst>
              <a:ext uri="{FF2B5EF4-FFF2-40B4-BE49-F238E27FC236}">
                <a16:creationId xmlns:a16="http://schemas.microsoft.com/office/drawing/2014/main" id="{7AFCDF00-F91D-6DE8-AF01-F8EEC9A54303}"/>
              </a:ext>
              <a:ext uri="{C183D7F6-B498-43B3-948B-1728B52AA6E4}">
                <adec:decorative xmlns:adec="http://schemas.microsoft.com/office/drawing/2017/decorative" val="1"/>
              </a:ext>
            </a:extLst>
          </p:cNvPr>
          <p:cNvSpPr/>
          <p:nvPr userDrawn="1"/>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pic>
        <p:nvPicPr>
          <p:cNvPr id="23" name="Picture 22">
            <a:extLst>
              <a:ext uri="{FF2B5EF4-FFF2-40B4-BE49-F238E27FC236}">
                <a16:creationId xmlns:a16="http://schemas.microsoft.com/office/drawing/2014/main" id="{84C713CF-BC05-F985-2DB3-B0781AAB84EF}"/>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3888175" cy="615781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w="3175">
            <a:gradFill flip="none" rotWithShape="1">
              <a:gsLst>
                <a:gs pos="28037">
                  <a:schemeClr val="tx2">
                    <a:lumMod val="50000"/>
                  </a:schemeClr>
                </a:gs>
                <a:gs pos="100000">
                  <a:schemeClr val="bg1">
                    <a:alpha val="25000"/>
                  </a:schemeClr>
                </a:gs>
              </a:gsLst>
              <a:lin ang="2700000" scaled="1"/>
              <a:tileRect/>
            </a:gradFill>
          </a:ln>
          <a:effectLst>
            <a:outerShdw blurRad="317500" dist="38100" dir="2700000" algn="tl" rotWithShape="0">
              <a:prstClr val="black">
                <a:alpha val="40000"/>
              </a:prstClr>
            </a:outerShdw>
          </a:effectLst>
        </p:spPr>
      </p:pic>
      <p:sp>
        <p:nvSpPr>
          <p:cNvPr id="14" name="Text Placeholder 33">
            <a:extLst>
              <a:ext uri="{FF2B5EF4-FFF2-40B4-BE49-F238E27FC236}">
                <a16:creationId xmlns:a16="http://schemas.microsoft.com/office/drawing/2014/main" id="{FCD54D1F-3F81-F213-059C-44EF38A6A5AD}"/>
              </a:ext>
            </a:extLst>
          </p:cNvPr>
          <p:cNvSpPr>
            <a:spLocks noGrp="1"/>
          </p:cNvSpPr>
          <p:nvPr>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4" name="Text Placeholder 35">
            <a:extLst>
              <a:ext uri="{FF2B5EF4-FFF2-40B4-BE49-F238E27FC236}">
                <a16:creationId xmlns:a16="http://schemas.microsoft.com/office/drawing/2014/main" id="{7E7093CC-A28E-61AE-DF21-5887F9CD93BA}"/>
              </a:ext>
            </a:extLst>
          </p:cNvPr>
          <p:cNvSpPr>
            <a:spLocks noGrp="1"/>
          </p:cNvSpPr>
          <p:nvPr>
            <p:ph type="body" sz="quarter" idx="17" hasCustomPrompt="1"/>
          </p:nvPr>
        </p:nvSpPr>
        <p:spPr>
          <a:xfrm>
            <a:off x="4480553" y="83148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5" name="Text Placeholder 35">
            <a:extLst>
              <a:ext uri="{FF2B5EF4-FFF2-40B4-BE49-F238E27FC236}">
                <a16:creationId xmlns:a16="http://schemas.microsoft.com/office/drawing/2014/main" id="{03F5D594-59A9-7128-2AC0-BC5441B6FDCA}"/>
              </a:ext>
            </a:extLst>
          </p:cNvPr>
          <p:cNvSpPr>
            <a:spLocks noGrp="1"/>
          </p:cNvSpPr>
          <p:nvPr>
            <p:ph type="body" sz="quarter" idx="11" hasCustomPrompt="1"/>
          </p:nvPr>
        </p:nvSpPr>
        <p:spPr>
          <a:xfrm>
            <a:off x="5436016" y="83148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56" name="Straight Connector 55">
            <a:extLst>
              <a:ext uri="{FF2B5EF4-FFF2-40B4-BE49-F238E27FC236}">
                <a16:creationId xmlns:a16="http://schemas.microsoft.com/office/drawing/2014/main" id="{224F05AE-4ECB-A201-B025-E12913E52A24}"/>
              </a:ext>
            </a:extLst>
          </p:cNvPr>
          <p:cNvCxnSpPr/>
          <p:nvPr userDrawn="1"/>
        </p:nvCxnSpPr>
        <p:spPr>
          <a:xfrm>
            <a:off x="5436017" y="153952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Text Placeholder 35">
            <a:extLst>
              <a:ext uri="{FF2B5EF4-FFF2-40B4-BE49-F238E27FC236}">
                <a16:creationId xmlns:a16="http://schemas.microsoft.com/office/drawing/2014/main" id="{C2EFC6E3-948E-47C7-FD35-012ECA924CF4}"/>
              </a:ext>
            </a:extLst>
          </p:cNvPr>
          <p:cNvSpPr>
            <a:spLocks noGrp="1"/>
          </p:cNvSpPr>
          <p:nvPr>
            <p:ph type="body" sz="quarter" idx="22" hasCustomPrompt="1"/>
          </p:nvPr>
        </p:nvSpPr>
        <p:spPr>
          <a:xfrm>
            <a:off x="4480553" y="17206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121" name="Text Placeholder 35">
            <a:extLst>
              <a:ext uri="{FF2B5EF4-FFF2-40B4-BE49-F238E27FC236}">
                <a16:creationId xmlns:a16="http://schemas.microsoft.com/office/drawing/2014/main" id="{C2EDBE18-7096-479B-D0F8-34FA32595F88}"/>
              </a:ext>
            </a:extLst>
          </p:cNvPr>
          <p:cNvSpPr>
            <a:spLocks noGrp="1"/>
          </p:cNvSpPr>
          <p:nvPr>
            <p:ph type="body" sz="quarter" idx="16" hasCustomPrompt="1"/>
          </p:nvPr>
        </p:nvSpPr>
        <p:spPr>
          <a:xfrm>
            <a:off x="5436016" y="17206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26" name="Straight Connector 125">
            <a:extLst>
              <a:ext uri="{FF2B5EF4-FFF2-40B4-BE49-F238E27FC236}">
                <a16:creationId xmlns:a16="http://schemas.microsoft.com/office/drawing/2014/main" id="{77259012-1ADE-F706-01EC-C1A0EE16301E}"/>
              </a:ext>
            </a:extLst>
          </p:cNvPr>
          <p:cNvCxnSpPr/>
          <p:nvPr userDrawn="1"/>
        </p:nvCxnSpPr>
        <p:spPr>
          <a:xfrm>
            <a:off x="5436017" y="242865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8" name="Text Placeholder 35">
            <a:extLst>
              <a:ext uri="{FF2B5EF4-FFF2-40B4-BE49-F238E27FC236}">
                <a16:creationId xmlns:a16="http://schemas.microsoft.com/office/drawing/2014/main" id="{5F298676-8469-1D6E-5A87-67816E1633BA}"/>
              </a:ext>
            </a:extLst>
          </p:cNvPr>
          <p:cNvSpPr>
            <a:spLocks noGrp="1"/>
          </p:cNvSpPr>
          <p:nvPr>
            <p:ph type="body" sz="quarter" idx="21" hasCustomPrompt="1"/>
          </p:nvPr>
        </p:nvSpPr>
        <p:spPr>
          <a:xfrm>
            <a:off x="4480553" y="260974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155" name="Text Placeholder 35">
            <a:extLst>
              <a:ext uri="{FF2B5EF4-FFF2-40B4-BE49-F238E27FC236}">
                <a16:creationId xmlns:a16="http://schemas.microsoft.com/office/drawing/2014/main" id="{E6F8FE11-9E8D-4805-1C88-A8C6A54C13A0}"/>
              </a:ext>
            </a:extLst>
          </p:cNvPr>
          <p:cNvSpPr>
            <a:spLocks noGrp="1"/>
          </p:cNvSpPr>
          <p:nvPr>
            <p:ph type="body" sz="quarter" idx="15" hasCustomPrompt="1"/>
          </p:nvPr>
        </p:nvSpPr>
        <p:spPr>
          <a:xfrm>
            <a:off x="5436016" y="260974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59" name="Straight Connector 158">
            <a:extLst>
              <a:ext uri="{FF2B5EF4-FFF2-40B4-BE49-F238E27FC236}">
                <a16:creationId xmlns:a16="http://schemas.microsoft.com/office/drawing/2014/main" id="{469E280D-0991-4834-DE3E-07993B04AB60}"/>
              </a:ext>
            </a:extLst>
          </p:cNvPr>
          <p:cNvCxnSpPr/>
          <p:nvPr userDrawn="1"/>
        </p:nvCxnSpPr>
        <p:spPr>
          <a:xfrm>
            <a:off x="5436017" y="331778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5" name="Text Placeholder 35">
            <a:extLst>
              <a:ext uri="{FF2B5EF4-FFF2-40B4-BE49-F238E27FC236}">
                <a16:creationId xmlns:a16="http://schemas.microsoft.com/office/drawing/2014/main" id="{8E0C175E-BAD3-3B62-EAF3-822025AB0028}"/>
              </a:ext>
            </a:extLst>
          </p:cNvPr>
          <p:cNvSpPr>
            <a:spLocks noGrp="1"/>
          </p:cNvSpPr>
          <p:nvPr>
            <p:ph type="body" sz="quarter" idx="20" hasCustomPrompt="1"/>
          </p:nvPr>
        </p:nvSpPr>
        <p:spPr>
          <a:xfrm>
            <a:off x="4480553" y="349887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180" name="Text Placeholder 35">
            <a:extLst>
              <a:ext uri="{FF2B5EF4-FFF2-40B4-BE49-F238E27FC236}">
                <a16:creationId xmlns:a16="http://schemas.microsoft.com/office/drawing/2014/main" id="{35EF1574-7163-CDA3-0FC4-1347399B20E9}"/>
              </a:ext>
            </a:extLst>
          </p:cNvPr>
          <p:cNvSpPr>
            <a:spLocks noGrp="1"/>
          </p:cNvSpPr>
          <p:nvPr>
            <p:ph type="body" sz="quarter" idx="14" hasCustomPrompt="1"/>
          </p:nvPr>
        </p:nvSpPr>
        <p:spPr>
          <a:xfrm>
            <a:off x="5436016" y="349887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83" name="Straight Connector 182">
            <a:extLst>
              <a:ext uri="{FF2B5EF4-FFF2-40B4-BE49-F238E27FC236}">
                <a16:creationId xmlns:a16="http://schemas.microsoft.com/office/drawing/2014/main" id="{EA470ABB-713A-CC7B-3021-C344E59AF1BF}"/>
              </a:ext>
            </a:extLst>
          </p:cNvPr>
          <p:cNvCxnSpPr/>
          <p:nvPr userDrawn="1"/>
        </p:nvCxnSpPr>
        <p:spPr>
          <a:xfrm>
            <a:off x="5436017" y="420691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3" name="Text Placeholder 35">
            <a:extLst>
              <a:ext uri="{FF2B5EF4-FFF2-40B4-BE49-F238E27FC236}">
                <a16:creationId xmlns:a16="http://schemas.microsoft.com/office/drawing/2014/main" id="{62BA1341-24BA-AD13-20B1-2D454B7D325A}"/>
              </a:ext>
            </a:extLst>
          </p:cNvPr>
          <p:cNvSpPr>
            <a:spLocks noGrp="1"/>
          </p:cNvSpPr>
          <p:nvPr>
            <p:ph type="body" sz="quarter" idx="19" hasCustomPrompt="1"/>
          </p:nvPr>
        </p:nvSpPr>
        <p:spPr>
          <a:xfrm>
            <a:off x="4480553" y="438800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196" name="Text Placeholder 35">
            <a:extLst>
              <a:ext uri="{FF2B5EF4-FFF2-40B4-BE49-F238E27FC236}">
                <a16:creationId xmlns:a16="http://schemas.microsoft.com/office/drawing/2014/main" id="{50106356-E0E1-A677-8D3A-A684E0B6E300}"/>
              </a:ext>
            </a:extLst>
          </p:cNvPr>
          <p:cNvSpPr>
            <a:spLocks noGrp="1"/>
          </p:cNvSpPr>
          <p:nvPr>
            <p:ph type="body" sz="quarter" idx="13" hasCustomPrompt="1"/>
          </p:nvPr>
        </p:nvSpPr>
        <p:spPr>
          <a:xfrm>
            <a:off x="5436016" y="438800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98" name="Straight Connector 197">
            <a:extLst>
              <a:ext uri="{FF2B5EF4-FFF2-40B4-BE49-F238E27FC236}">
                <a16:creationId xmlns:a16="http://schemas.microsoft.com/office/drawing/2014/main" id="{80E4BEDF-6C5E-0CCF-3921-96CFD7EF5B62}"/>
              </a:ext>
            </a:extLst>
          </p:cNvPr>
          <p:cNvCxnSpPr/>
          <p:nvPr userDrawn="1"/>
        </p:nvCxnSpPr>
        <p:spPr>
          <a:xfrm>
            <a:off x="5436017" y="5096041"/>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2" name="Text Placeholder 35">
            <a:extLst>
              <a:ext uri="{FF2B5EF4-FFF2-40B4-BE49-F238E27FC236}">
                <a16:creationId xmlns:a16="http://schemas.microsoft.com/office/drawing/2014/main" id="{0BAF8433-CF2F-59AB-4687-DD42731860C9}"/>
              </a:ext>
            </a:extLst>
          </p:cNvPr>
          <p:cNvSpPr>
            <a:spLocks noGrp="1"/>
          </p:cNvSpPr>
          <p:nvPr>
            <p:ph type="body" sz="quarter" idx="18" hasCustomPrompt="1"/>
          </p:nvPr>
        </p:nvSpPr>
        <p:spPr>
          <a:xfrm>
            <a:off x="4480553" y="5277137"/>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203" name="Text Placeholder 35">
            <a:extLst>
              <a:ext uri="{FF2B5EF4-FFF2-40B4-BE49-F238E27FC236}">
                <a16:creationId xmlns:a16="http://schemas.microsoft.com/office/drawing/2014/main" id="{6198D1F1-53EB-C0B6-EFD7-B89A09909809}"/>
              </a:ext>
            </a:extLst>
          </p:cNvPr>
          <p:cNvSpPr>
            <a:spLocks noGrp="1"/>
          </p:cNvSpPr>
          <p:nvPr>
            <p:ph type="body" sz="quarter" idx="12" hasCustomPrompt="1"/>
          </p:nvPr>
        </p:nvSpPr>
        <p:spPr>
          <a:xfrm>
            <a:off x="5436016" y="5277137"/>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3210406766"/>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3F8F33C-36B0-3938-4FB3-06AED66B33A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10CFB731-0428-6760-37AA-C747C08253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633FBA36-16CB-70E7-4769-F07A4F61212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BDEFB36A-0DF8-50F5-7642-DDF68D674174}"/>
              </a:ext>
              <a:ext uri="{C183D7F6-B498-43B3-948B-1728B52AA6E4}">
                <adec:decorative xmlns:adec="http://schemas.microsoft.com/office/drawing/2017/decorative" val="1"/>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071324C1-6F80-F13D-F260-83A883C5060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E657F75-11EF-3D83-BBAE-6A2F198193D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061AFDB9-2434-2087-EA70-17BFABFA74E6}"/>
              </a:ext>
              <a:ext uri="{C183D7F6-B498-43B3-948B-1728B52AA6E4}">
                <adec:decorative xmlns:adec="http://schemas.microsoft.com/office/drawing/2017/decorative" val="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p:nvSpPr>
        <p:spPr>
          <a:xfrm>
            <a:off x="582611" y="625475"/>
            <a:ext cx="3740149" cy="7632859"/>
          </a:xfrm>
          <a:prstGeom prst="rect">
            <a:avLst/>
          </a:prstGeom>
          <a:noFill/>
        </p:spPr>
        <p:txBody>
          <a:bodyPr wrap="square" lIns="0" tIns="0" rIns="0" bIns="0" rtlCol="0">
            <a:spAutoFit/>
          </a:bodyPr>
          <a:lstStyle/>
          <a:p>
            <a:pPr algn="l"/>
            <a:r>
              <a:rPr lang="en-US"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rPr>
              <a:t>1</a:t>
            </a:r>
            <a:endParaRPr lang="en-IN" sz="49600" b="1" err="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ndParaRPr>
          </a:p>
        </p:txBody>
      </p:sp>
      <p:sp>
        <p:nvSpPr>
          <p:cNvPr id="14" name="Freeform: Shape 13">
            <a:extLst>
              <a:ext uri="{FF2B5EF4-FFF2-40B4-BE49-F238E27FC236}">
                <a16:creationId xmlns:a16="http://schemas.microsoft.com/office/drawing/2014/main" id="{A6531176-52DB-A5CB-CFF7-9197A9918E07}"/>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422572288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3F8F33C-36B0-3938-4FB3-06AED66B33A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10CFB731-0428-6760-37AA-C747C08253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633FBA36-16CB-70E7-4769-F07A4F61212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BDEFB36A-0DF8-50F5-7642-DDF68D674174}"/>
              </a:ext>
              <a:ext uri="{C183D7F6-B498-43B3-948B-1728B52AA6E4}">
                <adec:decorative xmlns:adec="http://schemas.microsoft.com/office/drawing/2017/decorative" val="1"/>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071324C1-6F80-F13D-F260-83A883C5060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E657F75-11EF-3D83-BBAE-6A2F198193D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061AFDB9-2434-2087-EA70-17BFABFA74E6}"/>
              </a:ext>
              <a:ext uri="{C183D7F6-B498-43B3-948B-1728B52AA6E4}">
                <adec:decorative xmlns:adec="http://schemas.microsoft.com/office/drawing/2017/decorative" val="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p:nvSpPr>
        <p:spPr>
          <a:xfrm>
            <a:off x="582611" y="640715"/>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2</a:t>
            </a:r>
            <a:endParaRPr lang="en-IN" err="1"/>
          </a:p>
        </p:txBody>
      </p:sp>
      <p:sp>
        <p:nvSpPr>
          <p:cNvPr id="14" name="Freeform: Shape 13">
            <a:extLst>
              <a:ext uri="{FF2B5EF4-FFF2-40B4-BE49-F238E27FC236}">
                <a16:creationId xmlns:a16="http://schemas.microsoft.com/office/drawing/2014/main" id="{A6531176-52DB-A5CB-CFF7-9197A9918E07}"/>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011087433"/>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3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907CB34-064C-D7F8-98AC-E5FB408A860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C24D999D-197C-5B5A-F889-A232F8EBFF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2F12E30-B628-6D7A-45C9-F273BE0EB1E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6D24C534-F7D2-D3B5-8F97-B07BDD082782}"/>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EDF752B1-0604-19FC-E97B-656FA2FB3858}"/>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AC366D49-A0F0-DCF8-8D94-20E0FEADA3C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81A52E7A-D47D-F281-F56C-DBE38B3BDA7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595B6817-63E0-0980-A442-A9BA67C2C39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3</a:t>
            </a:r>
            <a:endParaRPr lang="en-IN"/>
          </a:p>
        </p:txBody>
      </p:sp>
      <p:sp>
        <p:nvSpPr>
          <p:cNvPr id="14" name="Freeform: Shape 13">
            <a:extLst>
              <a:ext uri="{FF2B5EF4-FFF2-40B4-BE49-F238E27FC236}">
                <a16:creationId xmlns:a16="http://schemas.microsoft.com/office/drawing/2014/main" id="{FE777CC7-B6C5-7088-B772-CD2E90937096}"/>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914470609"/>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24008C6-7FA5-45DD-90E5-4D92D6E44F4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4183580B-BD77-72FD-90DA-1596E60D14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5F8D123-B5D0-6A40-F57E-32827378D30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4A883064-0295-F799-5179-E0B8DC3A9EA6}"/>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D3C73739-74F9-9DD7-9C59-D4E06A789AC6}"/>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165902BB-16D8-C91F-EA68-7EBF7E5B578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23119770-54E3-5B0C-7437-D1E56DDAC30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F52CDA68-0512-4E3D-D85E-352EDEDF2F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640715"/>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4</a:t>
            </a:r>
            <a:endParaRPr lang="en-IN" err="1"/>
          </a:p>
        </p:txBody>
      </p:sp>
      <p:sp>
        <p:nvSpPr>
          <p:cNvPr id="14" name="Freeform: Shape 13">
            <a:extLst>
              <a:ext uri="{FF2B5EF4-FFF2-40B4-BE49-F238E27FC236}">
                <a16:creationId xmlns:a16="http://schemas.microsoft.com/office/drawing/2014/main" id="{2C44267B-8E19-5FCB-8D3B-4E294F011114}"/>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1535695036"/>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5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CB00D89-2DA2-92B9-46B2-B0A446AA071D}"/>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CC971C12-893B-5608-36A6-D0D07162BE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C44E1FD0-9347-DBC3-547E-91C88B9835A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46CE0E17-E206-56E0-CEBC-2293BDE84A96}"/>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1BBF723D-56FD-73AE-5D59-E8E4EE504D60}"/>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43645C1F-46DE-9214-DDE6-280FCA94F11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09FC4963-B1AB-9AF1-3D4B-86D52962922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557F2FAE-BD39-BE39-FF6E-6F9DF36D644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5</a:t>
            </a:r>
            <a:endParaRPr lang="en-IN"/>
          </a:p>
        </p:txBody>
      </p:sp>
      <p:sp>
        <p:nvSpPr>
          <p:cNvPr id="14" name="Freeform: Shape 13">
            <a:extLst>
              <a:ext uri="{FF2B5EF4-FFF2-40B4-BE49-F238E27FC236}">
                <a16:creationId xmlns:a16="http://schemas.microsoft.com/office/drawing/2014/main" id="{F4E3460B-2E73-E573-4A5B-D550D76654D9}"/>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566541432"/>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6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E58D21F-A93E-CD03-EC47-FB8DD1022D5B}"/>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900035A3-ECA5-E0C2-9DE5-EDA7B308584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D654B9A9-43CC-7953-82D9-11C16809A625}"/>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30A3B1A0-D6E6-90ED-A38D-424143A4B1A5}"/>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DE58E119-8C7B-9D2F-9583-620FEFA0423A}"/>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115ECAC6-1FAE-5C1C-CFA2-9D2975BD9F33}"/>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F3152805-8DA0-5167-7E35-DCAC3B2B2EB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D2BA64A5-B92C-C9FE-7215-04FBF69D9DD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6</a:t>
            </a:r>
            <a:endParaRPr lang="en-IN"/>
          </a:p>
        </p:txBody>
      </p:sp>
      <p:sp>
        <p:nvSpPr>
          <p:cNvPr id="14" name="Freeform: Shape 13">
            <a:extLst>
              <a:ext uri="{FF2B5EF4-FFF2-40B4-BE49-F238E27FC236}">
                <a16:creationId xmlns:a16="http://schemas.microsoft.com/office/drawing/2014/main" id="{C93D4AA9-DE5D-D31E-3D1D-D7FCDA9FD312}"/>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568304574"/>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7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429C006-8A1D-8F89-99B1-BF5178727FAD}"/>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0347DA2C-9466-A52B-40AB-17E283D12E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2745345-4692-8096-60F5-AF05DAA31C66}"/>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F17CE76A-29DA-FCCB-A80F-224FDAD23C43}"/>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2B4269A7-041F-E563-39E6-B156437C6CE0}"/>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DF8EA209-F48D-A61B-307B-AEF1A671497E}"/>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F35F310F-9C3E-7227-7A63-F93AD69AF9B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E3E82270-853B-F4E1-DE4E-2BB8431DC10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7104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7</a:t>
            </a:r>
            <a:endParaRPr lang="en-IN" err="1"/>
          </a:p>
        </p:txBody>
      </p:sp>
      <p:sp>
        <p:nvSpPr>
          <p:cNvPr id="14" name="Freeform: Shape 13">
            <a:extLst>
              <a:ext uri="{FF2B5EF4-FFF2-40B4-BE49-F238E27FC236}">
                <a16:creationId xmlns:a16="http://schemas.microsoft.com/office/drawing/2014/main" id="{31596FD6-9A43-B0EB-8E6C-BDABAB4486BC}"/>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3294972764"/>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8_number slides (Dar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1D0FB89-6570-5E4D-018B-D99E29F562EB}"/>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6" name="Picture 5" descr="A picture containing blue, electric blue, majorelle blue, blur&#10;&#10;Description automatically generated">
              <a:extLst>
                <a:ext uri="{FF2B5EF4-FFF2-40B4-BE49-F238E27FC236}">
                  <a16:creationId xmlns:a16="http://schemas.microsoft.com/office/drawing/2014/main" id="{B952ADD1-833B-116E-4ECC-05C1A267AE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4B514CFA-7782-D87B-AEC1-559B1A127B7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0" name="Group 9">
            <a:extLst>
              <a:ext uri="{FF2B5EF4-FFF2-40B4-BE49-F238E27FC236}">
                <a16:creationId xmlns:a16="http://schemas.microsoft.com/office/drawing/2014/main" id="{FD860205-FCAE-78DE-D5ED-0E3186EF814F}"/>
              </a:ext>
              <a:ext uri="{C183D7F6-B498-43B3-948B-1728B52AA6E4}">
                <adec:decorative xmlns:adec="http://schemas.microsoft.com/office/drawing/2017/decorative" val="1"/>
              </a:ext>
            </a:extLst>
          </p:cNvPr>
          <p:cNvGrpSpPr/>
          <p:nvPr/>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548E8EA9-8ACE-E1B3-42E3-C2F6FA275756}"/>
                </a:ext>
              </a:extLst>
            </p:cNvPr>
            <p:cNvGrpSpPr/>
            <p:nvPr/>
          </p:nvGrpSpPr>
          <p:grpSpPr>
            <a:xfrm>
              <a:off x="9486900" y="0"/>
              <a:ext cx="2705100" cy="694583"/>
              <a:chOff x="9486900" y="0"/>
              <a:chExt cx="2705100" cy="694583"/>
            </a:xfrm>
          </p:grpSpPr>
          <p:sp>
            <p:nvSpPr>
              <p:cNvPr id="17" name="Freeform: Shape 16">
                <a:extLst>
                  <a:ext uri="{FF2B5EF4-FFF2-40B4-BE49-F238E27FC236}">
                    <a16:creationId xmlns:a16="http://schemas.microsoft.com/office/drawing/2014/main" id="{E2BB5F71-A943-BC3B-7B26-6AAD53C0A7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8" name="Freeform: Shape 17">
                <a:extLst>
                  <a:ext uri="{FF2B5EF4-FFF2-40B4-BE49-F238E27FC236}">
                    <a16:creationId xmlns:a16="http://schemas.microsoft.com/office/drawing/2014/main" id="{D0B85113-CC15-A37F-B1F5-0A26FFFC1A5D}"/>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6" name="Freeform: Shape 15">
              <a:extLst>
                <a:ext uri="{FF2B5EF4-FFF2-40B4-BE49-F238E27FC236}">
                  <a16:creationId xmlns:a16="http://schemas.microsoft.com/office/drawing/2014/main" id="{7437BF8F-5993-C96E-AC92-F57A13BEDF8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userDrawn="1">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userDrawn="1">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8</a:t>
            </a:r>
            <a:endParaRPr lang="en-IN"/>
          </a:p>
        </p:txBody>
      </p:sp>
      <p:sp>
        <p:nvSpPr>
          <p:cNvPr id="14" name="Freeform: Shape 13">
            <a:extLst>
              <a:ext uri="{FF2B5EF4-FFF2-40B4-BE49-F238E27FC236}">
                <a16:creationId xmlns:a16="http://schemas.microsoft.com/office/drawing/2014/main" id="{1ACD0974-2DCA-E7A6-A86C-6A594EA18FC5}"/>
              </a:ext>
              <a:ext uri="{C183D7F6-B498-43B3-948B-1728B52AA6E4}">
                <adec:decorative xmlns:adec="http://schemas.microsoft.com/office/drawing/2017/decorative" val="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1700468888"/>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9_number slides (Dark)">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811C7DA-CE9B-720F-23D6-C3E0B26CE0F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EA990D72-62FF-7276-D6A8-7CB4F604F3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BF980D98-64AB-8534-57E5-AA6FA60349C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6" name="Group 15">
            <a:extLst>
              <a:ext uri="{FF2B5EF4-FFF2-40B4-BE49-F238E27FC236}">
                <a16:creationId xmlns:a16="http://schemas.microsoft.com/office/drawing/2014/main" id="{749E9DA9-685B-ABF8-643B-E50A935BE6B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2F03625D-E784-AEB9-DEF9-B2DCBB3E4E73}"/>
                </a:ext>
              </a:extLst>
            </p:cNvPr>
            <p:cNvGrpSpPr/>
            <p:nvPr/>
          </p:nvGrpSpPr>
          <p:grpSpPr>
            <a:xfrm>
              <a:off x="9486900" y="0"/>
              <a:ext cx="2705100" cy="694583"/>
              <a:chOff x="9486900" y="0"/>
              <a:chExt cx="2705100" cy="694583"/>
            </a:xfrm>
          </p:grpSpPr>
          <p:sp>
            <p:nvSpPr>
              <p:cNvPr id="19" name="Freeform: Shape 18">
                <a:extLst>
                  <a:ext uri="{FF2B5EF4-FFF2-40B4-BE49-F238E27FC236}">
                    <a16:creationId xmlns:a16="http://schemas.microsoft.com/office/drawing/2014/main" id="{7D833D94-173C-EDB4-AA0C-552FEA0B3A7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20" name="Freeform: Shape 19">
                <a:extLst>
                  <a:ext uri="{FF2B5EF4-FFF2-40B4-BE49-F238E27FC236}">
                    <a16:creationId xmlns:a16="http://schemas.microsoft.com/office/drawing/2014/main" id="{AB861CFF-8871-4294-29A7-7817D92DF9A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8" name="Freeform: Shape 17">
              <a:extLst>
                <a:ext uri="{FF2B5EF4-FFF2-40B4-BE49-F238E27FC236}">
                  <a16:creationId xmlns:a16="http://schemas.microsoft.com/office/drawing/2014/main" id="{E520BCC2-9520-E974-48BE-E10B84865F3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82611" y="555807"/>
            <a:ext cx="3740149" cy="7632859"/>
          </a:xfrm>
          <a:prstGeom prst="rect">
            <a:avLst/>
          </a:prstGeom>
          <a:noFill/>
        </p:spPr>
        <p:txBody>
          <a:bodyPr wrap="square" lIns="0" tIns="0" rIns="0" bIns="0" rtlCol="0">
            <a:spAutoFit/>
          </a:bodyPr>
          <a:lstStyle>
            <a:defPPr>
              <a:defRPr lang="en-US"/>
            </a:defPPr>
            <a:lvl1pPr lvl="0">
              <a:defRPr sz="49600" b="1">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defRPr>
            </a:lvl1pPr>
          </a:lstStyle>
          <a:p>
            <a:pPr lvl="0"/>
            <a:r>
              <a:rPr lang="en-US"/>
              <a:t>9</a:t>
            </a:r>
            <a:endParaRPr lang="en-IN"/>
          </a:p>
        </p:txBody>
      </p:sp>
      <p:sp>
        <p:nvSpPr>
          <p:cNvPr id="21" name="Freeform: Shape 20">
            <a:extLst>
              <a:ext uri="{FF2B5EF4-FFF2-40B4-BE49-F238E27FC236}">
                <a16:creationId xmlns:a16="http://schemas.microsoft.com/office/drawing/2014/main" id="{FA419A7C-8141-3F92-FD68-B7197E76EF86}"/>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2890377425"/>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0_number slides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E246FB-AB81-B8EC-A355-536B234B1F17}"/>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4E58D35A-F47C-A3A9-69E0-FF65F121F3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1FB571C-8009-012C-D301-FDA4D31F140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8" name="Group 7">
            <a:extLst>
              <a:ext uri="{FF2B5EF4-FFF2-40B4-BE49-F238E27FC236}">
                <a16:creationId xmlns:a16="http://schemas.microsoft.com/office/drawing/2014/main" id="{72AB9765-2DC6-7DD2-4906-4C16C9B7FE4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67398666-1EA3-A10B-B2D4-9388F9671461}"/>
                </a:ext>
              </a:extLst>
            </p:cNvPr>
            <p:cNvGrpSpPr/>
            <p:nvPr/>
          </p:nvGrpSpPr>
          <p:grpSpPr>
            <a:xfrm>
              <a:off x="9486900" y="0"/>
              <a:ext cx="2705100" cy="694583"/>
              <a:chOff x="9486900" y="0"/>
              <a:chExt cx="2705100" cy="694583"/>
            </a:xfrm>
          </p:grpSpPr>
          <p:sp>
            <p:nvSpPr>
              <p:cNvPr id="15" name="Freeform: Shape 14">
                <a:extLst>
                  <a:ext uri="{FF2B5EF4-FFF2-40B4-BE49-F238E27FC236}">
                    <a16:creationId xmlns:a16="http://schemas.microsoft.com/office/drawing/2014/main" id="{F65FAC2F-AEBE-7EBC-4267-98783C21AB7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6" name="Freeform: Shape 15">
                <a:extLst>
                  <a:ext uri="{FF2B5EF4-FFF2-40B4-BE49-F238E27FC236}">
                    <a16:creationId xmlns:a16="http://schemas.microsoft.com/office/drawing/2014/main" id="{73F8BF48-7161-8B4A-77B6-BCB7F80740D9}"/>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4" name="Freeform: Shape 13">
              <a:extLst>
                <a:ext uri="{FF2B5EF4-FFF2-40B4-BE49-F238E27FC236}">
                  <a16:creationId xmlns:a16="http://schemas.microsoft.com/office/drawing/2014/main" id="{8729867E-785A-91D7-0FEF-675C8E5BC3A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5928359" y="2745600"/>
            <a:ext cx="5681029"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5928359" y="3634600"/>
            <a:ext cx="5681029"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 uri="{C183D7F6-B498-43B3-948B-1728B52AA6E4}">
                <adec:decorative xmlns:adec="http://schemas.microsoft.com/office/drawing/2017/decorative" val="1"/>
              </a:ext>
            </a:extLst>
          </p:cNvPr>
          <p:cNvSpPr txBox="1"/>
          <p:nvPr userDrawn="1"/>
        </p:nvSpPr>
        <p:spPr>
          <a:xfrm>
            <a:off x="536891" y="1622607"/>
            <a:ext cx="5345749" cy="6355586"/>
          </a:xfrm>
          <a:prstGeom prst="rect">
            <a:avLst/>
          </a:prstGeom>
          <a:noFill/>
        </p:spPr>
        <p:txBody>
          <a:bodyPr wrap="square" lIns="0" tIns="0" rIns="0" bIns="0" rtlCol="0">
            <a:spAutoFit/>
          </a:bodyPr>
          <a:lstStyle/>
          <a:p>
            <a:pPr marL="0" lvl="0" algn="l" defTabSz="914400" rtl="0" eaLnBrk="1" latinLnBrk="0" hangingPunct="1"/>
            <a:r>
              <a:rPr lang="en-US" sz="41300" b="1" kern="1200">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a typeface="+mn-ea"/>
                <a:cs typeface="+mn-cs"/>
              </a:rPr>
              <a:t>10</a:t>
            </a:r>
            <a:endParaRPr lang="en-IN" sz="41300" b="1" kern="1200">
              <a:ln w="15875">
                <a:noFill/>
              </a:ln>
              <a:gradFill flip="none" rotWithShape="1">
                <a:gsLst>
                  <a:gs pos="20000">
                    <a:srgbClr val="5070A6"/>
                  </a:gs>
                  <a:gs pos="84000">
                    <a:schemeClr val="tx2">
                      <a:lumMod val="75000"/>
                    </a:schemeClr>
                  </a:gs>
                </a:gsLst>
                <a:lin ang="5400000" scaled="1"/>
                <a:tileRect/>
              </a:gradFill>
              <a:effectLst>
                <a:outerShdw blurRad="317500" dist="38100" dir="5400000" algn="t" rotWithShape="0">
                  <a:schemeClr val="tx1">
                    <a:alpha val="46000"/>
                  </a:schemeClr>
                </a:outerShdw>
              </a:effectLst>
              <a:latin typeface="+mn-lt"/>
              <a:ea typeface="+mn-ea"/>
              <a:cs typeface="+mn-cs"/>
            </a:endParaRPr>
          </a:p>
        </p:txBody>
      </p:sp>
      <p:sp>
        <p:nvSpPr>
          <p:cNvPr id="17" name="Freeform: Shape 16">
            <a:extLst>
              <a:ext uri="{FF2B5EF4-FFF2-40B4-BE49-F238E27FC236}">
                <a16:creationId xmlns:a16="http://schemas.microsoft.com/office/drawing/2014/main" id="{2E907715-9034-6B72-5B58-B64A11570B87}"/>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Tree>
    <p:extLst>
      <p:ext uri="{BB962C8B-B14F-4D97-AF65-F5344CB8AC3E}">
        <p14:creationId xmlns:p14="http://schemas.microsoft.com/office/powerpoint/2010/main" val="166653838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eight topic (dark)">
    <p:bg>
      <p:bgPr>
        <a:solidFill>
          <a:srgbClr val="19346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0B8DFE-881E-388A-2E01-A518F7E75D68}"/>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22A4C08-8D9B-7EB7-4EFC-CDD476EE593F}"/>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42" name="Text Placeholder 35">
            <a:extLst>
              <a:ext uri="{FF2B5EF4-FFF2-40B4-BE49-F238E27FC236}">
                <a16:creationId xmlns:a16="http://schemas.microsoft.com/office/drawing/2014/main" id="{27E77BF6-2F02-6AB1-244C-A33EEA6866E6}"/>
              </a:ext>
            </a:extLst>
          </p:cNvPr>
          <p:cNvSpPr>
            <a:spLocks noGrp="1"/>
          </p:cNvSpPr>
          <p:nvPr>
            <p:ph type="body" sz="quarter" idx="35" hasCustomPrompt="1"/>
          </p:nvPr>
        </p:nvSpPr>
        <p:spPr>
          <a:xfrm>
            <a:off x="4480553" y="527444"/>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3" name="Text Placeholder 35">
            <a:extLst>
              <a:ext uri="{FF2B5EF4-FFF2-40B4-BE49-F238E27FC236}">
                <a16:creationId xmlns:a16="http://schemas.microsoft.com/office/drawing/2014/main" id="{558DA852-A25B-3004-E952-719FA55D94FB}"/>
              </a:ext>
            </a:extLst>
          </p:cNvPr>
          <p:cNvSpPr>
            <a:spLocks noGrp="1"/>
          </p:cNvSpPr>
          <p:nvPr>
            <p:ph type="body" sz="quarter" idx="36" hasCustomPrompt="1"/>
          </p:nvPr>
        </p:nvSpPr>
        <p:spPr>
          <a:xfrm>
            <a:off x="5436016" y="527444"/>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44" name="Text Placeholder 35">
            <a:extLst>
              <a:ext uri="{FF2B5EF4-FFF2-40B4-BE49-F238E27FC236}">
                <a16:creationId xmlns:a16="http://schemas.microsoft.com/office/drawing/2014/main" id="{5C08C2F8-5024-C4BC-16C1-47D660E2FC69}"/>
              </a:ext>
            </a:extLst>
          </p:cNvPr>
          <p:cNvSpPr>
            <a:spLocks noGrp="1"/>
          </p:cNvSpPr>
          <p:nvPr>
            <p:ph type="body" sz="quarter" idx="37" hasCustomPrompt="1"/>
          </p:nvPr>
        </p:nvSpPr>
        <p:spPr>
          <a:xfrm>
            <a:off x="4480553" y="1281381"/>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45" name="Text Placeholder 35">
            <a:extLst>
              <a:ext uri="{FF2B5EF4-FFF2-40B4-BE49-F238E27FC236}">
                <a16:creationId xmlns:a16="http://schemas.microsoft.com/office/drawing/2014/main" id="{A18A491A-45A0-7F25-09EA-A8BC6C2D2382}"/>
              </a:ext>
            </a:extLst>
          </p:cNvPr>
          <p:cNvSpPr>
            <a:spLocks noGrp="1"/>
          </p:cNvSpPr>
          <p:nvPr>
            <p:ph type="body" sz="quarter" idx="38" hasCustomPrompt="1"/>
          </p:nvPr>
        </p:nvSpPr>
        <p:spPr>
          <a:xfrm>
            <a:off x="5436016" y="1281381"/>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 name="Text Placeholder 35">
            <a:extLst>
              <a:ext uri="{FF2B5EF4-FFF2-40B4-BE49-F238E27FC236}">
                <a16:creationId xmlns:a16="http://schemas.microsoft.com/office/drawing/2014/main" id="{956A9372-5D07-5C45-7C37-29797CA487FF}"/>
              </a:ext>
            </a:extLst>
          </p:cNvPr>
          <p:cNvSpPr>
            <a:spLocks noGrp="1"/>
          </p:cNvSpPr>
          <p:nvPr userDrawn="1">
            <p:ph type="body" sz="quarter" idx="17" hasCustomPrompt="1"/>
          </p:nvPr>
        </p:nvSpPr>
        <p:spPr>
          <a:xfrm>
            <a:off x="4480553" y="20353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36" name="Text Placeholder 35">
            <a:extLst>
              <a:ext uri="{FF2B5EF4-FFF2-40B4-BE49-F238E27FC236}">
                <a16:creationId xmlns:a16="http://schemas.microsoft.com/office/drawing/2014/main" id="{25EF701A-EECF-9B1A-6540-7EFB3A28B325}"/>
              </a:ext>
            </a:extLst>
          </p:cNvPr>
          <p:cNvSpPr>
            <a:spLocks noGrp="1"/>
          </p:cNvSpPr>
          <p:nvPr userDrawn="1">
            <p:ph type="body" sz="quarter" idx="11" hasCustomPrompt="1"/>
          </p:nvPr>
        </p:nvSpPr>
        <p:spPr>
          <a:xfrm>
            <a:off x="5436016" y="20353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6" name="Text Placeholder 35">
            <a:extLst>
              <a:ext uri="{FF2B5EF4-FFF2-40B4-BE49-F238E27FC236}">
                <a16:creationId xmlns:a16="http://schemas.microsoft.com/office/drawing/2014/main" id="{8CC548CB-B856-5757-3FE8-ECA642FC3526}"/>
              </a:ext>
            </a:extLst>
          </p:cNvPr>
          <p:cNvSpPr>
            <a:spLocks noGrp="1"/>
          </p:cNvSpPr>
          <p:nvPr userDrawn="1">
            <p:ph type="body" sz="quarter" idx="22" hasCustomPrompt="1"/>
          </p:nvPr>
        </p:nvSpPr>
        <p:spPr>
          <a:xfrm>
            <a:off x="4480553" y="2789255"/>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41" name="Text Placeholder 35">
            <a:extLst>
              <a:ext uri="{FF2B5EF4-FFF2-40B4-BE49-F238E27FC236}">
                <a16:creationId xmlns:a16="http://schemas.microsoft.com/office/drawing/2014/main" id="{C1B8DE60-C280-DB99-5F3A-50EE10BF0D0F}"/>
              </a:ext>
            </a:extLst>
          </p:cNvPr>
          <p:cNvSpPr>
            <a:spLocks noGrp="1"/>
          </p:cNvSpPr>
          <p:nvPr userDrawn="1">
            <p:ph type="body" sz="quarter" idx="16" hasCustomPrompt="1"/>
          </p:nvPr>
        </p:nvSpPr>
        <p:spPr>
          <a:xfrm>
            <a:off x="5436016" y="2789255"/>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4" name="Text Placeholder 35">
            <a:extLst>
              <a:ext uri="{FF2B5EF4-FFF2-40B4-BE49-F238E27FC236}">
                <a16:creationId xmlns:a16="http://schemas.microsoft.com/office/drawing/2014/main" id="{40CE3D49-5D1D-C6CC-D4F1-E75D834D5F86}"/>
              </a:ext>
            </a:extLst>
          </p:cNvPr>
          <p:cNvSpPr>
            <a:spLocks noGrp="1"/>
          </p:cNvSpPr>
          <p:nvPr userDrawn="1">
            <p:ph type="body" sz="quarter" idx="21" hasCustomPrompt="1"/>
          </p:nvPr>
        </p:nvSpPr>
        <p:spPr>
          <a:xfrm>
            <a:off x="4480553" y="3543192"/>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40" name="Text Placeholder 35">
            <a:extLst>
              <a:ext uri="{FF2B5EF4-FFF2-40B4-BE49-F238E27FC236}">
                <a16:creationId xmlns:a16="http://schemas.microsoft.com/office/drawing/2014/main" id="{5C7AE02B-FB9D-762B-AB5F-DE191AC40875}"/>
              </a:ext>
            </a:extLst>
          </p:cNvPr>
          <p:cNvSpPr>
            <a:spLocks noGrp="1"/>
          </p:cNvSpPr>
          <p:nvPr userDrawn="1">
            <p:ph type="body" sz="quarter" idx="15" hasCustomPrompt="1"/>
          </p:nvPr>
        </p:nvSpPr>
        <p:spPr>
          <a:xfrm>
            <a:off x="5436016" y="3543192"/>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2" name="Text Placeholder 35">
            <a:extLst>
              <a:ext uri="{FF2B5EF4-FFF2-40B4-BE49-F238E27FC236}">
                <a16:creationId xmlns:a16="http://schemas.microsoft.com/office/drawing/2014/main" id="{B622147B-A43D-FAE4-FCD2-1B938D7FC3E3}"/>
              </a:ext>
            </a:extLst>
          </p:cNvPr>
          <p:cNvSpPr>
            <a:spLocks noGrp="1"/>
          </p:cNvSpPr>
          <p:nvPr userDrawn="1">
            <p:ph type="body" sz="quarter" idx="20" hasCustomPrompt="1"/>
          </p:nvPr>
        </p:nvSpPr>
        <p:spPr>
          <a:xfrm>
            <a:off x="4480553" y="429712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39" name="Text Placeholder 35">
            <a:extLst>
              <a:ext uri="{FF2B5EF4-FFF2-40B4-BE49-F238E27FC236}">
                <a16:creationId xmlns:a16="http://schemas.microsoft.com/office/drawing/2014/main" id="{7B6DF795-EF74-1C8A-39CC-8B2DD75A94C0}"/>
              </a:ext>
            </a:extLst>
          </p:cNvPr>
          <p:cNvSpPr>
            <a:spLocks noGrp="1"/>
          </p:cNvSpPr>
          <p:nvPr userDrawn="1">
            <p:ph type="body" sz="quarter" idx="14" hasCustomPrompt="1"/>
          </p:nvPr>
        </p:nvSpPr>
        <p:spPr>
          <a:xfrm>
            <a:off x="5436016" y="429712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0" name="Text Placeholder 35">
            <a:extLst>
              <a:ext uri="{FF2B5EF4-FFF2-40B4-BE49-F238E27FC236}">
                <a16:creationId xmlns:a16="http://schemas.microsoft.com/office/drawing/2014/main" id="{2B10AC93-2B34-EE9C-672C-DB79A9B274F9}"/>
              </a:ext>
            </a:extLst>
          </p:cNvPr>
          <p:cNvSpPr>
            <a:spLocks noGrp="1"/>
          </p:cNvSpPr>
          <p:nvPr userDrawn="1">
            <p:ph type="body" sz="quarter" idx="19" hasCustomPrompt="1"/>
          </p:nvPr>
        </p:nvSpPr>
        <p:spPr>
          <a:xfrm>
            <a:off x="4480553" y="5051066"/>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7</a:t>
            </a:r>
          </a:p>
        </p:txBody>
      </p:sp>
      <p:sp>
        <p:nvSpPr>
          <p:cNvPr id="38" name="Text Placeholder 35">
            <a:extLst>
              <a:ext uri="{FF2B5EF4-FFF2-40B4-BE49-F238E27FC236}">
                <a16:creationId xmlns:a16="http://schemas.microsoft.com/office/drawing/2014/main" id="{2E3339B5-7B67-FB30-EEE4-5E79A97FC1B6}"/>
              </a:ext>
            </a:extLst>
          </p:cNvPr>
          <p:cNvSpPr>
            <a:spLocks noGrp="1"/>
          </p:cNvSpPr>
          <p:nvPr userDrawn="1">
            <p:ph type="body" sz="quarter" idx="13" hasCustomPrompt="1"/>
          </p:nvPr>
        </p:nvSpPr>
        <p:spPr>
          <a:xfrm>
            <a:off x="5436016" y="5051066"/>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5" name="Text Placeholder 35">
            <a:extLst>
              <a:ext uri="{FF2B5EF4-FFF2-40B4-BE49-F238E27FC236}">
                <a16:creationId xmlns:a16="http://schemas.microsoft.com/office/drawing/2014/main" id="{A0097874-DF6B-47A3-BEB4-438610EE5773}"/>
              </a:ext>
            </a:extLst>
          </p:cNvPr>
          <p:cNvSpPr>
            <a:spLocks noGrp="1"/>
          </p:cNvSpPr>
          <p:nvPr userDrawn="1">
            <p:ph type="body" sz="quarter" idx="18" hasCustomPrompt="1"/>
          </p:nvPr>
        </p:nvSpPr>
        <p:spPr>
          <a:xfrm>
            <a:off x="4480553" y="5805000"/>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8</a:t>
            </a:r>
          </a:p>
        </p:txBody>
      </p:sp>
      <p:sp>
        <p:nvSpPr>
          <p:cNvPr id="37" name="Text Placeholder 35">
            <a:extLst>
              <a:ext uri="{FF2B5EF4-FFF2-40B4-BE49-F238E27FC236}">
                <a16:creationId xmlns:a16="http://schemas.microsoft.com/office/drawing/2014/main" id="{D7FDD5DE-6586-AF13-BA53-08047CC60BAF}"/>
              </a:ext>
            </a:extLst>
          </p:cNvPr>
          <p:cNvSpPr>
            <a:spLocks noGrp="1"/>
          </p:cNvSpPr>
          <p:nvPr userDrawn="1">
            <p:ph type="body" sz="quarter" idx="12" hasCustomPrompt="1"/>
          </p:nvPr>
        </p:nvSpPr>
        <p:spPr>
          <a:xfrm>
            <a:off x="5436016" y="5805000"/>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414779060"/>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ectangle 15">
            <a:extLst>
              <a:ext uri="{FF2B5EF4-FFF2-40B4-BE49-F238E27FC236}">
                <a16:creationId xmlns:a16="http://schemas.microsoft.com/office/drawing/2014/main" id="{E2FC0965-4144-7B0E-916F-401B71853545}"/>
              </a:ext>
              <a:ext uri="{C183D7F6-B498-43B3-948B-1728B52AA6E4}">
                <adec:decorative xmlns:adec="http://schemas.microsoft.com/office/drawing/2017/decorative" val="1"/>
              </a:ext>
            </a:extLst>
          </p:cNvPr>
          <p:cNvSpPr>
            <a:spLocks/>
          </p:cNvSpPr>
          <p:nvPr userDrawn="1"/>
        </p:nvSpPr>
        <p:spPr bwMode="auto">
          <a:xfrm>
            <a:off x="0" y="2090058"/>
            <a:ext cx="10043886" cy="2677886"/>
          </a:xfrm>
          <a:prstGeom prst="rect">
            <a:avLst/>
          </a:pr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013503"/>
            <a:ext cx="11018520" cy="830997"/>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5400" b="0" kern="1200" cap="none" spc="-50" baseline="0" dirty="0">
                <a:ln w="3175">
                  <a:noFill/>
                </a:ln>
                <a:gradFill flip="none" rotWithShape="1">
                  <a:gsLst>
                    <a:gs pos="80000">
                      <a:schemeClr val="accent1">
                        <a:lumMod val="60000"/>
                        <a:lumOff val="40000"/>
                      </a:schemeClr>
                    </a:gs>
                    <a:gs pos="20000">
                      <a:srgbClr val="BD39C2"/>
                    </a:gs>
                  </a:gsLst>
                  <a:path path="circle">
                    <a:fillToRect l="100000" t="100000"/>
                  </a:path>
                  <a:tileRect r="-100000" b="-100000"/>
                </a:gradFill>
                <a:effectLst/>
                <a:latin typeface="+mj-lt"/>
                <a:ea typeface="+mn-ea"/>
                <a:cs typeface="Segoe UI" pitchFamily="34" charset="0"/>
              </a:defRPr>
            </a:lvl1pPr>
          </a:lstStyle>
          <a:p>
            <a:pPr marL="0" lvl="0"/>
            <a:r>
              <a:rPr lang="en-US"/>
              <a:t>Section Title</a:t>
            </a:r>
            <a:endParaRPr lang="en-IN"/>
          </a:p>
        </p:txBody>
      </p:sp>
    </p:spTree>
    <p:extLst>
      <p:ext uri="{BB962C8B-B14F-4D97-AF65-F5344CB8AC3E}">
        <p14:creationId xmlns:p14="http://schemas.microsoft.com/office/powerpoint/2010/main" val="3662134638"/>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Section slide with speaker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21224"/>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solidFill>
                  <a:schemeClr val="bg1"/>
                </a:solidFill>
              </a:defRPr>
            </a:lvl1pPr>
          </a:lstStyle>
          <a:p>
            <a:pPr marL="0" lvl="0"/>
            <a:r>
              <a:rPr lang="en-US"/>
              <a:t>Section Title</a:t>
            </a:r>
            <a:endParaRPr lang="en-IN"/>
          </a:p>
        </p:txBody>
      </p:sp>
      <p:sp>
        <p:nvSpPr>
          <p:cNvPr id="2" name="Text Placeholder 12">
            <a:extLst>
              <a:ext uri="{FF2B5EF4-FFF2-40B4-BE49-F238E27FC236}">
                <a16:creationId xmlns:a16="http://schemas.microsoft.com/office/drawing/2014/main" id="{DA89C425-EF35-BBDE-29C5-4EA0FF03A8AD}"/>
              </a:ext>
            </a:extLst>
          </p:cNvPr>
          <p:cNvSpPr>
            <a:spLocks noGrp="1"/>
          </p:cNvSpPr>
          <p:nvPr>
            <p:ph type="body" sz="quarter" idx="10" hasCustomPrompt="1"/>
          </p:nvPr>
        </p:nvSpPr>
        <p:spPr>
          <a:xfrm>
            <a:off x="586740" y="3824976"/>
            <a:ext cx="11018520" cy="369332"/>
          </a:xfrm>
        </p:spPr>
        <p:txBody>
          <a:bodyPr/>
          <a:lstStyle>
            <a:lvl1pPr marL="0" indent="0" algn="l" defTabSz="932742" rtl="0" eaLnBrk="1" latinLnBrk="0" hangingPunct="1">
              <a:lnSpc>
                <a:spcPct val="100000"/>
              </a:lnSpc>
              <a:spcBef>
                <a:spcPct val="0"/>
              </a:spcBef>
              <a:buFont typeface="Arial" panose="020B0604020202020204" pitchFamily="34" charset="0"/>
              <a:buNone/>
              <a:defRPr lang="en-US" sz="2400" b="0" kern="1200" cap="none" spc="-50" baseline="0" dirty="0" smtClean="0">
                <a:ln w="3175">
                  <a:noFill/>
                </a:ln>
                <a:solidFill>
                  <a:schemeClr val="bg1"/>
                </a:solidFill>
                <a:effectLst/>
                <a:latin typeface="+mn-lt"/>
                <a:ea typeface="+mn-ea"/>
                <a:cs typeface="Segoe UI" pitchFamily="34" charset="0"/>
              </a:defRPr>
            </a:lvl1pPr>
          </a:lstStyle>
          <a:p>
            <a:pPr lvl="0"/>
            <a:r>
              <a:rPr lang="en-US"/>
              <a:t>Speaker</a:t>
            </a:r>
          </a:p>
        </p:txBody>
      </p:sp>
    </p:spTree>
    <p:extLst>
      <p:ext uri="{BB962C8B-B14F-4D97-AF65-F5344CB8AC3E}">
        <p14:creationId xmlns:p14="http://schemas.microsoft.com/office/powerpoint/2010/main" val="377574173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hank you slide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D39EF-245B-4578-7A25-0CE07E44D94D}"/>
              </a:ext>
              <a:ext uri="{C183D7F6-B498-43B3-948B-1728B52AA6E4}">
                <adec:decorative xmlns:adec="http://schemas.microsoft.com/office/drawing/2017/decorative" val="1"/>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7617481-9B3F-FFDD-0C71-883CAA17C5CA}"/>
              </a:ext>
              <a:ext uri="{C183D7F6-B498-43B3-948B-1728B52AA6E4}">
                <adec:decorative xmlns:adec="http://schemas.microsoft.com/office/drawing/2017/decorative" val="1"/>
              </a:ext>
            </a:extLst>
          </p:cNvPr>
          <p:cNvSpPr/>
          <p:nvPr userDrawn="1"/>
        </p:nvSpPr>
        <p:spPr bwMode="auto">
          <a:xfrm>
            <a:off x="0" y="2207895"/>
            <a:ext cx="7251700" cy="2442210"/>
          </a:xfrm>
          <a:prstGeom prst="rect">
            <a:avLst/>
          </a:prstGeom>
          <a:gradFill flip="none" rotWithShape="1">
            <a:gsLst>
              <a:gs pos="25000">
                <a:schemeClr val="tx1">
                  <a:alpha val="0"/>
                </a:schemeClr>
              </a:gs>
              <a:gs pos="100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 name="Graphic 4">
            <a:extLst>
              <a:ext uri="{FF2B5EF4-FFF2-40B4-BE49-F238E27FC236}">
                <a16:creationId xmlns:a16="http://schemas.microsoft.com/office/drawing/2014/main" id="{A16D3558-B2CB-67CD-5D52-CB78FE8B0C2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8962"/>
            <a:ext cx="1391154" cy="293688"/>
          </a:xfrm>
          <a:prstGeom prst="rect">
            <a:avLst/>
          </a:prstGeom>
        </p:spPr>
      </p:pic>
      <p:sp>
        <p:nvSpPr>
          <p:cNvPr id="6" name="Text Box 3">
            <a:extLst>
              <a:ext uri="{FF2B5EF4-FFF2-40B4-BE49-F238E27FC236}">
                <a16:creationId xmlns:a16="http://schemas.microsoft.com/office/drawing/2014/main" id="{BB3E694C-B8C6-5D8C-FFA0-C51B7783137E}"/>
              </a:ext>
              <a:ext uri="{C183D7F6-B498-43B3-948B-1728B52AA6E4}">
                <adec:decorative xmlns:adec="http://schemas.microsoft.com/office/drawing/2017/decorative" val="1"/>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
        <p:nvSpPr>
          <p:cNvPr id="8" name="Title 1">
            <a:extLst>
              <a:ext uri="{FF2B5EF4-FFF2-40B4-BE49-F238E27FC236}">
                <a16:creationId xmlns:a16="http://schemas.microsoft.com/office/drawing/2014/main" id="{513FD8D5-474C-9E23-5DD6-11FA075C05CD}"/>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solidFill>
                  <a:schemeClr val="bg1"/>
                </a:solidFill>
              </a:defRPr>
            </a:lvl1pPr>
          </a:lstStyle>
          <a:p>
            <a:pPr marL="0" lvl="0"/>
            <a:r>
              <a:rPr lang="en-US"/>
              <a:t>Thank you</a:t>
            </a:r>
            <a:endParaRPr lang="en-IN"/>
          </a:p>
        </p:txBody>
      </p:sp>
    </p:spTree>
    <p:extLst>
      <p:ext uri="{BB962C8B-B14F-4D97-AF65-F5344CB8AC3E}">
        <p14:creationId xmlns:p14="http://schemas.microsoft.com/office/powerpoint/2010/main" val="3476408837"/>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hank you slide with different languages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D39EF-245B-4578-7A25-0CE07E44D94D}"/>
              </a:ext>
              <a:ext uri="{C183D7F6-B498-43B3-948B-1728B52AA6E4}">
                <adec:decorative xmlns:adec="http://schemas.microsoft.com/office/drawing/2017/decorative" val="1"/>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16D3558-B2CB-67CD-5D52-CB78FE8B0C2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8962"/>
            <a:ext cx="1391154" cy="293688"/>
          </a:xfrm>
          <a:prstGeom prst="rect">
            <a:avLst/>
          </a:prstGeom>
        </p:spPr>
      </p:pic>
      <p:sp>
        <p:nvSpPr>
          <p:cNvPr id="2" name="Text Box 3">
            <a:extLst>
              <a:ext uri="{FF2B5EF4-FFF2-40B4-BE49-F238E27FC236}">
                <a16:creationId xmlns:a16="http://schemas.microsoft.com/office/drawing/2014/main" id="{6161F624-3C46-7225-3634-55ACC3EDF8AF}"/>
              </a:ext>
              <a:ext uri="{C183D7F6-B498-43B3-948B-1728B52AA6E4}">
                <adec:decorative xmlns:adec="http://schemas.microsoft.com/office/drawing/2017/decorative" val="1"/>
              </a:ext>
            </a:extLst>
          </p:cNvPr>
          <p:cNvSpPr txBox="1">
            <a:spLocks noChangeArrowheads="1"/>
          </p:cNvSpPr>
          <p:nvPr userDrawn="1"/>
        </p:nvSpPr>
        <p:spPr bwMode="blackWhite">
          <a:xfrm>
            <a:off x="584200" y="6564313"/>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grpSp>
        <p:nvGrpSpPr>
          <p:cNvPr id="9" name="Group 8">
            <a:extLst>
              <a:ext uri="{FF2B5EF4-FFF2-40B4-BE49-F238E27FC236}">
                <a16:creationId xmlns:a16="http://schemas.microsoft.com/office/drawing/2014/main" id="{584DE0B8-F7AC-91F0-091A-FA7458C94545}"/>
              </a:ext>
              <a:ext uri="{C183D7F6-B498-43B3-948B-1728B52AA6E4}">
                <adec:decorative xmlns:adec="http://schemas.microsoft.com/office/drawing/2017/decorative" val="1"/>
              </a:ext>
            </a:extLst>
          </p:cNvPr>
          <p:cNvGrpSpPr/>
          <p:nvPr userDrawn="1"/>
        </p:nvGrpSpPr>
        <p:grpSpPr>
          <a:xfrm>
            <a:off x="1269635" y="1098787"/>
            <a:ext cx="9656866" cy="4836402"/>
            <a:chOff x="1269635" y="1098787"/>
            <a:chExt cx="9656866" cy="4836402"/>
          </a:xfrm>
        </p:grpSpPr>
        <p:sp>
          <p:nvSpPr>
            <p:cNvPr id="10" name="Freeform 234">
              <a:extLst>
                <a:ext uri="{FF2B5EF4-FFF2-40B4-BE49-F238E27FC236}">
                  <a16:creationId xmlns:a16="http://schemas.microsoft.com/office/drawing/2014/main" id="{8E1C39E2-6A5D-A383-FAD6-A5024CC2A5A4}"/>
                </a:ext>
                <a:ext uri="{C183D7F6-B498-43B3-948B-1728B52AA6E4}">
                  <adec:decorative xmlns:adec="http://schemas.microsoft.com/office/drawing/2017/decorative" val="1"/>
                </a:ext>
              </a:extLst>
            </p:cNvPr>
            <p:cNvSpPr>
              <a:spLocks noEditPoints="1"/>
            </p:cNvSpPr>
            <p:nvPr/>
          </p:nvSpPr>
          <p:spPr bwMode="auto">
            <a:xfrm>
              <a:off x="1269635" y="2252686"/>
              <a:ext cx="1434671" cy="182384"/>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solidFill>
              <a:srgbClr val="FFBCC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11" name="Freeform 244">
              <a:extLst>
                <a:ext uri="{FF2B5EF4-FFF2-40B4-BE49-F238E27FC236}">
                  <a16:creationId xmlns:a16="http://schemas.microsoft.com/office/drawing/2014/main" id="{8D4CDBEF-8CE9-A682-C017-D2C9A9443DF6}"/>
                </a:ext>
                <a:ext uri="{C183D7F6-B498-43B3-948B-1728B52AA6E4}">
                  <adec:decorative xmlns:adec="http://schemas.microsoft.com/office/drawing/2017/decorative" val="1"/>
                </a:ext>
              </a:extLst>
            </p:cNvPr>
            <p:cNvSpPr>
              <a:spLocks noEditPoints="1"/>
            </p:cNvSpPr>
            <p:nvPr/>
          </p:nvSpPr>
          <p:spPr bwMode="auto">
            <a:xfrm>
              <a:off x="1777862" y="1694482"/>
              <a:ext cx="1220176" cy="273577"/>
            </a:xfrm>
            <a:custGeom>
              <a:avLst/>
              <a:gdLst>
                <a:gd name="T0" fmla="*/ 0 w 402"/>
                <a:gd name="T1" fmla="*/ 21 h 90"/>
                <a:gd name="T2" fmla="*/ 18 w 402"/>
                <a:gd name="T3" fmla="*/ 89 h 90"/>
                <a:gd name="T4" fmla="*/ 54 w 402"/>
                <a:gd name="T5" fmla="*/ 54 h 90"/>
                <a:gd name="T6" fmla="*/ 39 w 402"/>
                <a:gd name="T7" fmla="*/ 75 h 90"/>
                <a:gd name="T8" fmla="*/ 8 w 402"/>
                <a:gd name="T9" fmla="*/ 82 h 90"/>
                <a:gd name="T10" fmla="*/ 19 w 402"/>
                <a:gd name="T11" fmla="*/ 29 h 90"/>
                <a:gd name="T12" fmla="*/ 39 w 402"/>
                <a:gd name="T13" fmla="*/ 75 h 90"/>
                <a:gd name="T14" fmla="*/ 27 w 402"/>
                <a:gd name="T15" fmla="*/ 15 h 90"/>
                <a:gd name="T16" fmla="*/ 10 w 402"/>
                <a:gd name="T17" fmla="*/ 0 h 90"/>
                <a:gd name="T18" fmla="*/ 23 w 402"/>
                <a:gd name="T19" fmla="*/ 10 h 90"/>
                <a:gd name="T20" fmla="*/ 37 w 402"/>
                <a:gd name="T21" fmla="*/ 0 h 90"/>
                <a:gd name="T22" fmla="*/ 84 w 402"/>
                <a:gd name="T23" fmla="*/ 21 h 90"/>
                <a:gd name="T24" fmla="*/ 67 w 402"/>
                <a:gd name="T25" fmla="*/ 89 h 90"/>
                <a:gd name="T26" fmla="*/ 102 w 402"/>
                <a:gd name="T27" fmla="*/ 70 h 90"/>
                <a:gd name="T28" fmla="*/ 118 w 402"/>
                <a:gd name="T29" fmla="*/ 89 h 90"/>
                <a:gd name="T30" fmla="*/ 77 w 402"/>
                <a:gd name="T31" fmla="*/ 63 h 90"/>
                <a:gd name="T32" fmla="*/ 88 w 402"/>
                <a:gd name="T33" fmla="*/ 30 h 90"/>
                <a:gd name="T34" fmla="*/ 89 w 402"/>
                <a:gd name="T35" fmla="*/ 34 h 90"/>
                <a:gd name="T36" fmla="*/ 77 w 402"/>
                <a:gd name="T37" fmla="*/ 63 h 90"/>
                <a:gd name="T38" fmla="*/ 164 w 402"/>
                <a:gd name="T39" fmla="*/ 89 h 90"/>
                <a:gd name="T40" fmla="*/ 136 w 402"/>
                <a:gd name="T41" fmla="*/ 56 h 90"/>
                <a:gd name="T42" fmla="*/ 136 w 402"/>
                <a:gd name="T43" fmla="*/ 89 h 90"/>
                <a:gd name="T44" fmla="*/ 128 w 402"/>
                <a:gd name="T45" fmla="*/ 21 h 90"/>
                <a:gd name="T46" fmla="*/ 136 w 402"/>
                <a:gd name="T47" fmla="*/ 53 h 90"/>
                <a:gd name="T48" fmla="*/ 138 w 402"/>
                <a:gd name="T49" fmla="*/ 51 h 90"/>
                <a:gd name="T50" fmla="*/ 173 w 402"/>
                <a:gd name="T51" fmla="*/ 21 h 90"/>
                <a:gd name="T52" fmla="*/ 175 w 402"/>
                <a:gd name="T53" fmla="*/ 89 h 90"/>
                <a:gd name="T54" fmla="*/ 208 w 402"/>
                <a:gd name="T55" fmla="*/ 90 h 90"/>
                <a:gd name="T56" fmla="*/ 183 w 402"/>
                <a:gd name="T57" fmla="*/ 21 h 90"/>
                <a:gd name="T58" fmla="*/ 191 w 402"/>
                <a:gd name="T59" fmla="*/ 62 h 90"/>
                <a:gd name="T60" fmla="*/ 226 w 402"/>
                <a:gd name="T61" fmla="*/ 63 h 90"/>
                <a:gd name="T62" fmla="*/ 233 w 402"/>
                <a:gd name="T63" fmla="*/ 21 h 90"/>
                <a:gd name="T64" fmla="*/ 267 w 402"/>
                <a:gd name="T65" fmla="*/ 65 h 90"/>
                <a:gd name="T66" fmla="*/ 249 w 402"/>
                <a:gd name="T67" fmla="*/ 90 h 90"/>
                <a:gd name="T68" fmla="*/ 242 w 402"/>
                <a:gd name="T69" fmla="*/ 81 h 90"/>
                <a:gd name="T70" fmla="*/ 260 w 402"/>
                <a:gd name="T71" fmla="*/ 65 h 90"/>
                <a:gd name="T72" fmla="*/ 267 w 402"/>
                <a:gd name="T73" fmla="*/ 21 h 90"/>
                <a:gd name="T74" fmla="*/ 320 w 402"/>
                <a:gd name="T75" fmla="*/ 89 h 90"/>
                <a:gd name="T76" fmla="*/ 285 w 402"/>
                <a:gd name="T77" fmla="*/ 21 h 90"/>
                <a:gd name="T78" fmla="*/ 319 w 402"/>
                <a:gd name="T79" fmla="*/ 29 h 90"/>
                <a:gd name="T80" fmla="*/ 292 w 402"/>
                <a:gd name="T81" fmla="*/ 51 h 90"/>
                <a:gd name="T82" fmla="*/ 317 w 402"/>
                <a:gd name="T83" fmla="*/ 58 h 90"/>
                <a:gd name="T84" fmla="*/ 292 w 402"/>
                <a:gd name="T85" fmla="*/ 82 h 90"/>
                <a:gd name="T86" fmla="*/ 320 w 402"/>
                <a:gd name="T87" fmla="*/ 89 h 90"/>
                <a:gd name="T88" fmla="*/ 394 w 402"/>
                <a:gd name="T89" fmla="*/ 89 h 90"/>
                <a:gd name="T90" fmla="*/ 395 w 402"/>
                <a:gd name="T91" fmla="*/ 31 h 90"/>
                <a:gd name="T92" fmla="*/ 393 w 402"/>
                <a:gd name="T93" fmla="*/ 37 h 90"/>
                <a:gd name="T94" fmla="*/ 366 w 402"/>
                <a:gd name="T95" fmla="*/ 89 h 90"/>
                <a:gd name="T96" fmla="*/ 341 w 402"/>
                <a:gd name="T97" fmla="*/ 31 h 90"/>
                <a:gd name="T98" fmla="*/ 341 w 402"/>
                <a:gd name="T99" fmla="*/ 44 h 90"/>
                <a:gd name="T100" fmla="*/ 333 w 402"/>
                <a:gd name="T101" fmla="*/ 89 h 90"/>
                <a:gd name="T102" fmla="*/ 344 w 402"/>
                <a:gd name="T103" fmla="*/ 21 h 90"/>
                <a:gd name="T104" fmla="*/ 368 w 402"/>
                <a:gd name="T105" fmla="*/ 77 h 90"/>
                <a:gd name="T106" fmla="*/ 371 w 402"/>
                <a:gd name="T107" fmla="*/ 68 h 90"/>
                <a:gd name="T108" fmla="*/ 402 w 402"/>
                <a:gd name="T109"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2" h="90">
                  <a:moveTo>
                    <a:pt x="19" y="21"/>
                  </a:moveTo>
                  <a:cubicBezTo>
                    <a:pt x="0" y="21"/>
                    <a:pt x="0" y="21"/>
                    <a:pt x="0" y="21"/>
                  </a:cubicBezTo>
                  <a:cubicBezTo>
                    <a:pt x="0" y="89"/>
                    <a:pt x="0" y="89"/>
                    <a:pt x="0" y="89"/>
                  </a:cubicBezTo>
                  <a:cubicBezTo>
                    <a:pt x="18" y="89"/>
                    <a:pt x="18" y="89"/>
                    <a:pt x="18" y="89"/>
                  </a:cubicBezTo>
                  <a:cubicBezTo>
                    <a:pt x="29" y="89"/>
                    <a:pt x="38" y="86"/>
                    <a:pt x="45" y="79"/>
                  </a:cubicBezTo>
                  <a:cubicBezTo>
                    <a:pt x="51" y="73"/>
                    <a:pt x="54" y="65"/>
                    <a:pt x="54" y="54"/>
                  </a:cubicBezTo>
                  <a:cubicBezTo>
                    <a:pt x="54" y="32"/>
                    <a:pt x="43" y="21"/>
                    <a:pt x="19" y="21"/>
                  </a:cubicBezTo>
                  <a:close/>
                  <a:moveTo>
                    <a:pt x="39" y="75"/>
                  </a:moveTo>
                  <a:cubicBezTo>
                    <a:pt x="34" y="79"/>
                    <a:pt x="27" y="82"/>
                    <a:pt x="18" y="82"/>
                  </a:cubicBezTo>
                  <a:cubicBezTo>
                    <a:pt x="8" y="82"/>
                    <a:pt x="8" y="82"/>
                    <a:pt x="8" y="82"/>
                  </a:cubicBezTo>
                  <a:cubicBezTo>
                    <a:pt x="8" y="29"/>
                    <a:pt x="8" y="29"/>
                    <a:pt x="8" y="29"/>
                  </a:cubicBezTo>
                  <a:cubicBezTo>
                    <a:pt x="19" y="29"/>
                    <a:pt x="19" y="29"/>
                    <a:pt x="19" y="29"/>
                  </a:cubicBezTo>
                  <a:cubicBezTo>
                    <a:pt x="37" y="29"/>
                    <a:pt x="46" y="37"/>
                    <a:pt x="46" y="54"/>
                  </a:cubicBezTo>
                  <a:cubicBezTo>
                    <a:pt x="46" y="63"/>
                    <a:pt x="44" y="70"/>
                    <a:pt x="39" y="75"/>
                  </a:cubicBezTo>
                  <a:close/>
                  <a:moveTo>
                    <a:pt x="37" y="0"/>
                  </a:moveTo>
                  <a:cubicBezTo>
                    <a:pt x="27" y="15"/>
                    <a:pt x="27" y="15"/>
                    <a:pt x="27" y="15"/>
                  </a:cubicBezTo>
                  <a:cubicBezTo>
                    <a:pt x="20" y="15"/>
                    <a:pt x="20" y="15"/>
                    <a:pt x="20" y="15"/>
                  </a:cubicBezTo>
                  <a:cubicBezTo>
                    <a:pt x="10" y="0"/>
                    <a:pt x="10" y="0"/>
                    <a:pt x="10" y="0"/>
                  </a:cubicBezTo>
                  <a:cubicBezTo>
                    <a:pt x="16" y="0"/>
                    <a:pt x="16" y="0"/>
                    <a:pt x="16" y="0"/>
                  </a:cubicBezTo>
                  <a:cubicBezTo>
                    <a:pt x="23" y="10"/>
                    <a:pt x="23" y="10"/>
                    <a:pt x="23" y="10"/>
                  </a:cubicBezTo>
                  <a:cubicBezTo>
                    <a:pt x="31" y="0"/>
                    <a:pt x="31" y="0"/>
                    <a:pt x="31" y="0"/>
                  </a:cubicBezTo>
                  <a:lnTo>
                    <a:pt x="37" y="0"/>
                  </a:lnTo>
                  <a:close/>
                  <a:moveTo>
                    <a:pt x="92" y="21"/>
                  </a:moveTo>
                  <a:cubicBezTo>
                    <a:pt x="84" y="21"/>
                    <a:pt x="84" y="21"/>
                    <a:pt x="84" y="21"/>
                  </a:cubicBezTo>
                  <a:cubicBezTo>
                    <a:pt x="58" y="89"/>
                    <a:pt x="58" y="89"/>
                    <a:pt x="58" y="89"/>
                  </a:cubicBezTo>
                  <a:cubicBezTo>
                    <a:pt x="67" y="89"/>
                    <a:pt x="67" y="89"/>
                    <a:pt x="67" y="89"/>
                  </a:cubicBezTo>
                  <a:cubicBezTo>
                    <a:pt x="74" y="70"/>
                    <a:pt x="74" y="70"/>
                    <a:pt x="74" y="70"/>
                  </a:cubicBezTo>
                  <a:cubicBezTo>
                    <a:pt x="102" y="70"/>
                    <a:pt x="102" y="70"/>
                    <a:pt x="102" y="70"/>
                  </a:cubicBezTo>
                  <a:cubicBezTo>
                    <a:pt x="110" y="89"/>
                    <a:pt x="110" y="89"/>
                    <a:pt x="110" y="89"/>
                  </a:cubicBezTo>
                  <a:cubicBezTo>
                    <a:pt x="118" y="89"/>
                    <a:pt x="118" y="89"/>
                    <a:pt x="118" y="89"/>
                  </a:cubicBezTo>
                  <a:lnTo>
                    <a:pt x="92" y="21"/>
                  </a:lnTo>
                  <a:close/>
                  <a:moveTo>
                    <a:pt x="77" y="63"/>
                  </a:moveTo>
                  <a:cubicBezTo>
                    <a:pt x="87" y="34"/>
                    <a:pt x="87" y="34"/>
                    <a:pt x="87" y="34"/>
                  </a:cubicBezTo>
                  <a:cubicBezTo>
                    <a:pt x="87" y="33"/>
                    <a:pt x="88" y="32"/>
                    <a:pt x="88" y="30"/>
                  </a:cubicBezTo>
                  <a:cubicBezTo>
                    <a:pt x="88" y="30"/>
                    <a:pt x="88" y="30"/>
                    <a:pt x="88" y="30"/>
                  </a:cubicBezTo>
                  <a:cubicBezTo>
                    <a:pt x="89" y="32"/>
                    <a:pt x="89" y="33"/>
                    <a:pt x="89" y="34"/>
                  </a:cubicBezTo>
                  <a:cubicBezTo>
                    <a:pt x="100" y="63"/>
                    <a:pt x="100" y="63"/>
                    <a:pt x="100" y="63"/>
                  </a:cubicBezTo>
                  <a:lnTo>
                    <a:pt x="77" y="63"/>
                  </a:lnTo>
                  <a:close/>
                  <a:moveTo>
                    <a:pt x="175" y="89"/>
                  </a:moveTo>
                  <a:cubicBezTo>
                    <a:pt x="164" y="89"/>
                    <a:pt x="164" y="89"/>
                    <a:pt x="164" y="89"/>
                  </a:cubicBezTo>
                  <a:cubicBezTo>
                    <a:pt x="138" y="58"/>
                    <a:pt x="138" y="58"/>
                    <a:pt x="138" y="58"/>
                  </a:cubicBezTo>
                  <a:cubicBezTo>
                    <a:pt x="137" y="57"/>
                    <a:pt x="137" y="56"/>
                    <a:pt x="136" y="56"/>
                  </a:cubicBezTo>
                  <a:cubicBezTo>
                    <a:pt x="136" y="56"/>
                    <a:pt x="136" y="56"/>
                    <a:pt x="136" y="56"/>
                  </a:cubicBezTo>
                  <a:cubicBezTo>
                    <a:pt x="136" y="89"/>
                    <a:pt x="136" y="89"/>
                    <a:pt x="136" y="89"/>
                  </a:cubicBezTo>
                  <a:cubicBezTo>
                    <a:pt x="128" y="89"/>
                    <a:pt x="128" y="89"/>
                    <a:pt x="128" y="89"/>
                  </a:cubicBezTo>
                  <a:cubicBezTo>
                    <a:pt x="128" y="21"/>
                    <a:pt x="128" y="21"/>
                    <a:pt x="128" y="21"/>
                  </a:cubicBezTo>
                  <a:cubicBezTo>
                    <a:pt x="136" y="21"/>
                    <a:pt x="136" y="21"/>
                    <a:pt x="136" y="21"/>
                  </a:cubicBezTo>
                  <a:cubicBezTo>
                    <a:pt x="136" y="53"/>
                    <a:pt x="136" y="53"/>
                    <a:pt x="136" y="53"/>
                  </a:cubicBezTo>
                  <a:cubicBezTo>
                    <a:pt x="136" y="53"/>
                    <a:pt x="136" y="53"/>
                    <a:pt x="136" y="53"/>
                  </a:cubicBezTo>
                  <a:cubicBezTo>
                    <a:pt x="137" y="52"/>
                    <a:pt x="137" y="52"/>
                    <a:pt x="138" y="51"/>
                  </a:cubicBezTo>
                  <a:cubicBezTo>
                    <a:pt x="163" y="21"/>
                    <a:pt x="163" y="21"/>
                    <a:pt x="163" y="21"/>
                  </a:cubicBezTo>
                  <a:cubicBezTo>
                    <a:pt x="173" y="21"/>
                    <a:pt x="173" y="21"/>
                    <a:pt x="173" y="21"/>
                  </a:cubicBezTo>
                  <a:cubicBezTo>
                    <a:pt x="144" y="54"/>
                    <a:pt x="144" y="54"/>
                    <a:pt x="144" y="54"/>
                  </a:cubicBezTo>
                  <a:lnTo>
                    <a:pt x="175" y="89"/>
                  </a:lnTo>
                  <a:close/>
                  <a:moveTo>
                    <a:pt x="233" y="62"/>
                  </a:moveTo>
                  <a:cubicBezTo>
                    <a:pt x="233" y="80"/>
                    <a:pt x="225" y="90"/>
                    <a:pt x="208" y="90"/>
                  </a:cubicBezTo>
                  <a:cubicBezTo>
                    <a:pt x="191" y="90"/>
                    <a:pt x="183" y="81"/>
                    <a:pt x="183" y="63"/>
                  </a:cubicBezTo>
                  <a:cubicBezTo>
                    <a:pt x="183" y="21"/>
                    <a:pt x="183" y="21"/>
                    <a:pt x="183" y="21"/>
                  </a:cubicBezTo>
                  <a:cubicBezTo>
                    <a:pt x="191" y="21"/>
                    <a:pt x="191" y="21"/>
                    <a:pt x="191" y="21"/>
                  </a:cubicBezTo>
                  <a:cubicBezTo>
                    <a:pt x="191" y="62"/>
                    <a:pt x="191" y="62"/>
                    <a:pt x="191" y="62"/>
                  </a:cubicBezTo>
                  <a:cubicBezTo>
                    <a:pt x="191" y="76"/>
                    <a:pt x="197" y="83"/>
                    <a:pt x="209" y="83"/>
                  </a:cubicBezTo>
                  <a:cubicBezTo>
                    <a:pt x="220" y="83"/>
                    <a:pt x="226" y="76"/>
                    <a:pt x="226" y="63"/>
                  </a:cubicBezTo>
                  <a:cubicBezTo>
                    <a:pt x="226" y="21"/>
                    <a:pt x="226" y="21"/>
                    <a:pt x="226" y="21"/>
                  </a:cubicBezTo>
                  <a:cubicBezTo>
                    <a:pt x="233" y="21"/>
                    <a:pt x="233" y="21"/>
                    <a:pt x="233" y="21"/>
                  </a:cubicBezTo>
                  <a:lnTo>
                    <a:pt x="233" y="62"/>
                  </a:lnTo>
                  <a:close/>
                  <a:moveTo>
                    <a:pt x="267" y="65"/>
                  </a:moveTo>
                  <a:cubicBezTo>
                    <a:pt x="267" y="73"/>
                    <a:pt x="266" y="79"/>
                    <a:pt x="262" y="83"/>
                  </a:cubicBezTo>
                  <a:cubicBezTo>
                    <a:pt x="259" y="88"/>
                    <a:pt x="255" y="90"/>
                    <a:pt x="249" y="90"/>
                  </a:cubicBezTo>
                  <a:cubicBezTo>
                    <a:pt x="246" y="90"/>
                    <a:pt x="244" y="90"/>
                    <a:pt x="242" y="89"/>
                  </a:cubicBezTo>
                  <a:cubicBezTo>
                    <a:pt x="242" y="81"/>
                    <a:pt x="242" y="81"/>
                    <a:pt x="242" y="81"/>
                  </a:cubicBezTo>
                  <a:cubicBezTo>
                    <a:pt x="244" y="82"/>
                    <a:pt x="246" y="83"/>
                    <a:pt x="249" y="83"/>
                  </a:cubicBezTo>
                  <a:cubicBezTo>
                    <a:pt x="256" y="83"/>
                    <a:pt x="260" y="77"/>
                    <a:pt x="260" y="65"/>
                  </a:cubicBezTo>
                  <a:cubicBezTo>
                    <a:pt x="260" y="21"/>
                    <a:pt x="260" y="21"/>
                    <a:pt x="260" y="21"/>
                  </a:cubicBezTo>
                  <a:cubicBezTo>
                    <a:pt x="267" y="21"/>
                    <a:pt x="267" y="21"/>
                    <a:pt x="267" y="21"/>
                  </a:cubicBezTo>
                  <a:lnTo>
                    <a:pt x="267" y="65"/>
                  </a:lnTo>
                  <a:close/>
                  <a:moveTo>
                    <a:pt x="320" y="89"/>
                  </a:moveTo>
                  <a:cubicBezTo>
                    <a:pt x="285" y="89"/>
                    <a:pt x="285" y="89"/>
                    <a:pt x="285" y="89"/>
                  </a:cubicBezTo>
                  <a:cubicBezTo>
                    <a:pt x="285" y="21"/>
                    <a:pt x="285" y="21"/>
                    <a:pt x="285" y="21"/>
                  </a:cubicBezTo>
                  <a:cubicBezTo>
                    <a:pt x="319" y="21"/>
                    <a:pt x="319" y="21"/>
                    <a:pt x="319" y="21"/>
                  </a:cubicBezTo>
                  <a:cubicBezTo>
                    <a:pt x="319" y="29"/>
                    <a:pt x="319" y="29"/>
                    <a:pt x="319" y="29"/>
                  </a:cubicBezTo>
                  <a:cubicBezTo>
                    <a:pt x="292" y="29"/>
                    <a:pt x="292" y="29"/>
                    <a:pt x="292" y="29"/>
                  </a:cubicBezTo>
                  <a:cubicBezTo>
                    <a:pt x="292" y="51"/>
                    <a:pt x="292" y="51"/>
                    <a:pt x="292" y="51"/>
                  </a:cubicBezTo>
                  <a:cubicBezTo>
                    <a:pt x="317" y="51"/>
                    <a:pt x="317" y="51"/>
                    <a:pt x="317" y="51"/>
                  </a:cubicBezTo>
                  <a:cubicBezTo>
                    <a:pt x="317" y="58"/>
                    <a:pt x="317" y="58"/>
                    <a:pt x="317" y="58"/>
                  </a:cubicBezTo>
                  <a:cubicBezTo>
                    <a:pt x="292" y="58"/>
                    <a:pt x="292" y="58"/>
                    <a:pt x="292" y="58"/>
                  </a:cubicBezTo>
                  <a:cubicBezTo>
                    <a:pt x="292" y="82"/>
                    <a:pt x="292" y="82"/>
                    <a:pt x="292" y="82"/>
                  </a:cubicBezTo>
                  <a:cubicBezTo>
                    <a:pt x="320" y="82"/>
                    <a:pt x="320" y="82"/>
                    <a:pt x="320" y="82"/>
                  </a:cubicBezTo>
                  <a:lnTo>
                    <a:pt x="320" y="89"/>
                  </a:lnTo>
                  <a:close/>
                  <a:moveTo>
                    <a:pt x="402" y="89"/>
                  </a:moveTo>
                  <a:cubicBezTo>
                    <a:pt x="394" y="89"/>
                    <a:pt x="394" y="89"/>
                    <a:pt x="394" y="89"/>
                  </a:cubicBezTo>
                  <a:cubicBezTo>
                    <a:pt x="394" y="44"/>
                    <a:pt x="394" y="44"/>
                    <a:pt x="394" y="44"/>
                  </a:cubicBezTo>
                  <a:cubicBezTo>
                    <a:pt x="394" y="40"/>
                    <a:pt x="394" y="36"/>
                    <a:pt x="395" y="31"/>
                  </a:cubicBezTo>
                  <a:cubicBezTo>
                    <a:pt x="395" y="31"/>
                    <a:pt x="395" y="31"/>
                    <a:pt x="395" y="31"/>
                  </a:cubicBezTo>
                  <a:cubicBezTo>
                    <a:pt x="394" y="34"/>
                    <a:pt x="393" y="36"/>
                    <a:pt x="393" y="37"/>
                  </a:cubicBezTo>
                  <a:cubicBezTo>
                    <a:pt x="370" y="89"/>
                    <a:pt x="370" y="89"/>
                    <a:pt x="370" y="89"/>
                  </a:cubicBezTo>
                  <a:cubicBezTo>
                    <a:pt x="366" y="89"/>
                    <a:pt x="366" y="89"/>
                    <a:pt x="366" y="89"/>
                  </a:cubicBezTo>
                  <a:cubicBezTo>
                    <a:pt x="343" y="37"/>
                    <a:pt x="343" y="37"/>
                    <a:pt x="343" y="37"/>
                  </a:cubicBezTo>
                  <a:cubicBezTo>
                    <a:pt x="342" y="36"/>
                    <a:pt x="341" y="34"/>
                    <a:pt x="341" y="31"/>
                  </a:cubicBezTo>
                  <a:cubicBezTo>
                    <a:pt x="341" y="31"/>
                    <a:pt x="341" y="31"/>
                    <a:pt x="341" y="31"/>
                  </a:cubicBezTo>
                  <a:cubicBezTo>
                    <a:pt x="341" y="33"/>
                    <a:pt x="341" y="38"/>
                    <a:pt x="341" y="44"/>
                  </a:cubicBezTo>
                  <a:cubicBezTo>
                    <a:pt x="341" y="89"/>
                    <a:pt x="341" y="89"/>
                    <a:pt x="341" y="89"/>
                  </a:cubicBezTo>
                  <a:cubicBezTo>
                    <a:pt x="333" y="89"/>
                    <a:pt x="333" y="89"/>
                    <a:pt x="333" y="89"/>
                  </a:cubicBezTo>
                  <a:cubicBezTo>
                    <a:pt x="333" y="21"/>
                    <a:pt x="333" y="21"/>
                    <a:pt x="333" y="21"/>
                  </a:cubicBezTo>
                  <a:cubicBezTo>
                    <a:pt x="344" y="21"/>
                    <a:pt x="344" y="21"/>
                    <a:pt x="344" y="21"/>
                  </a:cubicBezTo>
                  <a:cubicBezTo>
                    <a:pt x="364" y="68"/>
                    <a:pt x="364" y="68"/>
                    <a:pt x="364" y="68"/>
                  </a:cubicBezTo>
                  <a:cubicBezTo>
                    <a:pt x="366" y="72"/>
                    <a:pt x="367" y="75"/>
                    <a:pt x="368" y="77"/>
                  </a:cubicBezTo>
                  <a:cubicBezTo>
                    <a:pt x="368" y="77"/>
                    <a:pt x="368" y="77"/>
                    <a:pt x="368" y="77"/>
                  </a:cubicBezTo>
                  <a:cubicBezTo>
                    <a:pt x="369" y="73"/>
                    <a:pt x="370" y="70"/>
                    <a:pt x="371" y="68"/>
                  </a:cubicBezTo>
                  <a:cubicBezTo>
                    <a:pt x="392" y="21"/>
                    <a:pt x="392" y="21"/>
                    <a:pt x="392" y="21"/>
                  </a:cubicBezTo>
                  <a:cubicBezTo>
                    <a:pt x="402" y="21"/>
                    <a:pt x="402" y="21"/>
                    <a:pt x="402" y="21"/>
                  </a:cubicBezTo>
                  <a:lnTo>
                    <a:pt x="402" y="89"/>
                  </a:ln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2" name="Freeform 246">
              <a:extLst>
                <a:ext uri="{FF2B5EF4-FFF2-40B4-BE49-F238E27FC236}">
                  <a16:creationId xmlns:a16="http://schemas.microsoft.com/office/drawing/2014/main" id="{239B1569-5F91-8689-5196-AF940C6AB57C}"/>
                </a:ext>
                <a:ext uri="{C183D7F6-B498-43B3-948B-1728B52AA6E4}">
                  <adec:decorative xmlns:adec="http://schemas.microsoft.com/office/drawing/2017/decorative" val="1"/>
                </a:ext>
              </a:extLst>
            </p:cNvPr>
            <p:cNvSpPr>
              <a:spLocks noEditPoints="1"/>
            </p:cNvSpPr>
            <p:nvPr/>
          </p:nvSpPr>
          <p:spPr bwMode="auto">
            <a:xfrm>
              <a:off x="3075086" y="1112496"/>
              <a:ext cx="1685408" cy="431404"/>
            </a:xfrm>
            <a:custGeom>
              <a:avLst/>
              <a:gdLst>
                <a:gd name="T0" fmla="*/ 216 w 461"/>
                <a:gd name="T1" fmla="*/ 107 h 118"/>
                <a:gd name="T2" fmla="*/ 219 w 461"/>
                <a:gd name="T3" fmla="*/ 97 h 118"/>
                <a:gd name="T4" fmla="*/ 208 w 461"/>
                <a:gd name="T5" fmla="*/ 103 h 118"/>
                <a:gd name="T6" fmla="*/ 390 w 461"/>
                <a:gd name="T7" fmla="*/ 71 h 118"/>
                <a:gd name="T8" fmla="*/ 395 w 461"/>
                <a:gd name="T9" fmla="*/ 46 h 118"/>
                <a:gd name="T10" fmla="*/ 406 w 461"/>
                <a:gd name="T11" fmla="*/ 50 h 118"/>
                <a:gd name="T12" fmla="*/ 382 w 461"/>
                <a:gd name="T13" fmla="*/ 82 h 118"/>
                <a:gd name="T14" fmla="*/ 306 w 461"/>
                <a:gd name="T15" fmla="*/ 72 h 118"/>
                <a:gd name="T16" fmla="*/ 296 w 461"/>
                <a:gd name="T17" fmla="*/ 31 h 118"/>
                <a:gd name="T18" fmla="*/ 272 w 461"/>
                <a:gd name="T19" fmla="*/ 44 h 118"/>
                <a:gd name="T20" fmla="*/ 234 w 461"/>
                <a:gd name="T21" fmla="*/ 53 h 118"/>
                <a:gd name="T22" fmla="*/ 251 w 461"/>
                <a:gd name="T23" fmla="*/ 83 h 118"/>
                <a:gd name="T24" fmla="*/ 237 w 461"/>
                <a:gd name="T25" fmla="*/ 40 h 118"/>
                <a:gd name="T26" fmla="*/ 272 w 461"/>
                <a:gd name="T27" fmla="*/ 87 h 118"/>
                <a:gd name="T28" fmla="*/ 306 w 461"/>
                <a:gd name="T29" fmla="*/ 72 h 118"/>
                <a:gd name="T30" fmla="*/ 246 w 461"/>
                <a:gd name="T31" fmla="*/ 82 h 118"/>
                <a:gd name="T32" fmla="*/ 295 w 461"/>
                <a:gd name="T33" fmla="*/ 72 h 118"/>
                <a:gd name="T34" fmla="*/ 98 w 461"/>
                <a:gd name="T35" fmla="*/ 48 h 118"/>
                <a:gd name="T36" fmla="*/ 61 w 461"/>
                <a:gd name="T37" fmla="*/ 57 h 118"/>
                <a:gd name="T38" fmla="*/ 93 w 461"/>
                <a:gd name="T39" fmla="*/ 82 h 118"/>
                <a:gd name="T40" fmla="*/ 83 w 461"/>
                <a:gd name="T41" fmla="*/ 51 h 118"/>
                <a:gd name="T42" fmla="*/ 65 w 461"/>
                <a:gd name="T43" fmla="*/ 87 h 118"/>
                <a:gd name="T44" fmla="*/ 77 w 461"/>
                <a:gd name="T45" fmla="*/ 51 h 118"/>
                <a:gd name="T46" fmla="*/ 77 w 461"/>
                <a:gd name="T47" fmla="*/ 51 h 118"/>
                <a:gd name="T48" fmla="*/ 316 w 461"/>
                <a:gd name="T49" fmla="*/ 55 h 118"/>
                <a:gd name="T50" fmla="*/ 331 w 461"/>
                <a:gd name="T51" fmla="*/ 59 h 118"/>
                <a:gd name="T52" fmla="*/ 326 w 461"/>
                <a:gd name="T53" fmla="*/ 60 h 118"/>
                <a:gd name="T54" fmla="*/ 353 w 461"/>
                <a:gd name="T55" fmla="*/ 46 h 118"/>
                <a:gd name="T56" fmla="*/ 359 w 461"/>
                <a:gd name="T57" fmla="*/ 47 h 118"/>
                <a:gd name="T58" fmla="*/ 341 w 461"/>
                <a:gd name="T59" fmla="*/ 57 h 118"/>
                <a:gd name="T60" fmla="*/ 174 w 461"/>
                <a:gd name="T61" fmla="*/ 55 h 118"/>
                <a:gd name="T62" fmla="*/ 189 w 461"/>
                <a:gd name="T63" fmla="*/ 59 h 118"/>
                <a:gd name="T64" fmla="*/ 185 w 461"/>
                <a:gd name="T65" fmla="*/ 60 h 118"/>
                <a:gd name="T66" fmla="*/ 211 w 461"/>
                <a:gd name="T67" fmla="*/ 46 h 118"/>
                <a:gd name="T68" fmla="*/ 217 w 461"/>
                <a:gd name="T69" fmla="*/ 47 h 118"/>
                <a:gd name="T70" fmla="*/ 199 w 461"/>
                <a:gd name="T71" fmla="*/ 57 h 118"/>
                <a:gd name="T72" fmla="*/ 28 w 461"/>
                <a:gd name="T73" fmla="*/ 82 h 118"/>
                <a:gd name="T74" fmla="*/ 3 w 461"/>
                <a:gd name="T75" fmla="*/ 48 h 118"/>
                <a:gd name="T76" fmla="*/ 13 w 461"/>
                <a:gd name="T77" fmla="*/ 37 h 118"/>
                <a:gd name="T78" fmla="*/ 23 w 461"/>
                <a:gd name="T79" fmla="*/ 82 h 118"/>
                <a:gd name="T80" fmla="*/ 45 w 461"/>
                <a:gd name="T81" fmla="*/ 87 h 118"/>
                <a:gd name="T82" fmla="*/ 15 w 461"/>
                <a:gd name="T83" fmla="*/ 42 h 118"/>
                <a:gd name="T84" fmla="*/ 456 w 461"/>
                <a:gd name="T85" fmla="*/ 31 h 118"/>
                <a:gd name="T86" fmla="*/ 429 w 461"/>
                <a:gd name="T87" fmla="*/ 59 h 118"/>
                <a:gd name="T88" fmla="*/ 423 w 461"/>
                <a:gd name="T89" fmla="*/ 82 h 118"/>
                <a:gd name="T90" fmla="*/ 461 w 461"/>
                <a:gd name="T91" fmla="*/ 87 h 118"/>
                <a:gd name="T92" fmla="*/ 423 w 461"/>
                <a:gd name="T93" fmla="*/ 43 h 118"/>
                <a:gd name="T94" fmla="*/ 154 w 461"/>
                <a:gd name="T95" fmla="*/ 31 h 118"/>
                <a:gd name="T96" fmla="*/ 127 w 461"/>
                <a:gd name="T97" fmla="*/ 59 h 118"/>
                <a:gd name="T98" fmla="*/ 122 w 461"/>
                <a:gd name="T99" fmla="*/ 82 h 118"/>
                <a:gd name="T100" fmla="*/ 160 w 461"/>
                <a:gd name="T101" fmla="*/ 87 h 118"/>
                <a:gd name="T102" fmla="*/ 121 w 461"/>
                <a:gd name="T103" fmla="*/ 43 h 118"/>
                <a:gd name="T104" fmla="*/ 412 w 461"/>
                <a:gd name="T105" fmla="*/ 2 h 118"/>
                <a:gd name="T106" fmla="*/ 374 w 461"/>
                <a:gd name="T107" fmla="*/ 15 h 118"/>
                <a:gd name="T108" fmla="*/ 412 w 461"/>
                <a:gd name="T109" fmla="*/ 2 h 118"/>
                <a:gd name="T110" fmla="*/ 379 w 461"/>
                <a:gd name="T111"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1" h="118">
                  <a:moveTo>
                    <a:pt x="219" y="97"/>
                  </a:moveTo>
                  <a:cubicBezTo>
                    <a:pt x="218" y="94"/>
                    <a:pt x="213" y="91"/>
                    <a:pt x="208" y="92"/>
                  </a:cubicBezTo>
                  <a:cubicBezTo>
                    <a:pt x="197" y="96"/>
                    <a:pt x="205" y="114"/>
                    <a:pt x="216" y="107"/>
                  </a:cubicBezTo>
                  <a:cubicBezTo>
                    <a:pt x="214" y="109"/>
                    <a:pt x="215" y="114"/>
                    <a:pt x="214" y="118"/>
                  </a:cubicBezTo>
                  <a:cubicBezTo>
                    <a:pt x="216" y="118"/>
                    <a:pt x="218" y="118"/>
                    <a:pt x="220" y="117"/>
                  </a:cubicBezTo>
                  <a:cubicBezTo>
                    <a:pt x="219" y="111"/>
                    <a:pt x="221" y="103"/>
                    <a:pt x="219" y="97"/>
                  </a:cubicBezTo>
                  <a:close/>
                  <a:moveTo>
                    <a:pt x="208" y="103"/>
                  </a:moveTo>
                  <a:cubicBezTo>
                    <a:pt x="206" y="99"/>
                    <a:pt x="209" y="95"/>
                    <a:pt x="214" y="97"/>
                  </a:cubicBezTo>
                  <a:cubicBezTo>
                    <a:pt x="218" y="101"/>
                    <a:pt x="212" y="107"/>
                    <a:pt x="208" y="103"/>
                  </a:cubicBezTo>
                  <a:close/>
                  <a:moveTo>
                    <a:pt x="371" y="51"/>
                  </a:moveTo>
                  <a:cubicBezTo>
                    <a:pt x="377" y="51"/>
                    <a:pt x="384" y="50"/>
                    <a:pt x="390" y="51"/>
                  </a:cubicBezTo>
                  <a:cubicBezTo>
                    <a:pt x="390" y="71"/>
                    <a:pt x="390" y="71"/>
                    <a:pt x="390" y="71"/>
                  </a:cubicBezTo>
                  <a:cubicBezTo>
                    <a:pt x="380" y="65"/>
                    <a:pt x="372" y="78"/>
                    <a:pt x="378" y="85"/>
                  </a:cubicBezTo>
                  <a:cubicBezTo>
                    <a:pt x="383" y="91"/>
                    <a:pt x="394" y="88"/>
                    <a:pt x="395" y="81"/>
                  </a:cubicBezTo>
                  <a:cubicBezTo>
                    <a:pt x="396" y="71"/>
                    <a:pt x="394" y="55"/>
                    <a:pt x="395" y="46"/>
                  </a:cubicBezTo>
                  <a:cubicBezTo>
                    <a:pt x="389" y="45"/>
                    <a:pt x="381" y="45"/>
                    <a:pt x="376" y="46"/>
                  </a:cubicBezTo>
                  <a:cubicBezTo>
                    <a:pt x="376" y="31"/>
                    <a:pt x="403" y="33"/>
                    <a:pt x="401" y="50"/>
                  </a:cubicBezTo>
                  <a:cubicBezTo>
                    <a:pt x="406" y="50"/>
                    <a:pt x="406" y="50"/>
                    <a:pt x="406" y="50"/>
                  </a:cubicBezTo>
                  <a:cubicBezTo>
                    <a:pt x="408" y="24"/>
                    <a:pt x="367" y="26"/>
                    <a:pt x="371" y="51"/>
                  </a:cubicBezTo>
                  <a:close/>
                  <a:moveTo>
                    <a:pt x="389" y="82"/>
                  </a:moveTo>
                  <a:cubicBezTo>
                    <a:pt x="387" y="83"/>
                    <a:pt x="384" y="83"/>
                    <a:pt x="382" y="82"/>
                  </a:cubicBezTo>
                  <a:cubicBezTo>
                    <a:pt x="380" y="78"/>
                    <a:pt x="383" y="73"/>
                    <a:pt x="388" y="75"/>
                  </a:cubicBezTo>
                  <a:cubicBezTo>
                    <a:pt x="390" y="77"/>
                    <a:pt x="390" y="81"/>
                    <a:pt x="389" y="82"/>
                  </a:cubicBezTo>
                  <a:close/>
                  <a:moveTo>
                    <a:pt x="306" y="72"/>
                  </a:moveTo>
                  <a:cubicBezTo>
                    <a:pt x="305" y="70"/>
                    <a:pt x="303" y="70"/>
                    <a:pt x="301" y="67"/>
                  </a:cubicBezTo>
                  <a:cubicBezTo>
                    <a:pt x="301" y="31"/>
                    <a:pt x="301" y="31"/>
                    <a:pt x="301" y="31"/>
                  </a:cubicBezTo>
                  <a:cubicBezTo>
                    <a:pt x="296" y="31"/>
                    <a:pt x="296" y="31"/>
                    <a:pt x="296" y="31"/>
                  </a:cubicBezTo>
                  <a:cubicBezTo>
                    <a:pt x="296" y="67"/>
                    <a:pt x="296" y="67"/>
                    <a:pt x="296" y="67"/>
                  </a:cubicBezTo>
                  <a:cubicBezTo>
                    <a:pt x="285" y="69"/>
                    <a:pt x="279" y="75"/>
                    <a:pt x="272" y="80"/>
                  </a:cubicBezTo>
                  <a:cubicBezTo>
                    <a:pt x="271" y="68"/>
                    <a:pt x="274" y="55"/>
                    <a:pt x="272" y="44"/>
                  </a:cubicBezTo>
                  <a:cubicBezTo>
                    <a:pt x="270" y="25"/>
                    <a:pt x="235" y="29"/>
                    <a:pt x="229" y="42"/>
                  </a:cubicBezTo>
                  <a:cubicBezTo>
                    <a:pt x="233" y="43"/>
                    <a:pt x="237" y="43"/>
                    <a:pt x="240" y="46"/>
                  </a:cubicBezTo>
                  <a:cubicBezTo>
                    <a:pt x="236" y="47"/>
                    <a:pt x="234" y="49"/>
                    <a:pt x="234" y="53"/>
                  </a:cubicBezTo>
                  <a:cubicBezTo>
                    <a:pt x="233" y="59"/>
                    <a:pt x="233" y="72"/>
                    <a:pt x="234" y="79"/>
                  </a:cubicBezTo>
                  <a:cubicBezTo>
                    <a:pt x="234" y="80"/>
                    <a:pt x="234" y="82"/>
                    <a:pt x="234" y="83"/>
                  </a:cubicBezTo>
                  <a:cubicBezTo>
                    <a:pt x="237" y="90"/>
                    <a:pt x="249" y="89"/>
                    <a:pt x="251" y="83"/>
                  </a:cubicBezTo>
                  <a:cubicBezTo>
                    <a:pt x="254" y="75"/>
                    <a:pt x="246" y="67"/>
                    <a:pt x="239" y="71"/>
                  </a:cubicBezTo>
                  <a:cubicBezTo>
                    <a:pt x="238" y="58"/>
                    <a:pt x="238" y="47"/>
                    <a:pt x="248" y="46"/>
                  </a:cubicBezTo>
                  <a:cubicBezTo>
                    <a:pt x="245" y="43"/>
                    <a:pt x="241" y="42"/>
                    <a:pt x="237" y="40"/>
                  </a:cubicBezTo>
                  <a:cubicBezTo>
                    <a:pt x="245" y="33"/>
                    <a:pt x="265" y="34"/>
                    <a:pt x="267" y="45"/>
                  </a:cubicBezTo>
                  <a:cubicBezTo>
                    <a:pt x="269" y="57"/>
                    <a:pt x="266" y="74"/>
                    <a:pt x="267" y="87"/>
                  </a:cubicBezTo>
                  <a:cubicBezTo>
                    <a:pt x="272" y="87"/>
                    <a:pt x="272" y="87"/>
                    <a:pt x="272" y="87"/>
                  </a:cubicBezTo>
                  <a:cubicBezTo>
                    <a:pt x="276" y="83"/>
                    <a:pt x="282" y="78"/>
                    <a:pt x="287" y="75"/>
                  </a:cubicBezTo>
                  <a:cubicBezTo>
                    <a:pt x="286" y="79"/>
                    <a:pt x="287" y="83"/>
                    <a:pt x="289" y="85"/>
                  </a:cubicBezTo>
                  <a:cubicBezTo>
                    <a:pt x="297" y="94"/>
                    <a:pt x="312" y="83"/>
                    <a:pt x="306" y="72"/>
                  </a:cubicBezTo>
                  <a:close/>
                  <a:moveTo>
                    <a:pt x="239" y="76"/>
                  </a:moveTo>
                  <a:cubicBezTo>
                    <a:pt x="240" y="75"/>
                    <a:pt x="242" y="74"/>
                    <a:pt x="245" y="75"/>
                  </a:cubicBezTo>
                  <a:cubicBezTo>
                    <a:pt x="247" y="76"/>
                    <a:pt x="247" y="81"/>
                    <a:pt x="246" y="82"/>
                  </a:cubicBezTo>
                  <a:cubicBezTo>
                    <a:pt x="242" y="86"/>
                    <a:pt x="236" y="80"/>
                    <a:pt x="239" y="76"/>
                  </a:cubicBezTo>
                  <a:close/>
                  <a:moveTo>
                    <a:pt x="301" y="82"/>
                  </a:moveTo>
                  <a:cubicBezTo>
                    <a:pt x="294" y="88"/>
                    <a:pt x="286" y="74"/>
                    <a:pt x="295" y="72"/>
                  </a:cubicBezTo>
                  <a:cubicBezTo>
                    <a:pt x="297" y="72"/>
                    <a:pt x="299" y="72"/>
                    <a:pt x="301" y="72"/>
                  </a:cubicBezTo>
                  <a:cubicBezTo>
                    <a:pt x="303" y="74"/>
                    <a:pt x="303" y="80"/>
                    <a:pt x="301" y="82"/>
                  </a:cubicBezTo>
                  <a:close/>
                  <a:moveTo>
                    <a:pt x="98" y="48"/>
                  </a:moveTo>
                  <a:cubicBezTo>
                    <a:pt x="97" y="37"/>
                    <a:pt x="87" y="30"/>
                    <a:pt x="75" y="31"/>
                  </a:cubicBezTo>
                  <a:cubicBezTo>
                    <a:pt x="62" y="32"/>
                    <a:pt x="55" y="42"/>
                    <a:pt x="55" y="58"/>
                  </a:cubicBezTo>
                  <a:cubicBezTo>
                    <a:pt x="57" y="58"/>
                    <a:pt x="60" y="58"/>
                    <a:pt x="61" y="57"/>
                  </a:cubicBezTo>
                  <a:cubicBezTo>
                    <a:pt x="60" y="46"/>
                    <a:pt x="64" y="40"/>
                    <a:pt x="71" y="37"/>
                  </a:cubicBezTo>
                  <a:cubicBezTo>
                    <a:pt x="81" y="33"/>
                    <a:pt x="91" y="39"/>
                    <a:pt x="93" y="47"/>
                  </a:cubicBezTo>
                  <a:cubicBezTo>
                    <a:pt x="95" y="57"/>
                    <a:pt x="92" y="71"/>
                    <a:pt x="93" y="82"/>
                  </a:cubicBezTo>
                  <a:cubicBezTo>
                    <a:pt x="86" y="82"/>
                    <a:pt x="78" y="83"/>
                    <a:pt x="71" y="82"/>
                  </a:cubicBezTo>
                  <a:cubicBezTo>
                    <a:pt x="71" y="63"/>
                    <a:pt x="71" y="63"/>
                    <a:pt x="71" y="63"/>
                  </a:cubicBezTo>
                  <a:cubicBezTo>
                    <a:pt x="78" y="67"/>
                    <a:pt x="86" y="60"/>
                    <a:pt x="83" y="51"/>
                  </a:cubicBezTo>
                  <a:cubicBezTo>
                    <a:pt x="81" y="44"/>
                    <a:pt x="69" y="43"/>
                    <a:pt x="66" y="51"/>
                  </a:cubicBezTo>
                  <a:cubicBezTo>
                    <a:pt x="64" y="55"/>
                    <a:pt x="65" y="63"/>
                    <a:pt x="65" y="69"/>
                  </a:cubicBezTo>
                  <a:cubicBezTo>
                    <a:pt x="65" y="87"/>
                    <a:pt x="65" y="87"/>
                    <a:pt x="65" y="87"/>
                  </a:cubicBezTo>
                  <a:cubicBezTo>
                    <a:pt x="98" y="87"/>
                    <a:pt x="98" y="87"/>
                    <a:pt x="98" y="87"/>
                  </a:cubicBezTo>
                  <a:cubicBezTo>
                    <a:pt x="98" y="74"/>
                    <a:pt x="100" y="59"/>
                    <a:pt x="98" y="48"/>
                  </a:cubicBezTo>
                  <a:close/>
                  <a:moveTo>
                    <a:pt x="77" y="51"/>
                  </a:moveTo>
                  <a:cubicBezTo>
                    <a:pt x="79" y="52"/>
                    <a:pt x="79" y="55"/>
                    <a:pt x="78" y="57"/>
                  </a:cubicBezTo>
                  <a:cubicBezTo>
                    <a:pt x="78" y="58"/>
                    <a:pt x="78" y="58"/>
                    <a:pt x="77" y="58"/>
                  </a:cubicBezTo>
                  <a:cubicBezTo>
                    <a:pt x="69" y="63"/>
                    <a:pt x="68" y="46"/>
                    <a:pt x="77" y="51"/>
                  </a:cubicBezTo>
                  <a:close/>
                  <a:moveTo>
                    <a:pt x="359" y="47"/>
                  </a:moveTo>
                  <a:cubicBezTo>
                    <a:pt x="357" y="37"/>
                    <a:pt x="348" y="30"/>
                    <a:pt x="335" y="31"/>
                  </a:cubicBezTo>
                  <a:cubicBezTo>
                    <a:pt x="323" y="32"/>
                    <a:pt x="317" y="43"/>
                    <a:pt x="316" y="55"/>
                  </a:cubicBezTo>
                  <a:cubicBezTo>
                    <a:pt x="316" y="64"/>
                    <a:pt x="317" y="76"/>
                    <a:pt x="316" y="87"/>
                  </a:cubicBezTo>
                  <a:cubicBezTo>
                    <a:pt x="322" y="87"/>
                    <a:pt x="322" y="87"/>
                    <a:pt x="322" y="87"/>
                  </a:cubicBezTo>
                  <a:cubicBezTo>
                    <a:pt x="325" y="78"/>
                    <a:pt x="329" y="69"/>
                    <a:pt x="331" y="59"/>
                  </a:cubicBezTo>
                  <a:cubicBezTo>
                    <a:pt x="333" y="61"/>
                    <a:pt x="336" y="63"/>
                    <a:pt x="339" y="62"/>
                  </a:cubicBezTo>
                  <a:cubicBezTo>
                    <a:pt x="355" y="60"/>
                    <a:pt x="345" y="36"/>
                    <a:pt x="332" y="45"/>
                  </a:cubicBezTo>
                  <a:cubicBezTo>
                    <a:pt x="329" y="48"/>
                    <a:pt x="328" y="54"/>
                    <a:pt x="326" y="60"/>
                  </a:cubicBezTo>
                  <a:cubicBezTo>
                    <a:pt x="325" y="65"/>
                    <a:pt x="323" y="70"/>
                    <a:pt x="321" y="75"/>
                  </a:cubicBezTo>
                  <a:cubicBezTo>
                    <a:pt x="321" y="60"/>
                    <a:pt x="320" y="46"/>
                    <a:pt x="327" y="39"/>
                  </a:cubicBezTo>
                  <a:cubicBezTo>
                    <a:pt x="336" y="32"/>
                    <a:pt x="350" y="37"/>
                    <a:pt x="353" y="46"/>
                  </a:cubicBezTo>
                  <a:cubicBezTo>
                    <a:pt x="356" y="57"/>
                    <a:pt x="352" y="74"/>
                    <a:pt x="354" y="87"/>
                  </a:cubicBezTo>
                  <a:cubicBezTo>
                    <a:pt x="359" y="87"/>
                    <a:pt x="359" y="87"/>
                    <a:pt x="359" y="87"/>
                  </a:cubicBezTo>
                  <a:cubicBezTo>
                    <a:pt x="358" y="74"/>
                    <a:pt x="360" y="60"/>
                    <a:pt x="359" y="47"/>
                  </a:cubicBezTo>
                  <a:close/>
                  <a:moveTo>
                    <a:pt x="341" y="57"/>
                  </a:moveTo>
                  <a:cubicBezTo>
                    <a:pt x="339" y="57"/>
                    <a:pt x="336" y="57"/>
                    <a:pt x="335" y="57"/>
                  </a:cubicBezTo>
                  <a:cubicBezTo>
                    <a:pt x="328" y="45"/>
                    <a:pt x="349" y="48"/>
                    <a:pt x="341" y="57"/>
                  </a:cubicBezTo>
                  <a:close/>
                  <a:moveTo>
                    <a:pt x="217" y="47"/>
                  </a:moveTo>
                  <a:cubicBezTo>
                    <a:pt x="215" y="37"/>
                    <a:pt x="206" y="30"/>
                    <a:pt x="193" y="31"/>
                  </a:cubicBezTo>
                  <a:cubicBezTo>
                    <a:pt x="181" y="32"/>
                    <a:pt x="175" y="43"/>
                    <a:pt x="174" y="55"/>
                  </a:cubicBezTo>
                  <a:cubicBezTo>
                    <a:pt x="174" y="64"/>
                    <a:pt x="175" y="76"/>
                    <a:pt x="174" y="87"/>
                  </a:cubicBezTo>
                  <a:cubicBezTo>
                    <a:pt x="180" y="87"/>
                    <a:pt x="180" y="87"/>
                    <a:pt x="180" y="87"/>
                  </a:cubicBezTo>
                  <a:cubicBezTo>
                    <a:pt x="183" y="78"/>
                    <a:pt x="187" y="69"/>
                    <a:pt x="189" y="59"/>
                  </a:cubicBezTo>
                  <a:cubicBezTo>
                    <a:pt x="191" y="61"/>
                    <a:pt x="194" y="63"/>
                    <a:pt x="197" y="62"/>
                  </a:cubicBezTo>
                  <a:cubicBezTo>
                    <a:pt x="213" y="60"/>
                    <a:pt x="203" y="36"/>
                    <a:pt x="191" y="45"/>
                  </a:cubicBezTo>
                  <a:cubicBezTo>
                    <a:pt x="187" y="48"/>
                    <a:pt x="186" y="54"/>
                    <a:pt x="185" y="60"/>
                  </a:cubicBezTo>
                  <a:cubicBezTo>
                    <a:pt x="183" y="65"/>
                    <a:pt x="181" y="70"/>
                    <a:pt x="179" y="75"/>
                  </a:cubicBezTo>
                  <a:cubicBezTo>
                    <a:pt x="179" y="60"/>
                    <a:pt x="178" y="46"/>
                    <a:pt x="185" y="39"/>
                  </a:cubicBezTo>
                  <a:cubicBezTo>
                    <a:pt x="194" y="32"/>
                    <a:pt x="208" y="37"/>
                    <a:pt x="211" y="46"/>
                  </a:cubicBezTo>
                  <a:cubicBezTo>
                    <a:pt x="214" y="57"/>
                    <a:pt x="210" y="74"/>
                    <a:pt x="212" y="87"/>
                  </a:cubicBezTo>
                  <a:cubicBezTo>
                    <a:pt x="217" y="87"/>
                    <a:pt x="217" y="87"/>
                    <a:pt x="217" y="87"/>
                  </a:cubicBezTo>
                  <a:cubicBezTo>
                    <a:pt x="216" y="74"/>
                    <a:pt x="218" y="60"/>
                    <a:pt x="217" y="47"/>
                  </a:cubicBezTo>
                  <a:close/>
                  <a:moveTo>
                    <a:pt x="199" y="57"/>
                  </a:moveTo>
                  <a:cubicBezTo>
                    <a:pt x="197" y="57"/>
                    <a:pt x="195" y="57"/>
                    <a:pt x="193" y="57"/>
                  </a:cubicBezTo>
                  <a:cubicBezTo>
                    <a:pt x="186" y="45"/>
                    <a:pt x="207" y="48"/>
                    <a:pt x="199" y="57"/>
                  </a:cubicBezTo>
                  <a:close/>
                  <a:moveTo>
                    <a:pt x="39" y="32"/>
                  </a:moveTo>
                  <a:cubicBezTo>
                    <a:pt x="39" y="48"/>
                    <a:pt x="40" y="66"/>
                    <a:pt x="39" y="82"/>
                  </a:cubicBezTo>
                  <a:cubicBezTo>
                    <a:pt x="36" y="82"/>
                    <a:pt x="31" y="83"/>
                    <a:pt x="28" y="82"/>
                  </a:cubicBezTo>
                  <a:cubicBezTo>
                    <a:pt x="29" y="72"/>
                    <a:pt x="27" y="64"/>
                    <a:pt x="28" y="56"/>
                  </a:cubicBezTo>
                  <a:cubicBezTo>
                    <a:pt x="29" y="51"/>
                    <a:pt x="33" y="48"/>
                    <a:pt x="33" y="42"/>
                  </a:cubicBezTo>
                  <a:cubicBezTo>
                    <a:pt x="33" y="25"/>
                    <a:pt x="0" y="28"/>
                    <a:pt x="3" y="48"/>
                  </a:cubicBezTo>
                  <a:cubicBezTo>
                    <a:pt x="4" y="51"/>
                    <a:pt x="6" y="54"/>
                    <a:pt x="8" y="55"/>
                  </a:cubicBezTo>
                  <a:cubicBezTo>
                    <a:pt x="16" y="59"/>
                    <a:pt x="26" y="48"/>
                    <a:pt x="20" y="41"/>
                  </a:cubicBezTo>
                  <a:cubicBezTo>
                    <a:pt x="18" y="39"/>
                    <a:pt x="16" y="38"/>
                    <a:pt x="13" y="37"/>
                  </a:cubicBezTo>
                  <a:cubicBezTo>
                    <a:pt x="19" y="35"/>
                    <a:pt x="27" y="35"/>
                    <a:pt x="28" y="42"/>
                  </a:cubicBezTo>
                  <a:cubicBezTo>
                    <a:pt x="28" y="47"/>
                    <a:pt x="24" y="50"/>
                    <a:pt x="23" y="56"/>
                  </a:cubicBezTo>
                  <a:cubicBezTo>
                    <a:pt x="22" y="65"/>
                    <a:pt x="24" y="74"/>
                    <a:pt x="23" y="82"/>
                  </a:cubicBezTo>
                  <a:cubicBezTo>
                    <a:pt x="16" y="82"/>
                    <a:pt x="16" y="82"/>
                    <a:pt x="16" y="82"/>
                  </a:cubicBezTo>
                  <a:cubicBezTo>
                    <a:pt x="16" y="83"/>
                    <a:pt x="16" y="86"/>
                    <a:pt x="16" y="87"/>
                  </a:cubicBezTo>
                  <a:cubicBezTo>
                    <a:pt x="45" y="87"/>
                    <a:pt x="45" y="87"/>
                    <a:pt x="45" y="87"/>
                  </a:cubicBezTo>
                  <a:cubicBezTo>
                    <a:pt x="45" y="32"/>
                    <a:pt x="45" y="32"/>
                    <a:pt x="45" y="32"/>
                  </a:cubicBezTo>
                  <a:lnTo>
                    <a:pt x="39" y="32"/>
                  </a:lnTo>
                  <a:close/>
                  <a:moveTo>
                    <a:pt x="15" y="42"/>
                  </a:moveTo>
                  <a:cubicBezTo>
                    <a:pt x="20" y="46"/>
                    <a:pt x="14" y="53"/>
                    <a:pt x="9" y="50"/>
                  </a:cubicBezTo>
                  <a:cubicBezTo>
                    <a:pt x="6" y="47"/>
                    <a:pt x="9" y="39"/>
                    <a:pt x="15" y="42"/>
                  </a:cubicBezTo>
                  <a:close/>
                  <a:moveTo>
                    <a:pt x="456" y="31"/>
                  </a:moveTo>
                  <a:cubicBezTo>
                    <a:pt x="456" y="82"/>
                    <a:pt x="456" y="82"/>
                    <a:pt x="456" y="82"/>
                  </a:cubicBezTo>
                  <a:cubicBezTo>
                    <a:pt x="429" y="82"/>
                    <a:pt x="429" y="82"/>
                    <a:pt x="429" y="82"/>
                  </a:cubicBezTo>
                  <a:cubicBezTo>
                    <a:pt x="429" y="59"/>
                    <a:pt x="429" y="59"/>
                    <a:pt x="429" y="59"/>
                  </a:cubicBezTo>
                  <a:cubicBezTo>
                    <a:pt x="429" y="46"/>
                    <a:pt x="432" y="29"/>
                    <a:pt x="418" y="31"/>
                  </a:cubicBezTo>
                  <a:cubicBezTo>
                    <a:pt x="406" y="32"/>
                    <a:pt x="409" y="54"/>
                    <a:pt x="423" y="49"/>
                  </a:cubicBezTo>
                  <a:cubicBezTo>
                    <a:pt x="423" y="82"/>
                    <a:pt x="423" y="82"/>
                    <a:pt x="423" y="82"/>
                  </a:cubicBezTo>
                  <a:cubicBezTo>
                    <a:pt x="421" y="82"/>
                    <a:pt x="418" y="82"/>
                    <a:pt x="417" y="82"/>
                  </a:cubicBezTo>
                  <a:cubicBezTo>
                    <a:pt x="417" y="87"/>
                    <a:pt x="417" y="87"/>
                    <a:pt x="417" y="87"/>
                  </a:cubicBezTo>
                  <a:cubicBezTo>
                    <a:pt x="461" y="87"/>
                    <a:pt x="461" y="87"/>
                    <a:pt x="461" y="87"/>
                  </a:cubicBezTo>
                  <a:cubicBezTo>
                    <a:pt x="461" y="31"/>
                    <a:pt x="461" y="31"/>
                    <a:pt x="461" y="31"/>
                  </a:cubicBezTo>
                  <a:lnTo>
                    <a:pt x="456" y="31"/>
                  </a:lnTo>
                  <a:close/>
                  <a:moveTo>
                    <a:pt x="423" y="43"/>
                  </a:moveTo>
                  <a:cubicBezTo>
                    <a:pt x="419" y="46"/>
                    <a:pt x="413" y="43"/>
                    <a:pt x="416" y="37"/>
                  </a:cubicBezTo>
                  <a:cubicBezTo>
                    <a:pt x="420" y="33"/>
                    <a:pt x="427" y="38"/>
                    <a:pt x="423" y="43"/>
                  </a:cubicBezTo>
                  <a:close/>
                  <a:moveTo>
                    <a:pt x="154" y="31"/>
                  </a:moveTo>
                  <a:cubicBezTo>
                    <a:pt x="154" y="82"/>
                    <a:pt x="154" y="82"/>
                    <a:pt x="154" y="82"/>
                  </a:cubicBezTo>
                  <a:cubicBezTo>
                    <a:pt x="127" y="82"/>
                    <a:pt x="127" y="82"/>
                    <a:pt x="127" y="82"/>
                  </a:cubicBezTo>
                  <a:cubicBezTo>
                    <a:pt x="127" y="59"/>
                    <a:pt x="127" y="59"/>
                    <a:pt x="127" y="59"/>
                  </a:cubicBezTo>
                  <a:cubicBezTo>
                    <a:pt x="127" y="46"/>
                    <a:pt x="130" y="29"/>
                    <a:pt x="116" y="31"/>
                  </a:cubicBezTo>
                  <a:cubicBezTo>
                    <a:pt x="104" y="32"/>
                    <a:pt x="107" y="54"/>
                    <a:pt x="122" y="49"/>
                  </a:cubicBezTo>
                  <a:cubicBezTo>
                    <a:pt x="122" y="82"/>
                    <a:pt x="122" y="82"/>
                    <a:pt x="122" y="82"/>
                  </a:cubicBezTo>
                  <a:cubicBezTo>
                    <a:pt x="119" y="82"/>
                    <a:pt x="117" y="82"/>
                    <a:pt x="115" y="82"/>
                  </a:cubicBezTo>
                  <a:cubicBezTo>
                    <a:pt x="115" y="87"/>
                    <a:pt x="115" y="87"/>
                    <a:pt x="115" y="87"/>
                  </a:cubicBezTo>
                  <a:cubicBezTo>
                    <a:pt x="160" y="87"/>
                    <a:pt x="160" y="87"/>
                    <a:pt x="160" y="87"/>
                  </a:cubicBezTo>
                  <a:cubicBezTo>
                    <a:pt x="160" y="31"/>
                    <a:pt x="160" y="31"/>
                    <a:pt x="160" y="31"/>
                  </a:cubicBezTo>
                  <a:lnTo>
                    <a:pt x="154" y="31"/>
                  </a:lnTo>
                  <a:close/>
                  <a:moveTo>
                    <a:pt x="121" y="43"/>
                  </a:moveTo>
                  <a:cubicBezTo>
                    <a:pt x="117" y="46"/>
                    <a:pt x="111" y="43"/>
                    <a:pt x="114" y="37"/>
                  </a:cubicBezTo>
                  <a:cubicBezTo>
                    <a:pt x="118" y="33"/>
                    <a:pt x="125" y="38"/>
                    <a:pt x="121" y="43"/>
                  </a:cubicBezTo>
                  <a:close/>
                  <a:moveTo>
                    <a:pt x="412" y="2"/>
                  </a:moveTo>
                  <a:cubicBezTo>
                    <a:pt x="407" y="10"/>
                    <a:pt x="399" y="15"/>
                    <a:pt x="389" y="18"/>
                  </a:cubicBezTo>
                  <a:cubicBezTo>
                    <a:pt x="391" y="16"/>
                    <a:pt x="391" y="16"/>
                    <a:pt x="391" y="14"/>
                  </a:cubicBezTo>
                  <a:cubicBezTo>
                    <a:pt x="393" y="0"/>
                    <a:pt x="372" y="2"/>
                    <a:pt x="374" y="15"/>
                  </a:cubicBezTo>
                  <a:cubicBezTo>
                    <a:pt x="375" y="21"/>
                    <a:pt x="383" y="23"/>
                    <a:pt x="390" y="22"/>
                  </a:cubicBezTo>
                  <a:cubicBezTo>
                    <a:pt x="402" y="21"/>
                    <a:pt x="410" y="12"/>
                    <a:pt x="416" y="5"/>
                  </a:cubicBezTo>
                  <a:cubicBezTo>
                    <a:pt x="414" y="4"/>
                    <a:pt x="413" y="3"/>
                    <a:pt x="412" y="2"/>
                  </a:cubicBezTo>
                  <a:close/>
                  <a:moveTo>
                    <a:pt x="379" y="15"/>
                  </a:moveTo>
                  <a:cubicBezTo>
                    <a:pt x="376" y="9"/>
                    <a:pt x="384" y="6"/>
                    <a:pt x="386" y="10"/>
                  </a:cubicBezTo>
                  <a:cubicBezTo>
                    <a:pt x="389" y="14"/>
                    <a:pt x="383" y="19"/>
                    <a:pt x="379" y="15"/>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5">
                    <a:lumMod val="75000"/>
                  </a:schemeClr>
                </a:solidFill>
                <a:effectLst/>
                <a:uLnTx/>
                <a:uFillTx/>
                <a:latin typeface="Segoe UI Semilight"/>
                <a:ea typeface="+mn-ea"/>
                <a:cs typeface="+mn-cs"/>
              </a:endParaRPr>
            </a:p>
          </p:txBody>
        </p:sp>
        <p:sp>
          <p:nvSpPr>
            <p:cNvPr id="13" name="Freeform 221">
              <a:extLst>
                <a:ext uri="{FF2B5EF4-FFF2-40B4-BE49-F238E27FC236}">
                  <a16:creationId xmlns:a16="http://schemas.microsoft.com/office/drawing/2014/main" id="{35A92087-3304-5287-54D8-CB16A6F55BDC}"/>
                </a:ext>
                <a:ext uri="{C183D7F6-B498-43B3-948B-1728B52AA6E4}">
                  <adec:decorative xmlns:adec="http://schemas.microsoft.com/office/drawing/2017/decorative" val="1"/>
                </a:ext>
              </a:extLst>
            </p:cNvPr>
            <p:cNvSpPr>
              <a:spLocks noEditPoints="1"/>
            </p:cNvSpPr>
            <p:nvPr/>
          </p:nvSpPr>
          <p:spPr bwMode="auto">
            <a:xfrm rot="16200000">
              <a:off x="9515227" y="2892332"/>
              <a:ext cx="217852" cy="978802"/>
            </a:xfrm>
            <a:custGeom>
              <a:avLst/>
              <a:gdLst>
                <a:gd name="T0" fmla="*/ 0 w 120"/>
                <a:gd name="T1" fmla="*/ 58 h 539"/>
                <a:gd name="T2" fmla="*/ 59 w 120"/>
                <a:gd name="T3" fmla="*/ 0 h 539"/>
                <a:gd name="T4" fmla="*/ 120 w 120"/>
                <a:gd name="T5" fmla="*/ 63 h 539"/>
                <a:gd name="T6" fmla="*/ 95 w 120"/>
                <a:gd name="T7" fmla="*/ 95 h 539"/>
                <a:gd name="T8" fmla="*/ 92 w 120"/>
                <a:gd name="T9" fmla="*/ 33 h 539"/>
                <a:gd name="T10" fmla="*/ 28 w 120"/>
                <a:gd name="T11" fmla="*/ 31 h 539"/>
                <a:gd name="T12" fmla="*/ 21 w 120"/>
                <a:gd name="T13" fmla="*/ 80 h 539"/>
                <a:gd name="T14" fmla="*/ 49 w 120"/>
                <a:gd name="T15" fmla="*/ 55 h 539"/>
                <a:gd name="T16" fmla="*/ 65 w 120"/>
                <a:gd name="T17" fmla="*/ 99 h 539"/>
                <a:gd name="T18" fmla="*/ 2 w 120"/>
                <a:gd name="T19" fmla="*/ 117 h 539"/>
                <a:gd name="T20" fmla="*/ 49 w 120"/>
                <a:gd name="T21" fmla="*/ 137 h 539"/>
                <a:gd name="T22" fmla="*/ 48 w 120"/>
                <a:gd name="T23" fmla="*/ 151 h 539"/>
                <a:gd name="T24" fmla="*/ 40 w 120"/>
                <a:gd name="T25" fmla="*/ 162 h 539"/>
                <a:gd name="T26" fmla="*/ 2 w 120"/>
                <a:gd name="T27" fmla="*/ 185 h 539"/>
                <a:gd name="T28" fmla="*/ 2 w 120"/>
                <a:gd name="T29" fmla="*/ 208 h 539"/>
                <a:gd name="T30" fmla="*/ 34 w 120"/>
                <a:gd name="T31" fmla="*/ 187 h 539"/>
                <a:gd name="T32" fmla="*/ 46 w 120"/>
                <a:gd name="T33" fmla="*/ 178 h 539"/>
                <a:gd name="T34" fmla="*/ 55 w 120"/>
                <a:gd name="T35" fmla="*/ 168 h 539"/>
                <a:gd name="T36" fmla="*/ 59 w 120"/>
                <a:gd name="T37" fmla="*/ 179 h 539"/>
                <a:gd name="T38" fmla="*/ 75 w 120"/>
                <a:gd name="T39" fmla="*/ 192 h 539"/>
                <a:gd name="T40" fmla="*/ 101 w 120"/>
                <a:gd name="T41" fmla="*/ 191 h 539"/>
                <a:gd name="T42" fmla="*/ 116 w 120"/>
                <a:gd name="T43" fmla="*/ 171 h 539"/>
                <a:gd name="T44" fmla="*/ 118 w 120"/>
                <a:gd name="T45" fmla="*/ 118 h 539"/>
                <a:gd name="T46" fmla="*/ 103 w 120"/>
                <a:gd name="T47" fmla="*/ 153 h 539"/>
                <a:gd name="T48" fmla="*/ 85 w 120"/>
                <a:gd name="T49" fmla="*/ 174 h 539"/>
                <a:gd name="T50" fmla="*/ 70 w 120"/>
                <a:gd name="T51" fmla="*/ 168 h 539"/>
                <a:gd name="T52" fmla="*/ 65 w 120"/>
                <a:gd name="T53" fmla="*/ 153 h 539"/>
                <a:gd name="T54" fmla="*/ 103 w 120"/>
                <a:gd name="T55" fmla="*/ 137 h 539"/>
                <a:gd name="T56" fmla="*/ 4 w 120"/>
                <a:gd name="T57" fmla="*/ 206 h 539"/>
                <a:gd name="T58" fmla="*/ 2 w 120"/>
                <a:gd name="T59" fmla="*/ 226 h 539"/>
                <a:gd name="T60" fmla="*/ 31 w 120"/>
                <a:gd name="T61" fmla="*/ 282 h 539"/>
                <a:gd name="T62" fmla="*/ 1 w 120"/>
                <a:gd name="T63" fmla="*/ 314 h 539"/>
                <a:gd name="T64" fmla="*/ 118 w 120"/>
                <a:gd name="T65" fmla="*/ 249 h 539"/>
                <a:gd name="T66" fmla="*/ 101 w 120"/>
                <a:gd name="T67" fmla="*/ 259 h 539"/>
                <a:gd name="T68" fmla="*/ 47 w 120"/>
                <a:gd name="T69" fmla="*/ 277 h 539"/>
                <a:gd name="T70" fmla="*/ 94 w 120"/>
                <a:gd name="T71" fmla="*/ 257 h 539"/>
                <a:gd name="T72" fmla="*/ 110 w 120"/>
                <a:gd name="T73" fmla="*/ 414 h 539"/>
                <a:gd name="T74" fmla="*/ 18 w 120"/>
                <a:gd name="T75" fmla="*/ 413 h 539"/>
                <a:gd name="T76" fmla="*/ 1 w 120"/>
                <a:gd name="T77" fmla="*/ 322 h 539"/>
                <a:gd name="T78" fmla="*/ 102 w 120"/>
                <a:gd name="T79" fmla="*/ 387 h 539"/>
                <a:gd name="T80" fmla="*/ 118 w 120"/>
                <a:gd name="T81" fmla="*/ 328 h 539"/>
                <a:gd name="T82" fmla="*/ 110 w 120"/>
                <a:gd name="T83" fmla="*/ 414 h 539"/>
                <a:gd name="T84" fmla="*/ 1 w 120"/>
                <a:gd name="T85" fmla="*/ 428 h 539"/>
                <a:gd name="T86" fmla="*/ 118 w 120"/>
                <a:gd name="T87" fmla="*/ 448 h 539"/>
                <a:gd name="T88" fmla="*/ 1 w 120"/>
                <a:gd name="T89" fmla="*/ 539 h 539"/>
                <a:gd name="T90" fmla="*/ 118 w 120"/>
                <a:gd name="T91" fmla="*/ 474 h 539"/>
                <a:gd name="T92" fmla="*/ 101 w 120"/>
                <a:gd name="T93" fmla="*/ 537 h 539"/>
                <a:gd name="T94" fmla="*/ 68 w 120"/>
                <a:gd name="T95" fmla="*/ 493 h 539"/>
                <a:gd name="T96" fmla="*/ 52 w 120"/>
                <a:gd name="T97" fmla="*/ 533 h 539"/>
                <a:gd name="T98" fmla="*/ 18 w 120"/>
                <a:gd name="T99" fmla="*/ 493 h 539"/>
                <a:gd name="T100" fmla="*/ 1 w 120"/>
                <a:gd name="T101"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9">
                  <a:moveTo>
                    <a:pt x="10" y="99"/>
                  </a:moveTo>
                  <a:cubicBezTo>
                    <a:pt x="3" y="87"/>
                    <a:pt x="0" y="73"/>
                    <a:pt x="0" y="58"/>
                  </a:cubicBezTo>
                  <a:cubicBezTo>
                    <a:pt x="0" y="41"/>
                    <a:pt x="5" y="27"/>
                    <a:pt x="16" y="16"/>
                  </a:cubicBezTo>
                  <a:cubicBezTo>
                    <a:pt x="27" y="6"/>
                    <a:pt x="41" y="0"/>
                    <a:pt x="59" y="0"/>
                  </a:cubicBezTo>
                  <a:cubicBezTo>
                    <a:pt x="77" y="0"/>
                    <a:pt x="92" y="6"/>
                    <a:pt x="103" y="18"/>
                  </a:cubicBezTo>
                  <a:cubicBezTo>
                    <a:pt x="115" y="30"/>
                    <a:pt x="120" y="45"/>
                    <a:pt x="120" y="63"/>
                  </a:cubicBezTo>
                  <a:cubicBezTo>
                    <a:pt x="120" y="76"/>
                    <a:pt x="119" y="87"/>
                    <a:pt x="115" y="95"/>
                  </a:cubicBezTo>
                  <a:cubicBezTo>
                    <a:pt x="95" y="95"/>
                    <a:pt x="95" y="95"/>
                    <a:pt x="95" y="95"/>
                  </a:cubicBezTo>
                  <a:cubicBezTo>
                    <a:pt x="101" y="86"/>
                    <a:pt x="104" y="76"/>
                    <a:pt x="104" y="63"/>
                  </a:cubicBezTo>
                  <a:cubicBezTo>
                    <a:pt x="104" y="51"/>
                    <a:pt x="100" y="41"/>
                    <a:pt x="92" y="33"/>
                  </a:cubicBezTo>
                  <a:cubicBezTo>
                    <a:pt x="83" y="25"/>
                    <a:pt x="73" y="21"/>
                    <a:pt x="60" y="21"/>
                  </a:cubicBezTo>
                  <a:cubicBezTo>
                    <a:pt x="46" y="21"/>
                    <a:pt x="36" y="24"/>
                    <a:pt x="28" y="31"/>
                  </a:cubicBezTo>
                  <a:cubicBezTo>
                    <a:pt x="20" y="38"/>
                    <a:pt x="17" y="47"/>
                    <a:pt x="16" y="59"/>
                  </a:cubicBezTo>
                  <a:cubicBezTo>
                    <a:pt x="16" y="67"/>
                    <a:pt x="18" y="74"/>
                    <a:pt x="21" y="80"/>
                  </a:cubicBezTo>
                  <a:cubicBezTo>
                    <a:pt x="49" y="80"/>
                    <a:pt x="49" y="80"/>
                    <a:pt x="49" y="80"/>
                  </a:cubicBezTo>
                  <a:cubicBezTo>
                    <a:pt x="49" y="55"/>
                    <a:pt x="49" y="55"/>
                    <a:pt x="49" y="55"/>
                  </a:cubicBezTo>
                  <a:cubicBezTo>
                    <a:pt x="65" y="55"/>
                    <a:pt x="65" y="55"/>
                    <a:pt x="65" y="55"/>
                  </a:cubicBezTo>
                  <a:cubicBezTo>
                    <a:pt x="65" y="99"/>
                    <a:pt x="65" y="99"/>
                    <a:pt x="65" y="99"/>
                  </a:cubicBezTo>
                  <a:lnTo>
                    <a:pt x="10" y="99"/>
                  </a:lnTo>
                  <a:close/>
                  <a:moveTo>
                    <a:pt x="2" y="117"/>
                  </a:moveTo>
                  <a:cubicBezTo>
                    <a:pt x="2" y="137"/>
                    <a:pt x="2" y="137"/>
                    <a:pt x="2" y="137"/>
                  </a:cubicBezTo>
                  <a:cubicBezTo>
                    <a:pt x="49" y="137"/>
                    <a:pt x="49" y="137"/>
                    <a:pt x="49" y="137"/>
                  </a:cubicBezTo>
                  <a:cubicBezTo>
                    <a:pt x="49" y="145"/>
                    <a:pt x="49" y="145"/>
                    <a:pt x="49" y="145"/>
                  </a:cubicBezTo>
                  <a:cubicBezTo>
                    <a:pt x="49" y="147"/>
                    <a:pt x="49" y="149"/>
                    <a:pt x="48" y="151"/>
                  </a:cubicBezTo>
                  <a:cubicBezTo>
                    <a:pt x="48" y="153"/>
                    <a:pt x="47" y="155"/>
                    <a:pt x="45" y="157"/>
                  </a:cubicBezTo>
                  <a:cubicBezTo>
                    <a:pt x="44" y="158"/>
                    <a:pt x="42" y="160"/>
                    <a:pt x="40" y="162"/>
                  </a:cubicBezTo>
                  <a:cubicBezTo>
                    <a:pt x="38" y="163"/>
                    <a:pt x="36" y="165"/>
                    <a:pt x="33" y="166"/>
                  </a:cubicBezTo>
                  <a:cubicBezTo>
                    <a:pt x="2" y="185"/>
                    <a:pt x="2" y="185"/>
                    <a:pt x="2" y="185"/>
                  </a:cubicBezTo>
                  <a:cubicBezTo>
                    <a:pt x="2" y="205"/>
                    <a:pt x="2" y="205"/>
                    <a:pt x="2" y="205"/>
                  </a:cubicBezTo>
                  <a:cubicBezTo>
                    <a:pt x="2" y="208"/>
                    <a:pt x="2" y="208"/>
                    <a:pt x="2" y="208"/>
                  </a:cubicBezTo>
                  <a:cubicBezTo>
                    <a:pt x="4" y="206"/>
                    <a:pt x="4" y="206"/>
                    <a:pt x="4" y="206"/>
                  </a:cubicBezTo>
                  <a:cubicBezTo>
                    <a:pt x="34" y="187"/>
                    <a:pt x="34" y="187"/>
                    <a:pt x="34" y="187"/>
                  </a:cubicBezTo>
                  <a:cubicBezTo>
                    <a:pt x="37" y="185"/>
                    <a:pt x="39" y="184"/>
                    <a:pt x="41" y="182"/>
                  </a:cubicBezTo>
                  <a:cubicBezTo>
                    <a:pt x="43" y="181"/>
                    <a:pt x="45" y="180"/>
                    <a:pt x="46" y="178"/>
                  </a:cubicBezTo>
                  <a:cubicBezTo>
                    <a:pt x="48" y="177"/>
                    <a:pt x="49" y="175"/>
                    <a:pt x="51" y="174"/>
                  </a:cubicBezTo>
                  <a:cubicBezTo>
                    <a:pt x="52" y="172"/>
                    <a:pt x="54" y="170"/>
                    <a:pt x="55" y="168"/>
                  </a:cubicBezTo>
                  <a:cubicBezTo>
                    <a:pt x="55" y="168"/>
                    <a:pt x="55" y="168"/>
                    <a:pt x="55" y="168"/>
                  </a:cubicBezTo>
                  <a:cubicBezTo>
                    <a:pt x="56" y="172"/>
                    <a:pt x="58" y="176"/>
                    <a:pt x="59" y="179"/>
                  </a:cubicBezTo>
                  <a:cubicBezTo>
                    <a:pt x="61" y="182"/>
                    <a:pt x="64" y="185"/>
                    <a:pt x="66" y="187"/>
                  </a:cubicBezTo>
                  <a:cubicBezTo>
                    <a:pt x="69" y="189"/>
                    <a:pt x="72" y="191"/>
                    <a:pt x="75" y="192"/>
                  </a:cubicBezTo>
                  <a:cubicBezTo>
                    <a:pt x="79" y="193"/>
                    <a:pt x="83" y="194"/>
                    <a:pt x="87" y="194"/>
                  </a:cubicBezTo>
                  <a:cubicBezTo>
                    <a:pt x="92" y="194"/>
                    <a:pt x="97" y="193"/>
                    <a:pt x="101" y="191"/>
                  </a:cubicBezTo>
                  <a:cubicBezTo>
                    <a:pt x="105" y="189"/>
                    <a:pt x="108" y="187"/>
                    <a:pt x="111" y="183"/>
                  </a:cubicBezTo>
                  <a:cubicBezTo>
                    <a:pt x="113" y="180"/>
                    <a:pt x="115" y="176"/>
                    <a:pt x="116" y="171"/>
                  </a:cubicBezTo>
                  <a:cubicBezTo>
                    <a:pt x="118" y="167"/>
                    <a:pt x="118" y="162"/>
                    <a:pt x="118" y="156"/>
                  </a:cubicBezTo>
                  <a:cubicBezTo>
                    <a:pt x="118" y="118"/>
                    <a:pt x="118" y="118"/>
                    <a:pt x="118" y="118"/>
                  </a:cubicBezTo>
                  <a:lnTo>
                    <a:pt x="2" y="117"/>
                  </a:lnTo>
                  <a:close/>
                  <a:moveTo>
                    <a:pt x="103" y="153"/>
                  </a:moveTo>
                  <a:cubicBezTo>
                    <a:pt x="103" y="160"/>
                    <a:pt x="101" y="165"/>
                    <a:pt x="98" y="168"/>
                  </a:cubicBezTo>
                  <a:cubicBezTo>
                    <a:pt x="95" y="172"/>
                    <a:pt x="90" y="174"/>
                    <a:pt x="85" y="174"/>
                  </a:cubicBezTo>
                  <a:cubicBezTo>
                    <a:pt x="82" y="174"/>
                    <a:pt x="79" y="173"/>
                    <a:pt x="76" y="172"/>
                  </a:cubicBezTo>
                  <a:cubicBezTo>
                    <a:pt x="74" y="171"/>
                    <a:pt x="72" y="170"/>
                    <a:pt x="70" y="168"/>
                  </a:cubicBezTo>
                  <a:cubicBezTo>
                    <a:pt x="68" y="166"/>
                    <a:pt x="67" y="164"/>
                    <a:pt x="66" y="161"/>
                  </a:cubicBezTo>
                  <a:cubicBezTo>
                    <a:pt x="65" y="159"/>
                    <a:pt x="65" y="156"/>
                    <a:pt x="65" y="153"/>
                  </a:cubicBezTo>
                  <a:cubicBezTo>
                    <a:pt x="65" y="137"/>
                    <a:pt x="65" y="137"/>
                    <a:pt x="65" y="137"/>
                  </a:cubicBezTo>
                  <a:cubicBezTo>
                    <a:pt x="103" y="137"/>
                    <a:pt x="103" y="137"/>
                    <a:pt x="103" y="137"/>
                  </a:cubicBezTo>
                  <a:lnTo>
                    <a:pt x="103" y="153"/>
                  </a:lnTo>
                  <a:close/>
                  <a:moveTo>
                    <a:pt x="4" y="206"/>
                  </a:moveTo>
                  <a:cubicBezTo>
                    <a:pt x="2" y="205"/>
                    <a:pt x="2" y="205"/>
                    <a:pt x="2" y="205"/>
                  </a:cubicBezTo>
                  <a:cubicBezTo>
                    <a:pt x="2" y="226"/>
                    <a:pt x="2" y="226"/>
                    <a:pt x="2" y="226"/>
                  </a:cubicBezTo>
                  <a:cubicBezTo>
                    <a:pt x="31" y="236"/>
                    <a:pt x="31" y="236"/>
                    <a:pt x="31" y="236"/>
                  </a:cubicBezTo>
                  <a:cubicBezTo>
                    <a:pt x="31" y="282"/>
                    <a:pt x="31" y="282"/>
                    <a:pt x="31" y="282"/>
                  </a:cubicBezTo>
                  <a:cubicBezTo>
                    <a:pt x="1" y="293"/>
                    <a:pt x="1" y="293"/>
                    <a:pt x="1" y="293"/>
                  </a:cubicBezTo>
                  <a:cubicBezTo>
                    <a:pt x="1" y="314"/>
                    <a:pt x="1" y="314"/>
                    <a:pt x="1" y="314"/>
                  </a:cubicBezTo>
                  <a:cubicBezTo>
                    <a:pt x="118" y="271"/>
                    <a:pt x="118" y="271"/>
                    <a:pt x="118" y="271"/>
                  </a:cubicBezTo>
                  <a:cubicBezTo>
                    <a:pt x="118" y="249"/>
                    <a:pt x="118" y="249"/>
                    <a:pt x="118" y="249"/>
                  </a:cubicBezTo>
                  <a:lnTo>
                    <a:pt x="4" y="206"/>
                  </a:lnTo>
                  <a:close/>
                  <a:moveTo>
                    <a:pt x="101" y="259"/>
                  </a:moveTo>
                  <a:cubicBezTo>
                    <a:pt x="98" y="260"/>
                    <a:pt x="95" y="260"/>
                    <a:pt x="94" y="261"/>
                  </a:cubicBezTo>
                  <a:cubicBezTo>
                    <a:pt x="47" y="277"/>
                    <a:pt x="47" y="277"/>
                    <a:pt x="47" y="277"/>
                  </a:cubicBezTo>
                  <a:cubicBezTo>
                    <a:pt x="47" y="241"/>
                    <a:pt x="47" y="241"/>
                    <a:pt x="47" y="241"/>
                  </a:cubicBezTo>
                  <a:cubicBezTo>
                    <a:pt x="94" y="257"/>
                    <a:pt x="94" y="257"/>
                    <a:pt x="94" y="257"/>
                  </a:cubicBezTo>
                  <a:cubicBezTo>
                    <a:pt x="95" y="258"/>
                    <a:pt x="98" y="259"/>
                    <a:pt x="101" y="259"/>
                  </a:cubicBezTo>
                  <a:close/>
                  <a:moveTo>
                    <a:pt x="110" y="414"/>
                  </a:moveTo>
                  <a:cubicBezTo>
                    <a:pt x="18" y="350"/>
                    <a:pt x="18" y="350"/>
                    <a:pt x="18" y="350"/>
                  </a:cubicBezTo>
                  <a:cubicBezTo>
                    <a:pt x="18" y="413"/>
                    <a:pt x="18" y="413"/>
                    <a:pt x="18" y="413"/>
                  </a:cubicBezTo>
                  <a:cubicBezTo>
                    <a:pt x="1" y="413"/>
                    <a:pt x="1" y="413"/>
                    <a:pt x="1" y="413"/>
                  </a:cubicBezTo>
                  <a:cubicBezTo>
                    <a:pt x="1" y="322"/>
                    <a:pt x="1" y="322"/>
                    <a:pt x="1" y="322"/>
                  </a:cubicBezTo>
                  <a:cubicBezTo>
                    <a:pt x="10" y="322"/>
                    <a:pt x="10" y="322"/>
                    <a:pt x="10" y="322"/>
                  </a:cubicBezTo>
                  <a:cubicBezTo>
                    <a:pt x="102" y="387"/>
                    <a:pt x="102" y="387"/>
                    <a:pt x="102" y="387"/>
                  </a:cubicBezTo>
                  <a:cubicBezTo>
                    <a:pt x="102" y="328"/>
                    <a:pt x="102" y="328"/>
                    <a:pt x="102" y="328"/>
                  </a:cubicBezTo>
                  <a:cubicBezTo>
                    <a:pt x="118" y="328"/>
                    <a:pt x="118" y="328"/>
                    <a:pt x="118" y="328"/>
                  </a:cubicBezTo>
                  <a:cubicBezTo>
                    <a:pt x="118" y="414"/>
                    <a:pt x="118" y="414"/>
                    <a:pt x="118" y="414"/>
                  </a:cubicBezTo>
                  <a:lnTo>
                    <a:pt x="110" y="414"/>
                  </a:lnTo>
                  <a:close/>
                  <a:moveTo>
                    <a:pt x="1" y="448"/>
                  </a:moveTo>
                  <a:cubicBezTo>
                    <a:pt x="1" y="428"/>
                    <a:pt x="1" y="428"/>
                    <a:pt x="1" y="428"/>
                  </a:cubicBezTo>
                  <a:cubicBezTo>
                    <a:pt x="118" y="428"/>
                    <a:pt x="118" y="428"/>
                    <a:pt x="118" y="428"/>
                  </a:cubicBezTo>
                  <a:cubicBezTo>
                    <a:pt x="118" y="448"/>
                    <a:pt x="118" y="448"/>
                    <a:pt x="118" y="448"/>
                  </a:cubicBezTo>
                  <a:lnTo>
                    <a:pt x="1" y="448"/>
                  </a:lnTo>
                  <a:close/>
                  <a:moveTo>
                    <a:pt x="1" y="539"/>
                  </a:moveTo>
                  <a:cubicBezTo>
                    <a:pt x="1" y="474"/>
                    <a:pt x="1" y="474"/>
                    <a:pt x="1" y="474"/>
                  </a:cubicBezTo>
                  <a:cubicBezTo>
                    <a:pt x="118" y="474"/>
                    <a:pt x="118" y="474"/>
                    <a:pt x="118" y="474"/>
                  </a:cubicBezTo>
                  <a:cubicBezTo>
                    <a:pt x="118" y="537"/>
                    <a:pt x="118" y="537"/>
                    <a:pt x="118" y="537"/>
                  </a:cubicBezTo>
                  <a:cubicBezTo>
                    <a:pt x="101" y="537"/>
                    <a:pt x="101" y="537"/>
                    <a:pt x="101" y="537"/>
                  </a:cubicBezTo>
                  <a:cubicBezTo>
                    <a:pt x="102" y="493"/>
                    <a:pt x="102" y="493"/>
                    <a:pt x="102" y="493"/>
                  </a:cubicBezTo>
                  <a:cubicBezTo>
                    <a:pt x="68" y="493"/>
                    <a:pt x="68" y="493"/>
                    <a:pt x="68" y="493"/>
                  </a:cubicBezTo>
                  <a:cubicBezTo>
                    <a:pt x="68" y="533"/>
                    <a:pt x="68" y="533"/>
                    <a:pt x="68" y="533"/>
                  </a:cubicBezTo>
                  <a:cubicBezTo>
                    <a:pt x="52" y="533"/>
                    <a:pt x="52" y="533"/>
                    <a:pt x="52" y="533"/>
                  </a:cubicBezTo>
                  <a:cubicBezTo>
                    <a:pt x="52" y="493"/>
                    <a:pt x="52" y="493"/>
                    <a:pt x="52" y="493"/>
                  </a:cubicBezTo>
                  <a:cubicBezTo>
                    <a:pt x="18" y="493"/>
                    <a:pt x="18" y="493"/>
                    <a:pt x="18" y="493"/>
                  </a:cubicBezTo>
                  <a:cubicBezTo>
                    <a:pt x="18" y="539"/>
                    <a:pt x="18" y="539"/>
                    <a:pt x="18" y="539"/>
                  </a:cubicBezTo>
                  <a:lnTo>
                    <a:pt x="1" y="539"/>
                  </a:ln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4" name="Freeform 222">
              <a:extLst>
                <a:ext uri="{FF2B5EF4-FFF2-40B4-BE49-F238E27FC236}">
                  <a16:creationId xmlns:a16="http://schemas.microsoft.com/office/drawing/2014/main" id="{3F905082-54DF-D92A-2E2F-1DCE014F7B3F}"/>
                </a:ext>
                <a:ext uri="{C183D7F6-B498-43B3-948B-1728B52AA6E4}">
                  <adec:decorative xmlns:adec="http://schemas.microsoft.com/office/drawing/2017/decorative" val="1"/>
                </a:ext>
              </a:extLst>
            </p:cNvPr>
            <p:cNvSpPr>
              <a:spLocks noEditPoints="1"/>
            </p:cNvSpPr>
            <p:nvPr/>
          </p:nvSpPr>
          <p:spPr bwMode="auto">
            <a:xfrm rot="16200000">
              <a:off x="7140191" y="614150"/>
              <a:ext cx="364768" cy="1361460"/>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15" name="Freeform 223">
              <a:extLst>
                <a:ext uri="{FF2B5EF4-FFF2-40B4-BE49-F238E27FC236}">
                  <a16:creationId xmlns:a16="http://schemas.microsoft.com/office/drawing/2014/main" id="{820F7002-6025-8CF3-58EF-66562FB7DE99}"/>
                </a:ext>
                <a:ext uri="{C183D7F6-B498-43B3-948B-1728B52AA6E4}">
                  <adec:decorative xmlns:adec="http://schemas.microsoft.com/office/drawing/2017/decorative" val="1"/>
                </a:ext>
              </a:extLst>
            </p:cNvPr>
            <p:cNvSpPr>
              <a:spLocks noEditPoints="1"/>
            </p:cNvSpPr>
            <p:nvPr/>
          </p:nvSpPr>
          <p:spPr bwMode="auto">
            <a:xfrm>
              <a:off x="3246095" y="2182577"/>
              <a:ext cx="2423656" cy="477795"/>
            </a:xfrm>
            <a:custGeom>
              <a:avLst/>
              <a:gdLst>
                <a:gd name="T0" fmla="*/ 69 w 798"/>
                <a:gd name="T1" fmla="*/ 157 h 157"/>
                <a:gd name="T2" fmla="*/ 0 w 798"/>
                <a:gd name="T3" fmla="*/ 81 h 157"/>
                <a:gd name="T4" fmla="*/ 75 w 798"/>
                <a:gd name="T5" fmla="*/ 0 h 157"/>
                <a:gd name="T6" fmla="*/ 114 w 798"/>
                <a:gd name="T7" fmla="*/ 20 h 157"/>
                <a:gd name="T8" fmla="*/ 28 w 798"/>
                <a:gd name="T9" fmla="*/ 29 h 157"/>
                <a:gd name="T10" fmla="*/ 27 w 798"/>
                <a:gd name="T11" fmla="*/ 129 h 157"/>
                <a:gd name="T12" fmla="*/ 107 w 798"/>
                <a:gd name="T13" fmla="*/ 139 h 157"/>
                <a:gd name="T14" fmla="*/ 71 w 798"/>
                <a:gd name="T15" fmla="*/ 89 h 157"/>
                <a:gd name="T16" fmla="*/ 117 w 798"/>
                <a:gd name="T17" fmla="*/ 79 h 157"/>
                <a:gd name="T18" fmla="*/ 219 w 798"/>
                <a:gd name="T19" fmla="*/ 106 h 157"/>
                <a:gd name="T20" fmla="*/ 201 w 798"/>
                <a:gd name="T21" fmla="*/ 84 h 157"/>
                <a:gd name="T22" fmla="*/ 237 w 798"/>
                <a:gd name="T23" fmla="*/ 42 h 157"/>
                <a:gd name="T24" fmla="*/ 194 w 798"/>
                <a:gd name="T25" fmla="*/ 3 h 157"/>
                <a:gd name="T26" fmla="*/ 152 w 798"/>
                <a:gd name="T27" fmla="*/ 154 h 157"/>
                <a:gd name="T28" fmla="*/ 162 w 798"/>
                <a:gd name="T29" fmla="*/ 87 h 157"/>
                <a:gd name="T30" fmla="*/ 197 w 798"/>
                <a:gd name="T31" fmla="*/ 92 h 157"/>
                <a:gd name="T32" fmla="*/ 230 w 798"/>
                <a:gd name="T33" fmla="*/ 154 h 157"/>
                <a:gd name="T34" fmla="*/ 219 w 798"/>
                <a:gd name="T35" fmla="*/ 106 h 157"/>
                <a:gd name="T36" fmla="*/ 162 w 798"/>
                <a:gd name="T37" fmla="*/ 77 h 157"/>
                <a:gd name="T38" fmla="*/ 191 w 798"/>
                <a:gd name="T39" fmla="*/ 13 h 157"/>
                <a:gd name="T40" fmla="*/ 226 w 798"/>
                <a:gd name="T41" fmla="*/ 43 h 157"/>
                <a:gd name="T42" fmla="*/ 189 w 798"/>
                <a:gd name="T43" fmla="*/ 77 h 157"/>
                <a:gd name="T44" fmla="*/ 316 w 798"/>
                <a:gd name="T45" fmla="*/ 3 h 157"/>
                <a:gd name="T46" fmla="*/ 270 w 798"/>
                <a:gd name="T47" fmla="*/ 154 h 157"/>
                <a:gd name="T48" fmla="*/ 353 w 798"/>
                <a:gd name="T49" fmla="*/ 107 h 157"/>
                <a:gd name="T50" fmla="*/ 382 w 798"/>
                <a:gd name="T51" fmla="*/ 154 h 157"/>
                <a:gd name="T52" fmla="*/ 291 w 798"/>
                <a:gd name="T53" fmla="*/ 98 h 157"/>
                <a:gd name="T54" fmla="*/ 320 w 798"/>
                <a:gd name="T55" fmla="*/ 16 h 157"/>
                <a:gd name="T56" fmla="*/ 322 w 798"/>
                <a:gd name="T57" fmla="*/ 21 h 157"/>
                <a:gd name="T58" fmla="*/ 350 w 798"/>
                <a:gd name="T59" fmla="*/ 98 h 157"/>
                <a:gd name="T60" fmla="*/ 504 w 798"/>
                <a:gd name="T61" fmla="*/ 149 h 157"/>
                <a:gd name="T62" fmla="*/ 415 w 798"/>
                <a:gd name="T63" fmla="*/ 136 h 157"/>
                <a:gd name="T64" fmla="*/ 417 w 798"/>
                <a:gd name="T65" fmla="*/ 23 h 157"/>
                <a:gd name="T66" fmla="*/ 504 w 798"/>
                <a:gd name="T67" fmla="*/ 6 h 157"/>
                <a:gd name="T68" fmla="*/ 471 w 798"/>
                <a:gd name="T69" fmla="*/ 10 h 157"/>
                <a:gd name="T70" fmla="*/ 407 w 798"/>
                <a:gd name="T71" fmla="*/ 81 h 157"/>
                <a:gd name="T72" fmla="*/ 467 w 798"/>
                <a:gd name="T73" fmla="*/ 147 h 157"/>
                <a:gd name="T74" fmla="*/ 504 w 798"/>
                <a:gd name="T75" fmla="*/ 149 h 157"/>
                <a:gd name="T76" fmla="*/ 538 w 798"/>
                <a:gd name="T77" fmla="*/ 3 h 157"/>
                <a:gd name="T78" fmla="*/ 548 w 798"/>
                <a:gd name="T79" fmla="*/ 154 h 157"/>
                <a:gd name="T80" fmla="*/ 641 w 798"/>
                <a:gd name="T81" fmla="*/ 3 h 157"/>
                <a:gd name="T82" fmla="*/ 574 w 798"/>
                <a:gd name="T83" fmla="*/ 154 h 157"/>
                <a:gd name="T84" fmla="*/ 603 w 798"/>
                <a:gd name="T85" fmla="*/ 107 h 157"/>
                <a:gd name="T86" fmla="*/ 686 w 798"/>
                <a:gd name="T87" fmla="*/ 154 h 157"/>
                <a:gd name="T88" fmla="*/ 641 w 798"/>
                <a:gd name="T89" fmla="*/ 3 h 157"/>
                <a:gd name="T90" fmla="*/ 632 w 798"/>
                <a:gd name="T91" fmla="*/ 27 h 157"/>
                <a:gd name="T92" fmla="*/ 636 w 798"/>
                <a:gd name="T93" fmla="*/ 16 h 157"/>
                <a:gd name="T94" fmla="*/ 639 w 798"/>
                <a:gd name="T95" fmla="*/ 28 h 157"/>
                <a:gd name="T96" fmla="*/ 607 w 798"/>
                <a:gd name="T97" fmla="*/ 98 h 157"/>
                <a:gd name="T98" fmla="*/ 719 w 798"/>
                <a:gd name="T99" fmla="*/ 137 h 157"/>
                <a:gd name="T100" fmla="*/ 778 w 798"/>
                <a:gd name="T101" fmla="*/ 140 h 157"/>
                <a:gd name="T102" fmla="*/ 781 w 798"/>
                <a:gd name="T103" fmla="*/ 101 h 157"/>
                <a:gd name="T104" fmla="*/ 725 w 798"/>
                <a:gd name="T105" fmla="*/ 60 h 157"/>
                <a:gd name="T106" fmla="*/ 732 w 798"/>
                <a:gd name="T107" fmla="*/ 12 h 157"/>
                <a:gd name="T108" fmla="*/ 792 w 798"/>
                <a:gd name="T109" fmla="*/ 5 h 157"/>
                <a:gd name="T110" fmla="*/ 764 w 798"/>
                <a:gd name="T111" fmla="*/ 10 h 157"/>
                <a:gd name="T112" fmla="*/ 730 w 798"/>
                <a:gd name="T113" fmla="*/ 38 h 157"/>
                <a:gd name="T114" fmla="*/ 763 w 798"/>
                <a:gd name="T115" fmla="*/ 75 h 157"/>
                <a:gd name="T116" fmla="*/ 798 w 798"/>
                <a:gd name="T117" fmla="*/ 118 h 157"/>
                <a:gd name="T118" fmla="*/ 752 w 798"/>
                <a:gd name="T119" fmla="*/ 157 h 157"/>
                <a:gd name="T120" fmla="*/ 719 w 798"/>
                <a:gd name="T121"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157">
                  <a:moveTo>
                    <a:pt x="117" y="144"/>
                  </a:moveTo>
                  <a:cubicBezTo>
                    <a:pt x="101" y="153"/>
                    <a:pt x="85" y="157"/>
                    <a:pt x="69" y="157"/>
                  </a:cubicBezTo>
                  <a:cubicBezTo>
                    <a:pt x="48" y="157"/>
                    <a:pt x="32" y="150"/>
                    <a:pt x="19" y="136"/>
                  </a:cubicBezTo>
                  <a:cubicBezTo>
                    <a:pt x="6" y="122"/>
                    <a:pt x="0" y="104"/>
                    <a:pt x="0" y="81"/>
                  </a:cubicBezTo>
                  <a:cubicBezTo>
                    <a:pt x="0" y="58"/>
                    <a:pt x="7" y="39"/>
                    <a:pt x="20" y="23"/>
                  </a:cubicBezTo>
                  <a:cubicBezTo>
                    <a:pt x="34" y="8"/>
                    <a:pt x="52" y="0"/>
                    <a:pt x="75" y="0"/>
                  </a:cubicBezTo>
                  <a:cubicBezTo>
                    <a:pt x="89" y="0"/>
                    <a:pt x="101" y="3"/>
                    <a:pt x="114" y="8"/>
                  </a:cubicBezTo>
                  <a:cubicBezTo>
                    <a:pt x="114" y="20"/>
                    <a:pt x="114" y="20"/>
                    <a:pt x="114" y="20"/>
                  </a:cubicBezTo>
                  <a:cubicBezTo>
                    <a:pt x="100" y="13"/>
                    <a:pt x="87" y="10"/>
                    <a:pt x="74" y="10"/>
                  </a:cubicBezTo>
                  <a:cubicBezTo>
                    <a:pt x="55" y="10"/>
                    <a:pt x="39" y="16"/>
                    <a:pt x="28" y="29"/>
                  </a:cubicBezTo>
                  <a:cubicBezTo>
                    <a:pt x="16" y="43"/>
                    <a:pt x="10" y="59"/>
                    <a:pt x="10" y="79"/>
                  </a:cubicBezTo>
                  <a:cubicBezTo>
                    <a:pt x="10" y="101"/>
                    <a:pt x="16" y="117"/>
                    <a:pt x="27" y="129"/>
                  </a:cubicBezTo>
                  <a:cubicBezTo>
                    <a:pt x="38" y="141"/>
                    <a:pt x="52" y="147"/>
                    <a:pt x="71" y="147"/>
                  </a:cubicBezTo>
                  <a:cubicBezTo>
                    <a:pt x="84" y="147"/>
                    <a:pt x="96" y="144"/>
                    <a:pt x="107" y="139"/>
                  </a:cubicBezTo>
                  <a:cubicBezTo>
                    <a:pt x="107" y="89"/>
                    <a:pt x="107" y="89"/>
                    <a:pt x="107" y="89"/>
                  </a:cubicBezTo>
                  <a:cubicBezTo>
                    <a:pt x="71" y="89"/>
                    <a:pt x="71" y="89"/>
                    <a:pt x="71" y="89"/>
                  </a:cubicBezTo>
                  <a:cubicBezTo>
                    <a:pt x="71" y="79"/>
                    <a:pt x="71" y="79"/>
                    <a:pt x="71" y="79"/>
                  </a:cubicBezTo>
                  <a:cubicBezTo>
                    <a:pt x="117" y="79"/>
                    <a:pt x="117" y="79"/>
                    <a:pt x="117" y="79"/>
                  </a:cubicBezTo>
                  <a:lnTo>
                    <a:pt x="117" y="144"/>
                  </a:lnTo>
                  <a:close/>
                  <a:moveTo>
                    <a:pt x="219" y="106"/>
                  </a:moveTo>
                  <a:cubicBezTo>
                    <a:pt x="213" y="94"/>
                    <a:pt x="207" y="87"/>
                    <a:pt x="201" y="84"/>
                  </a:cubicBezTo>
                  <a:cubicBezTo>
                    <a:pt x="201" y="84"/>
                    <a:pt x="201" y="84"/>
                    <a:pt x="201" y="84"/>
                  </a:cubicBezTo>
                  <a:cubicBezTo>
                    <a:pt x="213" y="82"/>
                    <a:pt x="221" y="77"/>
                    <a:pt x="228" y="70"/>
                  </a:cubicBezTo>
                  <a:cubicBezTo>
                    <a:pt x="234" y="62"/>
                    <a:pt x="237" y="53"/>
                    <a:pt x="237" y="42"/>
                  </a:cubicBezTo>
                  <a:cubicBezTo>
                    <a:pt x="237" y="31"/>
                    <a:pt x="233" y="21"/>
                    <a:pt x="226" y="14"/>
                  </a:cubicBezTo>
                  <a:cubicBezTo>
                    <a:pt x="218" y="7"/>
                    <a:pt x="207" y="3"/>
                    <a:pt x="194" y="3"/>
                  </a:cubicBezTo>
                  <a:cubicBezTo>
                    <a:pt x="152" y="3"/>
                    <a:pt x="152" y="3"/>
                    <a:pt x="152" y="3"/>
                  </a:cubicBezTo>
                  <a:cubicBezTo>
                    <a:pt x="152" y="154"/>
                    <a:pt x="152" y="154"/>
                    <a:pt x="152" y="154"/>
                  </a:cubicBezTo>
                  <a:cubicBezTo>
                    <a:pt x="162" y="154"/>
                    <a:pt x="162" y="154"/>
                    <a:pt x="162" y="154"/>
                  </a:cubicBezTo>
                  <a:cubicBezTo>
                    <a:pt x="162" y="87"/>
                    <a:pt x="162" y="87"/>
                    <a:pt x="162" y="87"/>
                  </a:cubicBezTo>
                  <a:cubicBezTo>
                    <a:pt x="181" y="87"/>
                    <a:pt x="181" y="87"/>
                    <a:pt x="181" y="87"/>
                  </a:cubicBezTo>
                  <a:cubicBezTo>
                    <a:pt x="188" y="87"/>
                    <a:pt x="193" y="88"/>
                    <a:pt x="197" y="92"/>
                  </a:cubicBezTo>
                  <a:cubicBezTo>
                    <a:pt x="201" y="95"/>
                    <a:pt x="205" y="101"/>
                    <a:pt x="209" y="110"/>
                  </a:cubicBezTo>
                  <a:cubicBezTo>
                    <a:pt x="230" y="154"/>
                    <a:pt x="230" y="154"/>
                    <a:pt x="230" y="154"/>
                  </a:cubicBezTo>
                  <a:cubicBezTo>
                    <a:pt x="241" y="154"/>
                    <a:pt x="241" y="154"/>
                    <a:pt x="241" y="154"/>
                  </a:cubicBezTo>
                  <a:lnTo>
                    <a:pt x="219" y="106"/>
                  </a:lnTo>
                  <a:close/>
                  <a:moveTo>
                    <a:pt x="189" y="77"/>
                  </a:moveTo>
                  <a:cubicBezTo>
                    <a:pt x="162" y="77"/>
                    <a:pt x="162" y="77"/>
                    <a:pt x="162" y="77"/>
                  </a:cubicBezTo>
                  <a:cubicBezTo>
                    <a:pt x="162" y="13"/>
                    <a:pt x="162" y="13"/>
                    <a:pt x="162" y="13"/>
                  </a:cubicBezTo>
                  <a:cubicBezTo>
                    <a:pt x="191" y="13"/>
                    <a:pt x="191" y="13"/>
                    <a:pt x="191" y="13"/>
                  </a:cubicBezTo>
                  <a:cubicBezTo>
                    <a:pt x="202" y="13"/>
                    <a:pt x="211" y="15"/>
                    <a:pt x="217" y="21"/>
                  </a:cubicBezTo>
                  <a:cubicBezTo>
                    <a:pt x="223" y="26"/>
                    <a:pt x="226" y="34"/>
                    <a:pt x="226" y="43"/>
                  </a:cubicBezTo>
                  <a:cubicBezTo>
                    <a:pt x="226" y="54"/>
                    <a:pt x="223" y="62"/>
                    <a:pt x="216" y="68"/>
                  </a:cubicBezTo>
                  <a:cubicBezTo>
                    <a:pt x="209" y="74"/>
                    <a:pt x="200" y="77"/>
                    <a:pt x="189" y="77"/>
                  </a:cubicBezTo>
                  <a:close/>
                  <a:moveTo>
                    <a:pt x="326" y="3"/>
                  </a:moveTo>
                  <a:cubicBezTo>
                    <a:pt x="316" y="3"/>
                    <a:pt x="316" y="3"/>
                    <a:pt x="316" y="3"/>
                  </a:cubicBezTo>
                  <a:cubicBezTo>
                    <a:pt x="259" y="154"/>
                    <a:pt x="259" y="154"/>
                    <a:pt x="259" y="154"/>
                  </a:cubicBezTo>
                  <a:cubicBezTo>
                    <a:pt x="270" y="154"/>
                    <a:pt x="270" y="154"/>
                    <a:pt x="270" y="154"/>
                  </a:cubicBezTo>
                  <a:cubicBezTo>
                    <a:pt x="288" y="107"/>
                    <a:pt x="288" y="107"/>
                    <a:pt x="288" y="107"/>
                  </a:cubicBezTo>
                  <a:cubicBezTo>
                    <a:pt x="353" y="107"/>
                    <a:pt x="353" y="107"/>
                    <a:pt x="353" y="107"/>
                  </a:cubicBezTo>
                  <a:cubicBezTo>
                    <a:pt x="371" y="154"/>
                    <a:pt x="371" y="154"/>
                    <a:pt x="371" y="154"/>
                  </a:cubicBezTo>
                  <a:cubicBezTo>
                    <a:pt x="382" y="154"/>
                    <a:pt x="382" y="154"/>
                    <a:pt x="382" y="154"/>
                  </a:cubicBezTo>
                  <a:lnTo>
                    <a:pt x="326" y="3"/>
                  </a:lnTo>
                  <a:close/>
                  <a:moveTo>
                    <a:pt x="291" y="98"/>
                  </a:moveTo>
                  <a:cubicBezTo>
                    <a:pt x="317" y="27"/>
                    <a:pt x="317" y="27"/>
                    <a:pt x="317" y="27"/>
                  </a:cubicBezTo>
                  <a:cubicBezTo>
                    <a:pt x="318" y="25"/>
                    <a:pt x="319" y="21"/>
                    <a:pt x="320" y="16"/>
                  </a:cubicBezTo>
                  <a:cubicBezTo>
                    <a:pt x="321" y="16"/>
                    <a:pt x="321" y="16"/>
                    <a:pt x="321" y="16"/>
                  </a:cubicBezTo>
                  <a:cubicBezTo>
                    <a:pt x="321" y="18"/>
                    <a:pt x="322" y="20"/>
                    <a:pt x="322" y="21"/>
                  </a:cubicBezTo>
                  <a:cubicBezTo>
                    <a:pt x="323" y="23"/>
                    <a:pt x="323" y="26"/>
                    <a:pt x="324" y="28"/>
                  </a:cubicBezTo>
                  <a:cubicBezTo>
                    <a:pt x="350" y="98"/>
                    <a:pt x="350" y="98"/>
                    <a:pt x="350" y="98"/>
                  </a:cubicBezTo>
                  <a:lnTo>
                    <a:pt x="291" y="98"/>
                  </a:lnTo>
                  <a:close/>
                  <a:moveTo>
                    <a:pt x="504" y="149"/>
                  </a:moveTo>
                  <a:cubicBezTo>
                    <a:pt x="492" y="154"/>
                    <a:pt x="479" y="157"/>
                    <a:pt x="466" y="157"/>
                  </a:cubicBezTo>
                  <a:cubicBezTo>
                    <a:pt x="445" y="157"/>
                    <a:pt x="428" y="150"/>
                    <a:pt x="415" y="136"/>
                  </a:cubicBezTo>
                  <a:cubicBezTo>
                    <a:pt x="402" y="122"/>
                    <a:pt x="396" y="104"/>
                    <a:pt x="396" y="82"/>
                  </a:cubicBezTo>
                  <a:cubicBezTo>
                    <a:pt x="396" y="57"/>
                    <a:pt x="403" y="37"/>
                    <a:pt x="417" y="23"/>
                  </a:cubicBezTo>
                  <a:cubicBezTo>
                    <a:pt x="431" y="8"/>
                    <a:pt x="449" y="0"/>
                    <a:pt x="471" y="0"/>
                  </a:cubicBezTo>
                  <a:cubicBezTo>
                    <a:pt x="483" y="0"/>
                    <a:pt x="494" y="2"/>
                    <a:pt x="504" y="6"/>
                  </a:cubicBezTo>
                  <a:cubicBezTo>
                    <a:pt x="504" y="17"/>
                    <a:pt x="504" y="17"/>
                    <a:pt x="504" y="17"/>
                  </a:cubicBezTo>
                  <a:cubicBezTo>
                    <a:pt x="494" y="12"/>
                    <a:pt x="482" y="10"/>
                    <a:pt x="471" y="10"/>
                  </a:cubicBezTo>
                  <a:cubicBezTo>
                    <a:pt x="452" y="10"/>
                    <a:pt x="436" y="16"/>
                    <a:pt x="424" y="29"/>
                  </a:cubicBezTo>
                  <a:cubicBezTo>
                    <a:pt x="412" y="42"/>
                    <a:pt x="407" y="59"/>
                    <a:pt x="407" y="81"/>
                  </a:cubicBezTo>
                  <a:cubicBezTo>
                    <a:pt x="407" y="101"/>
                    <a:pt x="412" y="118"/>
                    <a:pt x="424" y="130"/>
                  </a:cubicBezTo>
                  <a:cubicBezTo>
                    <a:pt x="435" y="141"/>
                    <a:pt x="449" y="147"/>
                    <a:pt x="467" y="147"/>
                  </a:cubicBezTo>
                  <a:cubicBezTo>
                    <a:pt x="481" y="147"/>
                    <a:pt x="493" y="145"/>
                    <a:pt x="504" y="139"/>
                  </a:cubicBezTo>
                  <a:lnTo>
                    <a:pt x="504" y="149"/>
                  </a:lnTo>
                  <a:close/>
                  <a:moveTo>
                    <a:pt x="538" y="154"/>
                  </a:moveTo>
                  <a:cubicBezTo>
                    <a:pt x="538" y="3"/>
                    <a:pt x="538" y="3"/>
                    <a:pt x="538" y="3"/>
                  </a:cubicBezTo>
                  <a:cubicBezTo>
                    <a:pt x="548" y="3"/>
                    <a:pt x="548" y="3"/>
                    <a:pt x="548" y="3"/>
                  </a:cubicBezTo>
                  <a:cubicBezTo>
                    <a:pt x="548" y="154"/>
                    <a:pt x="548" y="154"/>
                    <a:pt x="548" y="154"/>
                  </a:cubicBezTo>
                  <a:lnTo>
                    <a:pt x="538" y="154"/>
                  </a:lnTo>
                  <a:close/>
                  <a:moveTo>
                    <a:pt x="641" y="3"/>
                  </a:moveTo>
                  <a:cubicBezTo>
                    <a:pt x="631" y="3"/>
                    <a:pt x="631" y="3"/>
                    <a:pt x="631" y="3"/>
                  </a:cubicBezTo>
                  <a:cubicBezTo>
                    <a:pt x="574" y="154"/>
                    <a:pt x="574" y="154"/>
                    <a:pt x="574" y="154"/>
                  </a:cubicBezTo>
                  <a:cubicBezTo>
                    <a:pt x="586" y="154"/>
                    <a:pt x="586" y="154"/>
                    <a:pt x="586" y="154"/>
                  </a:cubicBezTo>
                  <a:cubicBezTo>
                    <a:pt x="603" y="107"/>
                    <a:pt x="603" y="107"/>
                    <a:pt x="603" y="107"/>
                  </a:cubicBezTo>
                  <a:cubicBezTo>
                    <a:pt x="669" y="107"/>
                    <a:pt x="669" y="107"/>
                    <a:pt x="669" y="107"/>
                  </a:cubicBezTo>
                  <a:cubicBezTo>
                    <a:pt x="686" y="154"/>
                    <a:pt x="686" y="154"/>
                    <a:pt x="686" y="154"/>
                  </a:cubicBezTo>
                  <a:cubicBezTo>
                    <a:pt x="698" y="154"/>
                    <a:pt x="698" y="154"/>
                    <a:pt x="698" y="154"/>
                  </a:cubicBezTo>
                  <a:lnTo>
                    <a:pt x="641" y="3"/>
                  </a:lnTo>
                  <a:close/>
                  <a:moveTo>
                    <a:pt x="607" y="98"/>
                  </a:moveTo>
                  <a:cubicBezTo>
                    <a:pt x="632" y="27"/>
                    <a:pt x="632" y="27"/>
                    <a:pt x="632" y="27"/>
                  </a:cubicBezTo>
                  <a:cubicBezTo>
                    <a:pt x="633" y="25"/>
                    <a:pt x="634" y="21"/>
                    <a:pt x="636" y="16"/>
                  </a:cubicBezTo>
                  <a:cubicBezTo>
                    <a:pt x="636" y="16"/>
                    <a:pt x="636" y="16"/>
                    <a:pt x="636" y="16"/>
                  </a:cubicBezTo>
                  <a:cubicBezTo>
                    <a:pt x="637" y="18"/>
                    <a:pt x="637" y="20"/>
                    <a:pt x="638" y="21"/>
                  </a:cubicBezTo>
                  <a:cubicBezTo>
                    <a:pt x="638" y="23"/>
                    <a:pt x="639" y="26"/>
                    <a:pt x="639" y="28"/>
                  </a:cubicBezTo>
                  <a:cubicBezTo>
                    <a:pt x="665" y="98"/>
                    <a:pt x="665" y="98"/>
                    <a:pt x="665" y="98"/>
                  </a:cubicBezTo>
                  <a:lnTo>
                    <a:pt x="607" y="98"/>
                  </a:lnTo>
                  <a:close/>
                  <a:moveTo>
                    <a:pt x="719" y="149"/>
                  </a:moveTo>
                  <a:cubicBezTo>
                    <a:pt x="719" y="137"/>
                    <a:pt x="719" y="137"/>
                    <a:pt x="719" y="137"/>
                  </a:cubicBezTo>
                  <a:cubicBezTo>
                    <a:pt x="729" y="144"/>
                    <a:pt x="740" y="147"/>
                    <a:pt x="751" y="147"/>
                  </a:cubicBezTo>
                  <a:cubicBezTo>
                    <a:pt x="763" y="147"/>
                    <a:pt x="772" y="145"/>
                    <a:pt x="778" y="140"/>
                  </a:cubicBezTo>
                  <a:cubicBezTo>
                    <a:pt x="785" y="135"/>
                    <a:pt x="788" y="128"/>
                    <a:pt x="788" y="120"/>
                  </a:cubicBezTo>
                  <a:cubicBezTo>
                    <a:pt x="788" y="112"/>
                    <a:pt x="786" y="106"/>
                    <a:pt x="781" y="101"/>
                  </a:cubicBezTo>
                  <a:cubicBezTo>
                    <a:pt x="777" y="96"/>
                    <a:pt x="768" y="90"/>
                    <a:pt x="755" y="82"/>
                  </a:cubicBezTo>
                  <a:cubicBezTo>
                    <a:pt x="739" y="73"/>
                    <a:pt x="730" y="66"/>
                    <a:pt x="725" y="60"/>
                  </a:cubicBezTo>
                  <a:cubicBezTo>
                    <a:pt x="721" y="54"/>
                    <a:pt x="719" y="47"/>
                    <a:pt x="719" y="39"/>
                  </a:cubicBezTo>
                  <a:cubicBezTo>
                    <a:pt x="719" y="28"/>
                    <a:pt x="724" y="19"/>
                    <a:pt x="732" y="12"/>
                  </a:cubicBezTo>
                  <a:cubicBezTo>
                    <a:pt x="740" y="4"/>
                    <a:pt x="751" y="0"/>
                    <a:pt x="765" y="0"/>
                  </a:cubicBezTo>
                  <a:cubicBezTo>
                    <a:pt x="774" y="0"/>
                    <a:pt x="783" y="2"/>
                    <a:pt x="792" y="5"/>
                  </a:cubicBezTo>
                  <a:cubicBezTo>
                    <a:pt x="792" y="16"/>
                    <a:pt x="792" y="16"/>
                    <a:pt x="792" y="16"/>
                  </a:cubicBezTo>
                  <a:cubicBezTo>
                    <a:pt x="783" y="12"/>
                    <a:pt x="774" y="10"/>
                    <a:pt x="764" y="10"/>
                  </a:cubicBezTo>
                  <a:cubicBezTo>
                    <a:pt x="753" y="10"/>
                    <a:pt x="745" y="13"/>
                    <a:pt x="739" y="18"/>
                  </a:cubicBezTo>
                  <a:cubicBezTo>
                    <a:pt x="733" y="23"/>
                    <a:pt x="730" y="30"/>
                    <a:pt x="730" y="38"/>
                  </a:cubicBezTo>
                  <a:cubicBezTo>
                    <a:pt x="730" y="45"/>
                    <a:pt x="732" y="52"/>
                    <a:pt x="736" y="56"/>
                  </a:cubicBezTo>
                  <a:cubicBezTo>
                    <a:pt x="741" y="61"/>
                    <a:pt x="749" y="67"/>
                    <a:pt x="763" y="75"/>
                  </a:cubicBezTo>
                  <a:cubicBezTo>
                    <a:pt x="777" y="83"/>
                    <a:pt x="787" y="90"/>
                    <a:pt x="791" y="96"/>
                  </a:cubicBezTo>
                  <a:cubicBezTo>
                    <a:pt x="796" y="102"/>
                    <a:pt x="798" y="110"/>
                    <a:pt x="798" y="118"/>
                  </a:cubicBezTo>
                  <a:cubicBezTo>
                    <a:pt x="798" y="129"/>
                    <a:pt x="794" y="139"/>
                    <a:pt x="786" y="146"/>
                  </a:cubicBezTo>
                  <a:cubicBezTo>
                    <a:pt x="778" y="153"/>
                    <a:pt x="767" y="157"/>
                    <a:pt x="752" y="157"/>
                  </a:cubicBezTo>
                  <a:cubicBezTo>
                    <a:pt x="747" y="157"/>
                    <a:pt x="741" y="156"/>
                    <a:pt x="734" y="155"/>
                  </a:cubicBezTo>
                  <a:cubicBezTo>
                    <a:pt x="727" y="153"/>
                    <a:pt x="722" y="151"/>
                    <a:pt x="719" y="149"/>
                  </a:cubicBezTo>
                  <a:close/>
                </a:path>
              </a:pathLst>
            </a:custGeom>
            <a:solidFill>
              <a:srgbClr val="8761C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90000"/>
                    <a:lumOff val="10000"/>
                  </a:schemeClr>
                </a:solidFill>
                <a:effectLst/>
                <a:uLnTx/>
                <a:uFillTx/>
                <a:latin typeface="Segoe UI Semilight"/>
                <a:ea typeface="+mn-ea"/>
                <a:cs typeface="Segoe UI Semilight"/>
              </a:endParaRPr>
            </a:p>
          </p:txBody>
        </p:sp>
        <p:sp>
          <p:nvSpPr>
            <p:cNvPr id="16" name="Freeform 224">
              <a:extLst>
                <a:ext uri="{FF2B5EF4-FFF2-40B4-BE49-F238E27FC236}">
                  <a16:creationId xmlns:a16="http://schemas.microsoft.com/office/drawing/2014/main" id="{37E2696D-8573-7144-7DC8-B73756FD224D}"/>
                </a:ext>
                <a:ext uri="{C183D7F6-B498-43B3-948B-1728B52AA6E4}">
                  <adec:decorative xmlns:adec="http://schemas.microsoft.com/office/drawing/2017/decorative" val="1"/>
                </a:ext>
              </a:extLst>
            </p:cNvPr>
            <p:cNvSpPr>
              <a:spLocks noEditPoints="1"/>
            </p:cNvSpPr>
            <p:nvPr/>
          </p:nvSpPr>
          <p:spPr bwMode="auto">
            <a:xfrm>
              <a:off x="2076655" y="2719697"/>
              <a:ext cx="990269" cy="282567"/>
            </a:xfrm>
            <a:custGeom>
              <a:avLst/>
              <a:gdLst>
                <a:gd name="T0" fmla="*/ 8 w 326"/>
                <a:gd name="T1" fmla="*/ 48 h 93"/>
                <a:gd name="T2" fmla="*/ 6 w 326"/>
                <a:gd name="T3" fmla="*/ 46 h 93"/>
                <a:gd name="T4" fmla="*/ 0 w 326"/>
                <a:gd name="T5" fmla="*/ 91 h 93"/>
                <a:gd name="T6" fmla="*/ 6 w 326"/>
                <a:gd name="T7" fmla="*/ 1 h 93"/>
                <a:gd name="T8" fmla="*/ 6 w 326"/>
                <a:gd name="T9" fmla="*/ 43 h 93"/>
                <a:gd name="T10" fmla="*/ 44 w 326"/>
                <a:gd name="T11" fmla="*/ 1 h 93"/>
                <a:gd name="T12" fmla="*/ 13 w 326"/>
                <a:gd name="T13" fmla="*/ 45 h 93"/>
                <a:gd name="T14" fmla="*/ 46 w 326"/>
                <a:gd name="T15" fmla="*/ 91 h 93"/>
                <a:gd name="T16" fmla="*/ 68 w 326"/>
                <a:gd name="T17" fmla="*/ 1 h 93"/>
                <a:gd name="T18" fmla="*/ 74 w 326"/>
                <a:gd name="T19" fmla="*/ 91 h 93"/>
                <a:gd name="T20" fmla="*/ 97 w 326"/>
                <a:gd name="T21" fmla="*/ 91 h 93"/>
                <a:gd name="T22" fmla="*/ 103 w 326"/>
                <a:gd name="T23" fmla="*/ 1 h 93"/>
                <a:gd name="T24" fmla="*/ 97 w 326"/>
                <a:gd name="T25" fmla="*/ 91 h 93"/>
                <a:gd name="T26" fmla="*/ 151 w 326"/>
                <a:gd name="T27" fmla="*/ 91 h 93"/>
                <a:gd name="T28" fmla="*/ 144 w 326"/>
                <a:gd name="T29" fmla="*/ 7 h 93"/>
                <a:gd name="T30" fmla="*/ 119 w 326"/>
                <a:gd name="T31" fmla="*/ 1 h 93"/>
                <a:gd name="T32" fmla="*/ 177 w 326"/>
                <a:gd name="T33" fmla="*/ 7 h 93"/>
                <a:gd name="T34" fmla="*/ 251 w 326"/>
                <a:gd name="T35" fmla="*/ 12 h 93"/>
                <a:gd name="T36" fmla="*/ 190 w 326"/>
                <a:gd name="T37" fmla="*/ 12 h 93"/>
                <a:gd name="T38" fmla="*/ 190 w 326"/>
                <a:gd name="T39" fmla="*/ 80 h 93"/>
                <a:gd name="T40" fmla="*/ 251 w 326"/>
                <a:gd name="T41" fmla="*/ 80 h 93"/>
                <a:gd name="T42" fmla="*/ 251 w 326"/>
                <a:gd name="T43" fmla="*/ 12 h 93"/>
                <a:gd name="T44" fmla="*/ 220 w 326"/>
                <a:gd name="T45" fmla="*/ 87 h 93"/>
                <a:gd name="T46" fmla="*/ 185 w 326"/>
                <a:gd name="T47" fmla="*/ 46 h 93"/>
                <a:gd name="T48" fmla="*/ 221 w 326"/>
                <a:gd name="T49" fmla="*/ 5 h 93"/>
                <a:gd name="T50" fmla="*/ 256 w 326"/>
                <a:gd name="T51" fmla="*/ 46 h 93"/>
                <a:gd name="T52" fmla="*/ 278 w 326"/>
                <a:gd name="T53" fmla="*/ 88 h 93"/>
                <a:gd name="T54" fmla="*/ 298 w 326"/>
                <a:gd name="T55" fmla="*/ 87 h 93"/>
                <a:gd name="T56" fmla="*/ 319 w 326"/>
                <a:gd name="T57" fmla="*/ 70 h 93"/>
                <a:gd name="T58" fmla="*/ 300 w 326"/>
                <a:gd name="T59" fmla="*/ 48 h 93"/>
                <a:gd name="T60" fmla="*/ 279 w 326"/>
                <a:gd name="T61" fmla="*/ 22 h 93"/>
                <a:gd name="T62" fmla="*/ 306 w 326"/>
                <a:gd name="T63" fmla="*/ 0 h 93"/>
                <a:gd name="T64" fmla="*/ 322 w 326"/>
                <a:gd name="T65" fmla="*/ 9 h 93"/>
                <a:gd name="T66" fmla="*/ 291 w 326"/>
                <a:gd name="T67" fmla="*/ 10 h 93"/>
                <a:gd name="T68" fmla="*/ 289 w 326"/>
                <a:gd name="T69" fmla="*/ 33 h 93"/>
                <a:gd name="T70" fmla="*/ 321 w 326"/>
                <a:gd name="T71" fmla="*/ 56 h 93"/>
                <a:gd name="T72" fmla="*/ 318 w 326"/>
                <a:gd name="T73" fmla="*/ 86 h 93"/>
                <a:gd name="T74" fmla="*/ 287 w 326"/>
                <a:gd name="T75"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93">
                  <a:moveTo>
                    <a:pt x="46" y="91"/>
                  </a:moveTo>
                  <a:cubicBezTo>
                    <a:pt x="8" y="48"/>
                    <a:pt x="8" y="48"/>
                    <a:pt x="8" y="48"/>
                  </a:cubicBezTo>
                  <a:cubicBezTo>
                    <a:pt x="7" y="47"/>
                    <a:pt x="7" y="46"/>
                    <a:pt x="6" y="46"/>
                  </a:cubicBezTo>
                  <a:cubicBezTo>
                    <a:pt x="6" y="46"/>
                    <a:pt x="6" y="46"/>
                    <a:pt x="6" y="46"/>
                  </a:cubicBezTo>
                  <a:cubicBezTo>
                    <a:pt x="6" y="91"/>
                    <a:pt x="6" y="91"/>
                    <a:pt x="6" y="91"/>
                  </a:cubicBezTo>
                  <a:cubicBezTo>
                    <a:pt x="0" y="91"/>
                    <a:pt x="0" y="91"/>
                    <a:pt x="0" y="91"/>
                  </a:cubicBezTo>
                  <a:cubicBezTo>
                    <a:pt x="0" y="1"/>
                    <a:pt x="0" y="1"/>
                    <a:pt x="0" y="1"/>
                  </a:cubicBezTo>
                  <a:cubicBezTo>
                    <a:pt x="6" y="1"/>
                    <a:pt x="6" y="1"/>
                    <a:pt x="6" y="1"/>
                  </a:cubicBezTo>
                  <a:cubicBezTo>
                    <a:pt x="6" y="43"/>
                    <a:pt x="6" y="43"/>
                    <a:pt x="6" y="43"/>
                  </a:cubicBezTo>
                  <a:cubicBezTo>
                    <a:pt x="6" y="43"/>
                    <a:pt x="6" y="43"/>
                    <a:pt x="6" y="43"/>
                  </a:cubicBezTo>
                  <a:cubicBezTo>
                    <a:pt x="7" y="43"/>
                    <a:pt x="7" y="42"/>
                    <a:pt x="8" y="41"/>
                  </a:cubicBezTo>
                  <a:cubicBezTo>
                    <a:pt x="44" y="1"/>
                    <a:pt x="44" y="1"/>
                    <a:pt x="44" y="1"/>
                  </a:cubicBezTo>
                  <a:cubicBezTo>
                    <a:pt x="53" y="1"/>
                    <a:pt x="53" y="1"/>
                    <a:pt x="53" y="1"/>
                  </a:cubicBezTo>
                  <a:cubicBezTo>
                    <a:pt x="13" y="45"/>
                    <a:pt x="13" y="45"/>
                    <a:pt x="13" y="45"/>
                  </a:cubicBezTo>
                  <a:cubicBezTo>
                    <a:pt x="55" y="91"/>
                    <a:pt x="55" y="91"/>
                    <a:pt x="55" y="91"/>
                  </a:cubicBezTo>
                  <a:lnTo>
                    <a:pt x="46" y="91"/>
                  </a:lnTo>
                  <a:close/>
                  <a:moveTo>
                    <a:pt x="68" y="91"/>
                  </a:moveTo>
                  <a:cubicBezTo>
                    <a:pt x="68" y="1"/>
                    <a:pt x="68" y="1"/>
                    <a:pt x="68" y="1"/>
                  </a:cubicBezTo>
                  <a:cubicBezTo>
                    <a:pt x="74" y="1"/>
                    <a:pt x="74" y="1"/>
                    <a:pt x="74" y="1"/>
                  </a:cubicBezTo>
                  <a:cubicBezTo>
                    <a:pt x="74" y="91"/>
                    <a:pt x="74" y="91"/>
                    <a:pt x="74" y="91"/>
                  </a:cubicBezTo>
                  <a:lnTo>
                    <a:pt x="68" y="91"/>
                  </a:lnTo>
                  <a:close/>
                  <a:moveTo>
                    <a:pt x="97" y="91"/>
                  </a:moveTo>
                  <a:cubicBezTo>
                    <a:pt x="97" y="1"/>
                    <a:pt x="97" y="1"/>
                    <a:pt x="97" y="1"/>
                  </a:cubicBezTo>
                  <a:cubicBezTo>
                    <a:pt x="103" y="1"/>
                    <a:pt x="103" y="1"/>
                    <a:pt x="103" y="1"/>
                  </a:cubicBezTo>
                  <a:cubicBezTo>
                    <a:pt x="103" y="91"/>
                    <a:pt x="103" y="91"/>
                    <a:pt x="103" y="91"/>
                  </a:cubicBezTo>
                  <a:lnTo>
                    <a:pt x="97" y="91"/>
                  </a:lnTo>
                  <a:close/>
                  <a:moveTo>
                    <a:pt x="151" y="7"/>
                  </a:moveTo>
                  <a:cubicBezTo>
                    <a:pt x="151" y="91"/>
                    <a:pt x="151" y="91"/>
                    <a:pt x="151" y="91"/>
                  </a:cubicBezTo>
                  <a:cubicBezTo>
                    <a:pt x="144" y="91"/>
                    <a:pt x="144" y="91"/>
                    <a:pt x="144" y="91"/>
                  </a:cubicBezTo>
                  <a:cubicBezTo>
                    <a:pt x="144" y="7"/>
                    <a:pt x="144" y="7"/>
                    <a:pt x="144" y="7"/>
                  </a:cubicBezTo>
                  <a:cubicBezTo>
                    <a:pt x="119" y="7"/>
                    <a:pt x="119" y="7"/>
                    <a:pt x="119" y="7"/>
                  </a:cubicBezTo>
                  <a:cubicBezTo>
                    <a:pt x="119" y="1"/>
                    <a:pt x="119" y="1"/>
                    <a:pt x="119" y="1"/>
                  </a:cubicBezTo>
                  <a:cubicBezTo>
                    <a:pt x="177" y="1"/>
                    <a:pt x="177" y="1"/>
                    <a:pt x="177" y="1"/>
                  </a:cubicBezTo>
                  <a:cubicBezTo>
                    <a:pt x="177" y="7"/>
                    <a:pt x="177" y="7"/>
                    <a:pt x="177" y="7"/>
                  </a:cubicBezTo>
                  <a:lnTo>
                    <a:pt x="151" y="7"/>
                  </a:lnTo>
                  <a:close/>
                  <a:moveTo>
                    <a:pt x="251" y="12"/>
                  </a:moveTo>
                  <a:cubicBezTo>
                    <a:pt x="244" y="4"/>
                    <a:pt x="234" y="0"/>
                    <a:pt x="222" y="0"/>
                  </a:cubicBezTo>
                  <a:cubicBezTo>
                    <a:pt x="208" y="0"/>
                    <a:pt x="198" y="4"/>
                    <a:pt x="190" y="12"/>
                  </a:cubicBezTo>
                  <a:cubicBezTo>
                    <a:pt x="182" y="21"/>
                    <a:pt x="178" y="33"/>
                    <a:pt x="178" y="47"/>
                  </a:cubicBezTo>
                  <a:cubicBezTo>
                    <a:pt x="178" y="60"/>
                    <a:pt x="182" y="71"/>
                    <a:pt x="190" y="80"/>
                  </a:cubicBezTo>
                  <a:cubicBezTo>
                    <a:pt x="197" y="88"/>
                    <a:pt x="207" y="93"/>
                    <a:pt x="220" y="93"/>
                  </a:cubicBezTo>
                  <a:cubicBezTo>
                    <a:pt x="233" y="93"/>
                    <a:pt x="243" y="88"/>
                    <a:pt x="251" y="80"/>
                  </a:cubicBezTo>
                  <a:cubicBezTo>
                    <a:pt x="259" y="71"/>
                    <a:pt x="263" y="60"/>
                    <a:pt x="263" y="45"/>
                  </a:cubicBezTo>
                  <a:cubicBezTo>
                    <a:pt x="263" y="31"/>
                    <a:pt x="259" y="20"/>
                    <a:pt x="251" y="12"/>
                  </a:cubicBezTo>
                  <a:close/>
                  <a:moveTo>
                    <a:pt x="246" y="76"/>
                  </a:moveTo>
                  <a:cubicBezTo>
                    <a:pt x="240" y="83"/>
                    <a:pt x="231" y="87"/>
                    <a:pt x="220" y="87"/>
                  </a:cubicBezTo>
                  <a:cubicBezTo>
                    <a:pt x="209" y="87"/>
                    <a:pt x="201" y="83"/>
                    <a:pt x="194" y="76"/>
                  </a:cubicBezTo>
                  <a:cubicBezTo>
                    <a:pt x="188" y="69"/>
                    <a:pt x="185" y="59"/>
                    <a:pt x="185" y="46"/>
                  </a:cubicBezTo>
                  <a:cubicBezTo>
                    <a:pt x="185" y="34"/>
                    <a:pt x="188" y="24"/>
                    <a:pt x="195" y="17"/>
                  </a:cubicBezTo>
                  <a:cubicBezTo>
                    <a:pt x="202" y="9"/>
                    <a:pt x="210" y="5"/>
                    <a:pt x="221" y="5"/>
                  </a:cubicBezTo>
                  <a:cubicBezTo>
                    <a:pt x="232" y="5"/>
                    <a:pt x="240" y="9"/>
                    <a:pt x="247" y="16"/>
                  </a:cubicBezTo>
                  <a:cubicBezTo>
                    <a:pt x="253" y="23"/>
                    <a:pt x="256" y="33"/>
                    <a:pt x="256" y="46"/>
                  </a:cubicBezTo>
                  <a:cubicBezTo>
                    <a:pt x="256" y="59"/>
                    <a:pt x="253" y="69"/>
                    <a:pt x="246" y="76"/>
                  </a:cubicBezTo>
                  <a:close/>
                  <a:moveTo>
                    <a:pt x="278" y="88"/>
                  </a:moveTo>
                  <a:cubicBezTo>
                    <a:pt x="278" y="81"/>
                    <a:pt x="278" y="81"/>
                    <a:pt x="278" y="81"/>
                  </a:cubicBezTo>
                  <a:cubicBezTo>
                    <a:pt x="285" y="85"/>
                    <a:pt x="291" y="87"/>
                    <a:pt x="298" y="87"/>
                  </a:cubicBezTo>
                  <a:cubicBezTo>
                    <a:pt x="305" y="87"/>
                    <a:pt x="310" y="85"/>
                    <a:pt x="314" y="83"/>
                  </a:cubicBezTo>
                  <a:cubicBezTo>
                    <a:pt x="317" y="80"/>
                    <a:pt x="319" y="76"/>
                    <a:pt x="319" y="70"/>
                  </a:cubicBezTo>
                  <a:cubicBezTo>
                    <a:pt x="319" y="66"/>
                    <a:pt x="318" y="62"/>
                    <a:pt x="316" y="59"/>
                  </a:cubicBezTo>
                  <a:cubicBezTo>
                    <a:pt x="313" y="57"/>
                    <a:pt x="308" y="53"/>
                    <a:pt x="300" y="48"/>
                  </a:cubicBezTo>
                  <a:cubicBezTo>
                    <a:pt x="291" y="43"/>
                    <a:pt x="285" y="38"/>
                    <a:pt x="282" y="35"/>
                  </a:cubicBezTo>
                  <a:cubicBezTo>
                    <a:pt x="280" y="31"/>
                    <a:pt x="279" y="27"/>
                    <a:pt x="279" y="22"/>
                  </a:cubicBezTo>
                  <a:cubicBezTo>
                    <a:pt x="279" y="16"/>
                    <a:pt x="281" y="11"/>
                    <a:pt x="286" y="6"/>
                  </a:cubicBezTo>
                  <a:cubicBezTo>
                    <a:pt x="291" y="2"/>
                    <a:pt x="298" y="0"/>
                    <a:pt x="306" y="0"/>
                  </a:cubicBezTo>
                  <a:cubicBezTo>
                    <a:pt x="311" y="0"/>
                    <a:pt x="317" y="0"/>
                    <a:pt x="322" y="2"/>
                  </a:cubicBezTo>
                  <a:cubicBezTo>
                    <a:pt x="322" y="9"/>
                    <a:pt x="322" y="9"/>
                    <a:pt x="322" y="9"/>
                  </a:cubicBezTo>
                  <a:cubicBezTo>
                    <a:pt x="317" y="6"/>
                    <a:pt x="311" y="5"/>
                    <a:pt x="305" y="5"/>
                  </a:cubicBezTo>
                  <a:cubicBezTo>
                    <a:pt x="299" y="5"/>
                    <a:pt x="294" y="7"/>
                    <a:pt x="291" y="10"/>
                  </a:cubicBezTo>
                  <a:cubicBezTo>
                    <a:pt x="287" y="13"/>
                    <a:pt x="285" y="17"/>
                    <a:pt x="285" y="22"/>
                  </a:cubicBezTo>
                  <a:cubicBezTo>
                    <a:pt x="285" y="26"/>
                    <a:pt x="286" y="30"/>
                    <a:pt x="289" y="33"/>
                  </a:cubicBezTo>
                  <a:cubicBezTo>
                    <a:pt x="291" y="35"/>
                    <a:pt x="297" y="39"/>
                    <a:pt x="305" y="44"/>
                  </a:cubicBezTo>
                  <a:cubicBezTo>
                    <a:pt x="313" y="48"/>
                    <a:pt x="319" y="53"/>
                    <a:pt x="321" y="56"/>
                  </a:cubicBezTo>
                  <a:cubicBezTo>
                    <a:pt x="324" y="60"/>
                    <a:pt x="326" y="64"/>
                    <a:pt x="326" y="69"/>
                  </a:cubicBezTo>
                  <a:cubicBezTo>
                    <a:pt x="326" y="76"/>
                    <a:pt x="323" y="82"/>
                    <a:pt x="318" y="86"/>
                  </a:cubicBezTo>
                  <a:cubicBezTo>
                    <a:pt x="314" y="90"/>
                    <a:pt x="307" y="93"/>
                    <a:pt x="298" y="93"/>
                  </a:cubicBezTo>
                  <a:cubicBezTo>
                    <a:pt x="295" y="93"/>
                    <a:pt x="291" y="92"/>
                    <a:pt x="287" y="91"/>
                  </a:cubicBezTo>
                  <a:cubicBezTo>
                    <a:pt x="283" y="90"/>
                    <a:pt x="280" y="89"/>
                    <a:pt x="278" y="88"/>
                  </a:cubicBez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 name="Freeform 225">
              <a:extLst>
                <a:ext uri="{FF2B5EF4-FFF2-40B4-BE49-F238E27FC236}">
                  <a16:creationId xmlns:a16="http://schemas.microsoft.com/office/drawing/2014/main" id="{9EC1E724-B62E-F79C-E40B-A083B75AD60D}"/>
                </a:ext>
                <a:ext uri="{C183D7F6-B498-43B3-948B-1728B52AA6E4}">
                  <adec:decorative xmlns:adec="http://schemas.microsoft.com/office/drawing/2017/decorative" val="1"/>
                </a:ext>
              </a:extLst>
            </p:cNvPr>
            <p:cNvSpPr>
              <a:spLocks noEditPoints="1"/>
            </p:cNvSpPr>
            <p:nvPr/>
          </p:nvSpPr>
          <p:spPr bwMode="auto">
            <a:xfrm>
              <a:off x="7708982" y="4214803"/>
              <a:ext cx="1408983" cy="371217"/>
            </a:xfrm>
            <a:custGeom>
              <a:avLst/>
              <a:gdLst>
                <a:gd name="T0" fmla="*/ 39 w 581"/>
                <a:gd name="T1" fmla="*/ 0 h 153"/>
                <a:gd name="T2" fmla="*/ 0 w 581"/>
                <a:gd name="T3" fmla="*/ 153 h 153"/>
                <a:gd name="T4" fmla="*/ 95 w 581"/>
                <a:gd name="T5" fmla="*/ 131 h 153"/>
                <a:gd name="T6" fmla="*/ 96 w 581"/>
                <a:gd name="T7" fmla="*/ 19 h 153"/>
                <a:gd name="T8" fmla="*/ 35 w 581"/>
                <a:gd name="T9" fmla="*/ 143 h 153"/>
                <a:gd name="T10" fmla="*/ 11 w 581"/>
                <a:gd name="T11" fmla="*/ 9 h 153"/>
                <a:gd name="T12" fmla="*/ 105 w 581"/>
                <a:gd name="T13" fmla="*/ 75 h 153"/>
                <a:gd name="T14" fmla="*/ 184 w 581"/>
                <a:gd name="T15" fmla="*/ 0 h 153"/>
                <a:gd name="T16" fmla="*/ 116 w 581"/>
                <a:gd name="T17" fmla="*/ 153 h 153"/>
                <a:gd name="T18" fmla="*/ 145 w 581"/>
                <a:gd name="T19" fmla="*/ 105 h 153"/>
                <a:gd name="T20" fmla="*/ 229 w 581"/>
                <a:gd name="T21" fmla="*/ 153 h 153"/>
                <a:gd name="T22" fmla="*/ 184 w 581"/>
                <a:gd name="T23" fmla="*/ 0 h 153"/>
                <a:gd name="T24" fmla="*/ 174 w 581"/>
                <a:gd name="T25" fmla="*/ 24 h 153"/>
                <a:gd name="T26" fmla="*/ 178 w 581"/>
                <a:gd name="T27" fmla="*/ 13 h 153"/>
                <a:gd name="T28" fmla="*/ 182 w 581"/>
                <a:gd name="T29" fmla="*/ 25 h 153"/>
                <a:gd name="T30" fmla="*/ 149 w 581"/>
                <a:gd name="T31" fmla="*/ 95 h 153"/>
                <a:gd name="T32" fmla="*/ 271 w 581"/>
                <a:gd name="T33" fmla="*/ 29 h 153"/>
                <a:gd name="T34" fmla="*/ 264 w 581"/>
                <a:gd name="T35" fmla="*/ 19 h 153"/>
                <a:gd name="T36" fmla="*/ 264 w 581"/>
                <a:gd name="T37" fmla="*/ 26 h 153"/>
                <a:gd name="T38" fmla="*/ 254 w 581"/>
                <a:gd name="T39" fmla="*/ 153 h 153"/>
                <a:gd name="T40" fmla="*/ 262 w 581"/>
                <a:gd name="T41" fmla="*/ 0 h 153"/>
                <a:gd name="T42" fmla="*/ 359 w 581"/>
                <a:gd name="T43" fmla="*/ 132 h 153"/>
                <a:gd name="T44" fmla="*/ 359 w 581"/>
                <a:gd name="T45" fmla="*/ 119 h 153"/>
                <a:gd name="T46" fmla="*/ 369 w 581"/>
                <a:gd name="T47" fmla="*/ 0 h 153"/>
                <a:gd name="T48" fmla="*/ 362 w 581"/>
                <a:gd name="T49" fmla="*/ 153 h 153"/>
                <a:gd name="T50" fmla="*/ 409 w 581"/>
                <a:gd name="T51" fmla="*/ 80 h 153"/>
                <a:gd name="T52" fmla="*/ 406 w 581"/>
                <a:gd name="T53" fmla="*/ 76 h 153"/>
                <a:gd name="T54" fmla="*/ 395 w 581"/>
                <a:gd name="T55" fmla="*/ 153 h 153"/>
                <a:gd name="T56" fmla="*/ 406 w 581"/>
                <a:gd name="T57" fmla="*/ 0 h 153"/>
                <a:gd name="T58" fmla="*/ 406 w 581"/>
                <a:gd name="T59" fmla="*/ 72 h 153"/>
                <a:gd name="T60" fmla="*/ 471 w 581"/>
                <a:gd name="T61" fmla="*/ 0 h 153"/>
                <a:gd name="T62" fmla="*/ 418 w 581"/>
                <a:gd name="T63" fmla="*/ 74 h 153"/>
                <a:gd name="T64" fmla="*/ 474 w 581"/>
                <a:gd name="T65" fmla="*/ 153 h 153"/>
                <a:gd name="T66" fmla="*/ 506 w 581"/>
                <a:gd name="T67" fmla="*/ 0 h 153"/>
                <a:gd name="T68" fmla="*/ 578 w 581"/>
                <a:gd name="T69" fmla="*/ 9 h 153"/>
                <a:gd name="T70" fmla="*/ 517 w 581"/>
                <a:gd name="T71" fmla="*/ 71 h 153"/>
                <a:gd name="T72" fmla="*/ 573 w 581"/>
                <a:gd name="T73" fmla="*/ 80 h 153"/>
                <a:gd name="T74" fmla="*/ 517 w 581"/>
                <a:gd name="T75" fmla="*/ 143 h 153"/>
                <a:gd name="T76" fmla="*/ 581 w 581"/>
                <a:gd name="T7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1" h="153">
                  <a:moveTo>
                    <a:pt x="96" y="19"/>
                  </a:moveTo>
                  <a:cubicBezTo>
                    <a:pt x="83" y="6"/>
                    <a:pt x="64" y="0"/>
                    <a:pt x="39" y="0"/>
                  </a:cubicBezTo>
                  <a:cubicBezTo>
                    <a:pt x="0" y="0"/>
                    <a:pt x="0" y="0"/>
                    <a:pt x="0" y="0"/>
                  </a:cubicBezTo>
                  <a:cubicBezTo>
                    <a:pt x="0" y="153"/>
                    <a:pt x="0" y="153"/>
                    <a:pt x="0" y="153"/>
                  </a:cubicBezTo>
                  <a:cubicBezTo>
                    <a:pt x="36" y="153"/>
                    <a:pt x="36" y="153"/>
                    <a:pt x="36" y="153"/>
                  </a:cubicBezTo>
                  <a:cubicBezTo>
                    <a:pt x="61" y="153"/>
                    <a:pt x="81" y="146"/>
                    <a:pt x="95" y="131"/>
                  </a:cubicBezTo>
                  <a:cubicBezTo>
                    <a:pt x="109" y="116"/>
                    <a:pt x="116" y="97"/>
                    <a:pt x="116" y="74"/>
                  </a:cubicBezTo>
                  <a:cubicBezTo>
                    <a:pt x="116" y="50"/>
                    <a:pt x="110" y="31"/>
                    <a:pt x="96" y="19"/>
                  </a:cubicBezTo>
                  <a:close/>
                  <a:moveTo>
                    <a:pt x="87" y="126"/>
                  </a:moveTo>
                  <a:cubicBezTo>
                    <a:pt x="75" y="137"/>
                    <a:pt x="57" y="143"/>
                    <a:pt x="35" y="143"/>
                  </a:cubicBezTo>
                  <a:cubicBezTo>
                    <a:pt x="11" y="143"/>
                    <a:pt x="11" y="143"/>
                    <a:pt x="11" y="143"/>
                  </a:cubicBezTo>
                  <a:cubicBezTo>
                    <a:pt x="11" y="9"/>
                    <a:pt x="11" y="9"/>
                    <a:pt x="11" y="9"/>
                  </a:cubicBezTo>
                  <a:cubicBezTo>
                    <a:pt x="37" y="9"/>
                    <a:pt x="37" y="9"/>
                    <a:pt x="37" y="9"/>
                  </a:cubicBezTo>
                  <a:cubicBezTo>
                    <a:pt x="83" y="9"/>
                    <a:pt x="105" y="31"/>
                    <a:pt x="105" y="75"/>
                  </a:cubicBezTo>
                  <a:cubicBezTo>
                    <a:pt x="105" y="97"/>
                    <a:pt x="99" y="114"/>
                    <a:pt x="87" y="126"/>
                  </a:cubicBezTo>
                  <a:close/>
                  <a:moveTo>
                    <a:pt x="184" y="0"/>
                  </a:moveTo>
                  <a:cubicBezTo>
                    <a:pt x="174" y="0"/>
                    <a:pt x="174" y="0"/>
                    <a:pt x="174" y="0"/>
                  </a:cubicBezTo>
                  <a:cubicBezTo>
                    <a:pt x="116" y="153"/>
                    <a:pt x="116" y="153"/>
                    <a:pt x="116" y="153"/>
                  </a:cubicBezTo>
                  <a:cubicBezTo>
                    <a:pt x="127" y="153"/>
                    <a:pt x="127" y="153"/>
                    <a:pt x="127" y="153"/>
                  </a:cubicBezTo>
                  <a:cubicBezTo>
                    <a:pt x="145" y="105"/>
                    <a:pt x="145" y="105"/>
                    <a:pt x="145" y="105"/>
                  </a:cubicBezTo>
                  <a:cubicBezTo>
                    <a:pt x="211" y="105"/>
                    <a:pt x="211" y="105"/>
                    <a:pt x="211" y="105"/>
                  </a:cubicBezTo>
                  <a:cubicBezTo>
                    <a:pt x="229" y="153"/>
                    <a:pt x="229" y="153"/>
                    <a:pt x="229" y="153"/>
                  </a:cubicBezTo>
                  <a:cubicBezTo>
                    <a:pt x="241" y="153"/>
                    <a:pt x="241" y="153"/>
                    <a:pt x="241" y="153"/>
                  </a:cubicBezTo>
                  <a:lnTo>
                    <a:pt x="184" y="0"/>
                  </a:lnTo>
                  <a:close/>
                  <a:moveTo>
                    <a:pt x="149" y="95"/>
                  </a:moveTo>
                  <a:cubicBezTo>
                    <a:pt x="174" y="24"/>
                    <a:pt x="174" y="24"/>
                    <a:pt x="174" y="24"/>
                  </a:cubicBezTo>
                  <a:cubicBezTo>
                    <a:pt x="176" y="22"/>
                    <a:pt x="177" y="18"/>
                    <a:pt x="178" y="13"/>
                  </a:cubicBezTo>
                  <a:cubicBezTo>
                    <a:pt x="178" y="13"/>
                    <a:pt x="178" y="13"/>
                    <a:pt x="178" y="13"/>
                  </a:cubicBezTo>
                  <a:cubicBezTo>
                    <a:pt x="179" y="15"/>
                    <a:pt x="179" y="17"/>
                    <a:pt x="180" y="18"/>
                  </a:cubicBezTo>
                  <a:cubicBezTo>
                    <a:pt x="180" y="20"/>
                    <a:pt x="181" y="23"/>
                    <a:pt x="182" y="25"/>
                  </a:cubicBezTo>
                  <a:cubicBezTo>
                    <a:pt x="208" y="95"/>
                    <a:pt x="208" y="95"/>
                    <a:pt x="208" y="95"/>
                  </a:cubicBezTo>
                  <a:lnTo>
                    <a:pt x="149" y="95"/>
                  </a:lnTo>
                  <a:close/>
                  <a:moveTo>
                    <a:pt x="362" y="153"/>
                  </a:moveTo>
                  <a:cubicBezTo>
                    <a:pt x="271" y="29"/>
                    <a:pt x="271" y="29"/>
                    <a:pt x="271" y="29"/>
                  </a:cubicBezTo>
                  <a:cubicBezTo>
                    <a:pt x="269" y="27"/>
                    <a:pt x="267" y="24"/>
                    <a:pt x="266" y="22"/>
                  </a:cubicBezTo>
                  <a:cubicBezTo>
                    <a:pt x="264" y="19"/>
                    <a:pt x="264" y="19"/>
                    <a:pt x="264" y="19"/>
                  </a:cubicBezTo>
                  <a:cubicBezTo>
                    <a:pt x="264" y="19"/>
                    <a:pt x="264" y="19"/>
                    <a:pt x="264" y="19"/>
                  </a:cubicBezTo>
                  <a:cubicBezTo>
                    <a:pt x="264" y="21"/>
                    <a:pt x="264" y="24"/>
                    <a:pt x="264" y="26"/>
                  </a:cubicBezTo>
                  <a:cubicBezTo>
                    <a:pt x="264" y="153"/>
                    <a:pt x="264" y="153"/>
                    <a:pt x="264" y="153"/>
                  </a:cubicBezTo>
                  <a:cubicBezTo>
                    <a:pt x="254" y="153"/>
                    <a:pt x="254" y="153"/>
                    <a:pt x="254" y="153"/>
                  </a:cubicBezTo>
                  <a:cubicBezTo>
                    <a:pt x="254" y="0"/>
                    <a:pt x="254" y="0"/>
                    <a:pt x="254" y="0"/>
                  </a:cubicBezTo>
                  <a:cubicBezTo>
                    <a:pt x="262" y="0"/>
                    <a:pt x="262" y="0"/>
                    <a:pt x="262" y="0"/>
                  </a:cubicBezTo>
                  <a:cubicBezTo>
                    <a:pt x="352" y="122"/>
                    <a:pt x="352" y="122"/>
                    <a:pt x="352" y="122"/>
                  </a:cubicBezTo>
                  <a:cubicBezTo>
                    <a:pt x="354" y="125"/>
                    <a:pt x="356" y="128"/>
                    <a:pt x="359" y="132"/>
                  </a:cubicBezTo>
                  <a:cubicBezTo>
                    <a:pt x="359" y="132"/>
                    <a:pt x="359" y="132"/>
                    <a:pt x="359" y="132"/>
                  </a:cubicBezTo>
                  <a:cubicBezTo>
                    <a:pt x="359" y="127"/>
                    <a:pt x="359" y="123"/>
                    <a:pt x="359" y="119"/>
                  </a:cubicBezTo>
                  <a:cubicBezTo>
                    <a:pt x="359" y="0"/>
                    <a:pt x="359" y="0"/>
                    <a:pt x="359" y="0"/>
                  </a:cubicBezTo>
                  <a:cubicBezTo>
                    <a:pt x="369" y="0"/>
                    <a:pt x="369" y="0"/>
                    <a:pt x="369" y="0"/>
                  </a:cubicBezTo>
                  <a:cubicBezTo>
                    <a:pt x="369" y="153"/>
                    <a:pt x="369" y="153"/>
                    <a:pt x="369" y="153"/>
                  </a:cubicBezTo>
                  <a:lnTo>
                    <a:pt x="362" y="153"/>
                  </a:lnTo>
                  <a:close/>
                  <a:moveTo>
                    <a:pt x="474" y="153"/>
                  </a:moveTo>
                  <a:cubicBezTo>
                    <a:pt x="409" y="80"/>
                    <a:pt x="409" y="80"/>
                    <a:pt x="409" y="80"/>
                  </a:cubicBezTo>
                  <a:cubicBezTo>
                    <a:pt x="408" y="78"/>
                    <a:pt x="407" y="77"/>
                    <a:pt x="406" y="76"/>
                  </a:cubicBezTo>
                  <a:cubicBezTo>
                    <a:pt x="406" y="76"/>
                    <a:pt x="406" y="76"/>
                    <a:pt x="406" y="76"/>
                  </a:cubicBezTo>
                  <a:cubicBezTo>
                    <a:pt x="406" y="153"/>
                    <a:pt x="406" y="153"/>
                    <a:pt x="406" y="153"/>
                  </a:cubicBezTo>
                  <a:cubicBezTo>
                    <a:pt x="395" y="153"/>
                    <a:pt x="395" y="153"/>
                    <a:pt x="395" y="153"/>
                  </a:cubicBezTo>
                  <a:cubicBezTo>
                    <a:pt x="395" y="0"/>
                    <a:pt x="395" y="0"/>
                    <a:pt x="395" y="0"/>
                  </a:cubicBezTo>
                  <a:cubicBezTo>
                    <a:pt x="406" y="0"/>
                    <a:pt x="406" y="0"/>
                    <a:pt x="406" y="0"/>
                  </a:cubicBezTo>
                  <a:cubicBezTo>
                    <a:pt x="406" y="72"/>
                    <a:pt x="406" y="72"/>
                    <a:pt x="406" y="72"/>
                  </a:cubicBezTo>
                  <a:cubicBezTo>
                    <a:pt x="406" y="72"/>
                    <a:pt x="406" y="72"/>
                    <a:pt x="406" y="72"/>
                  </a:cubicBezTo>
                  <a:cubicBezTo>
                    <a:pt x="407" y="70"/>
                    <a:pt x="408" y="69"/>
                    <a:pt x="409" y="68"/>
                  </a:cubicBezTo>
                  <a:cubicBezTo>
                    <a:pt x="471" y="0"/>
                    <a:pt x="471" y="0"/>
                    <a:pt x="471" y="0"/>
                  </a:cubicBezTo>
                  <a:cubicBezTo>
                    <a:pt x="485" y="0"/>
                    <a:pt x="485" y="0"/>
                    <a:pt x="485" y="0"/>
                  </a:cubicBezTo>
                  <a:cubicBezTo>
                    <a:pt x="418" y="74"/>
                    <a:pt x="418" y="74"/>
                    <a:pt x="418" y="74"/>
                  </a:cubicBezTo>
                  <a:cubicBezTo>
                    <a:pt x="489" y="153"/>
                    <a:pt x="489" y="153"/>
                    <a:pt x="489" y="153"/>
                  </a:cubicBezTo>
                  <a:lnTo>
                    <a:pt x="474" y="153"/>
                  </a:lnTo>
                  <a:close/>
                  <a:moveTo>
                    <a:pt x="506" y="153"/>
                  </a:moveTo>
                  <a:cubicBezTo>
                    <a:pt x="506" y="0"/>
                    <a:pt x="506" y="0"/>
                    <a:pt x="506" y="0"/>
                  </a:cubicBezTo>
                  <a:cubicBezTo>
                    <a:pt x="578" y="0"/>
                    <a:pt x="578" y="0"/>
                    <a:pt x="578" y="0"/>
                  </a:cubicBezTo>
                  <a:cubicBezTo>
                    <a:pt x="578" y="9"/>
                    <a:pt x="578" y="9"/>
                    <a:pt x="578" y="9"/>
                  </a:cubicBezTo>
                  <a:cubicBezTo>
                    <a:pt x="517" y="9"/>
                    <a:pt x="517" y="9"/>
                    <a:pt x="517" y="9"/>
                  </a:cubicBezTo>
                  <a:cubicBezTo>
                    <a:pt x="517" y="71"/>
                    <a:pt x="517" y="71"/>
                    <a:pt x="517" y="71"/>
                  </a:cubicBezTo>
                  <a:cubicBezTo>
                    <a:pt x="573" y="71"/>
                    <a:pt x="573" y="71"/>
                    <a:pt x="573" y="71"/>
                  </a:cubicBezTo>
                  <a:cubicBezTo>
                    <a:pt x="573" y="80"/>
                    <a:pt x="573" y="80"/>
                    <a:pt x="573" y="80"/>
                  </a:cubicBezTo>
                  <a:cubicBezTo>
                    <a:pt x="517" y="80"/>
                    <a:pt x="517" y="80"/>
                    <a:pt x="517" y="80"/>
                  </a:cubicBezTo>
                  <a:cubicBezTo>
                    <a:pt x="517" y="143"/>
                    <a:pt x="517" y="143"/>
                    <a:pt x="517" y="143"/>
                  </a:cubicBezTo>
                  <a:cubicBezTo>
                    <a:pt x="581" y="143"/>
                    <a:pt x="581" y="143"/>
                    <a:pt x="581" y="143"/>
                  </a:cubicBezTo>
                  <a:cubicBezTo>
                    <a:pt x="581" y="153"/>
                    <a:pt x="581" y="153"/>
                    <a:pt x="581" y="153"/>
                  </a:cubicBezTo>
                  <a:lnTo>
                    <a:pt x="506" y="153"/>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8" name="Freeform 226">
              <a:extLst>
                <a:ext uri="{FF2B5EF4-FFF2-40B4-BE49-F238E27FC236}">
                  <a16:creationId xmlns:a16="http://schemas.microsoft.com/office/drawing/2014/main" id="{AB4897B4-0874-4CED-B0AB-08CF10F0F903}"/>
                </a:ext>
                <a:ext uri="{C183D7F6-B498-43B3-948B-1728B52AA6E4}">
                  <adec:decorative xmlns:adec="http://schemas.microsoft.com/office/drawing/2017/decorative" val="1"/>
                </a:ext>
              </a:extLst>
            </p:cNvPr>
            <p:cNvSpPr>
              <a:spLocks noEditPoints="1"/>
            </p:cNvSpPr>
            <p:nvPr/>
          </p:nvSpPr>
          <p:spPr bwMode="auto">
            <a:xfrm>
              <a:off x="5951530" y="2362867"/>
              <a:ext cx="629355" cy="292843"/>
            </a:xfrm>
            <a:custGeom>
              <a:avLst/>
              <a:gdLst>
                <a:gd name="T0" fmla="*/ 34 w 207"/>
                <a:gd name="T1" fmla="*/ 6 h 96"/>
                <a:gd name="T2" fmla="*/ 34 w 207"/>
                <a:gd name="T3" fmla="*/ 96 h 96"/>
                <a:gd name="T4" fmla="*/ 27 w 207"/>
                <a:gd name="T5" fmla="*/ 96 h 96"/>
                <a:gd name="T6" fmla="*/ 27 w 207"/>
                <a:gd name="T7" fmla="*/ 6 h 96"/>
                <a:gd name="T8" fmla="*/ 0 w 207"/>
                <a:gd name="T9" fmla="*/ 6 h 96"/>
                <a:gd name="T10" fmla="*/ 0 w 207"/>
                <a:gd name="T11" fmla="*/ 0 h 96"/>
                <a:gd name="T12" fmla="*/ 62 w 207"/>
                <a:gd name="T13" fmla="*/ 0 h 96"/>
                <a:gd name="T14" fmla="*/ 62 w 207"/>
                <a:gd name="T15" fmla="*/ 6 h 96"/>
                <a:gd name="T16" fmla="*/ 34 w 207"/>
                <a:gd name="T17" fmla="*/ 6 h 96"/>
                <a:gd name="T18" fmla="*/ 97 w 207"/>
                <a:gd name="T19" fmla="*/ 0 h 96"/>
                <a:gd name="T20" fmla="*/ 90 w 207"/>
                <a:gd name="T21" fmla="*/ 0 h 96"/>
                <a:gd name="T22" fmla="*/ 54 w 207"/>
                <a:gd name="T23" fmla="*/ 96 h 96"/>
                <a:gd name="T24" fmla="*/ 61 w 207"/>
                <a:gd name="T25" fmla="*/ 96 h 96"/>
                <a:gd name="T26" fmla="*/ 72 w 207"/>
                <a:gd name="T27" fmla="*/ 66 h 96"/>
                <a:gd name="T28" fmla="*/ 114 w 207"/>
                <a:gd name="T29" fmla="*/ 66 h 96"/>
                <a:gd name="T30" fmla="*/ 125 w 207"/>
                <a:gd name="T31" fmla="*/ 96 h 96"/>
                <a:gd name="T32" fmla="*/ 132 w 207"/>
                <a:gd name="T33" fmla="*/ 96 h 96"/>
                <a:gd name="T34" fmla="*/ 97 w 207"/>
                <a:gd name="T35" fmla="*/ 0 h 96"/>
                <a:gd name="T36" fmla="*/ 75 w 207"/>
                <a:gd name="T37" fmla="*/ 60 h 96"/>
                <a:gd name="T38" fmla="*/ 91 w 207"/>
                <a:gd name="T39" fmla="*/ 16 h 96"/>
                <a:gd name="T40" fmla="*/ 93 w 207"/>
                <a:gd name="T41" fmla="*/ 9 h 96"/>
                <a:gd name="T42" fmla="*/ 93 w 207"/>
                <a:gd name="T43" fmla="*/ 9 h 96"/>
                <a:gd name="T44" fmla="*/ 94 w 207"/>
                <a:gd name="T45" fmla="*/ 12 h 96"/>
                <a:gd name="T46" fmla="*/ 95 w 207"/>
                <a:gd name="T47" fmla="*/ 16 h 96"/>
                <a:gd name="T48" fmla="*/ 112 w 207"/>
                <a:gd name="T49" fmla="*/ 60 h 96"/>
                <a:gd name="T50" fmla="*/ 75 w 207"/>
                <a:gd name="T51" fmla="*/ 60 h 96"/>
                <a:gd name="T52" fmla="*/ 198 w 207"/>
                <a:gd name="T53" fmla="*/ 96 h 96"/>
                <a:gd name="T54" fmla="*/ 157 w 207"/>
                <a:gd name="T55" fmla="*/ 50 h 96"/>
                <a:gd name="T56" fmla="*/ 156 w 207"/>
                <a:gd name="T57" fmla="*/ 48 h 96"/>
                <a:gd name="T58" fmla="*/ 155 w 207"/>
                <a:gd name="T59" fmla="*/ 48 h 96"/>
                <a:gd name="T60" fmla="*/ 155 w 207"/>
                <a:gd name="T61" fmla="*/ 96 h 96"/>
                <a:gd name="T62" fmla="*/ 149 w 207"/>
                <a:gd name="T63" fmla="*/ 96 h 96"/>
                <a:gd name="T64" fmla="*/ 149 w 207"/>
                <a:gd name="T65" fmla="*/ 0 h 96"/>
                <a:gd name="T66" fmla="*/ 155 w 207"/>
                <a:gd name="T67" fmla="*/ 0 h 96"/>
                <a:gd name="T68" fmla="*/ 155 w 207"/>
                <a:gd name="T69" fmla="*/ 45 h 96"/>
                <a:gd name="T70" fmla="*/ 156 w 207"/>
                <a:gd name="T71" fmla="*/ 45 h 96"/>
                <a:gd name="T72" fmla="*/ 157 w 207"/>
                <a:gd name="T73" fmla="*/ 43 h 96"/>
                <a:gd name="T74" fmla="*/ 196 w 207"/>
                <a:gd name="T75" fmla="*/ 0 h 96"/>
                <a:gd name="T76" fmla="*/ 205 w 207"/>
                <a:gd name="T77" fmla="*/ 0 h 96"/>
                <a:gd name="T78" fmla="*/ 163 w 207"/>
                <a:gd name="T79" fmla="*/ 47 h 96"/>
                <a:gd name="T80" fmla="*/ 207 w 207"/>
                <a:gd name="T81" fmla="*/ 96 h 96"/>
                <a:gd name="T82" fmla="*/ 198 w 207"/>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7" h="96">
                  <a:moveTo>
                    <a:pt x="34" y="6"/>
                  </a:moveTo>
                  <a:cubicBezTo>
                    <a:pt x="34" y="96"/>
                    <a:pt x="34" y="96"/>
                    <a:pt x="34" y="96"/>
                  </a:cubicBezTo>
                  <a:cubicBezTo>
                    <a:pt x="27" y="96"/>
                    <a:pt x="27" y="96"/>
                    <a:pt x="27" y="96"/>
                  </a:cubicBezTo>
                  <a:cubicBezTo>
                    <a:pt x="27" y="6"/>
                    <a:pt x="27" y="6"/>
                    <a:pt x="27" y="6"/>
                  </a:cubicBezTo>
                  <a:cubicBezTo>
                    <a:pt x="0" y="6"/>
                    <a:pt x="0" y="6"/>
                    <a:pt x="0" y="6"/>
                  </a:cubicBezTo>
                  <a:cubicBezTo>
                    <a:pt x="0" y="0"/>
                    <a:pt x="0" y="0"/>
                    <a:pt x="0" y="0"/>
                  </a:cubicBezTo>
                  <a:cubicBezTo>
                    <a:pt x="62" y="0"/>
                    <a:pt x="62" y="0"/>
                    <a:pt x="62" y="0"/>
                  </a:cubicBezTo>
                  <a:cubicBezTo>
                    <a:pt x="62" y="6"/>
                    <a:pt x="62" y="6"/>
                    <a:pt x="62" y="6"/>
                  </a:cubicBezTo>
                  <a:lnTo>
                    <a:pt x="34" y="6"/>
                  </a:lnTo>
                  <a:close/>
                  <a:moveTo>
                    <a:pt x="97" y="0"/>
                  </a:moveTo>
                  <a:cubicBezTo>
                    <a:pt x="90" y="0"/>
                    <a:pt x="90" y="0"/>
                    <a:pt x="90" y="0"/>
                  </a:cubicBezTo>
                  <a:cubicBezTo>
                    <a:pt x="54" y="96"/>
                    <a:pt x="54" y="96"/>
                    <a:pt x="54" y="96"/>
                  </a:cubicBezTo>
                  <a:cubicBezTo>
                    <a:pt x="61" y="96"/>
                    <a:pt x="61" y="96"/>
                    <a:pt x="61" y="96"/>
                  </a:cubicBezTo>
                  <a:cubicBezTo>
                    <a:pt x="72" y="66"/>
                    <a:pt x="72" y="66"/>
                    <a:pt x="72" y="66"/>
                  </a:cubicBezTo>
                  <a:cubicBezTo>
                    <a:pt x="114" y="66"/>
                    <a:pt x="114" y="66"/>
                    <a:pt x="114" y="66"/>
                  </a:cubicBezTo>
                  <a:cubicBezTo>
                    <a:pt x="125" y="96"/>
                    <a:pt x="125" y="96"/>
                    <a:pt x="125" y="96"/>
                  </a:cubicBezTo>
                  <a:cubicBezTo>
                    <a:pt x="132" y="96"/>
                    <a:pt x="132" y="96"/>
                    <a:pt x="132" y="96"/>
                  </a:cubicBezTo>
                  <a:lnTo>
                    <a:pt x="97" y="0"/>
                  </a:lnTo>
                  <a:close/>
                  <a:moveTo>
                    <a:pt x="75" y="60"/>
                  </a:moveTo>
                  <a:cubicBezTo>
                    <a:pt x="91" y="16"/>
                    <a:pt x="91" y="16"/>
                    <a:pt x="91" y="16"/>
                  </a:cubicBezTo>
                  <a:cubicBezTo>
                    <a:pt x="92" y="14"/>
                    <a:pt x="92" y="12"/>
                    <a:pt x="93" y="9"/>
                  </a:cubicBezTo>
                  <a:cubicBezTo>
                    <a:pt x="93" y="9"/>
                    <a:pt x="93" y="9"/>
                    <a:pt x="93" y="9"/>
                  </a:cubicBezTo>
                  <a:cubicBezTo>
                    <a:pt x="94" y="10"/>
                    <a:pt x="94" y="11"/>
                    <a:pt x="94" y="12"/>
                  </a:cubicBezTo>
                  <a:cubicBezTo>
                    <a:pt x="95" y="13"/>
                    <a:pt x="95" y="15"/>
                    <a:pt x="95" y="16"/>
                  </a:cubicBezTo>
                  <a:cubicBezTo>
                    <a:pt x="112" y="60"/>
                    <a:pt x="112" y="60"/>
                    <a:pt x="112" y="60"/>
                  </a:cubicBezTo>
                  <a:lnTo>
                    <a:pt x="75" y="60"/>
                  </a:lnTo>
                  <a:close/>
                  <a:moveTo>
                    <a:pt x="198" y="96"/>
                  </a:moveTo>
                  <a:cubicBezTo>
                    <a:pt x="157" y="50"/>
                    <a:pt x="157" y="50"/>
                    <a:pt x="157" y="50"/>
                  </a:cubicBezTo>
                  <a:cubicBezTo>
                    <a:pt x="156" y="49"/>
                    <a:pt x="156" y="49"/>
                    <a:pt x="156" y="48"/>
                  </a:cubicBezTo>
                  <a:cubicBezTo>
                    <a:pt x="155" y="48"/>
                    <a:pt x="155" y="48"/>
                    <a:pt x="155" y="48"/>
                  </a:cubicBezTo>
                  <a:cubicBezTo>
                    <a:pt x="155" y="96"/>
                    <a:pt x="155" y="96"/>
                    <a:pt x="155" y="96"/>
                  </a:cubicBezTo>
                  <a:cubicBezTo>
                    <a:pt x="149" y="96"/>
                    <a:pt x="149" y="96"/>
                    <a:pt x="149" y="96"/>
                  </a:cubicBezTo>
                  <a:cubicBezTo>
                    <a:pt x="149" y="0"/>
                    <a:pt x="149" y="0"/>
                    <a:pt x="149" y="0"/>
                  </a:cubicBezTo>
                  <a:cubicBezTo>
                    <a:pt x="155" y="0"/>
                    <a:pt x="155" y="0"/>
                    <a:pt x="155" y="0"/>
                  </a:cubicBezTo>
                  <a:cubicBezTo>
                    <a:pt x="155" y="45"/>
                    <a:pt x="155" y="45"/>
                    <a:pt x="155" y="45"/>
                  </a:cubicBezTo>
                  <a:cubicBezTo>
                    <a:pt x="156" y="45"/>
                    <a:pt x="156" y="45"/>
                    <a:pt x="156" y="45"/>
                  </a:cubicBezTo>
                  <a:cubicBezTo>
                    <a:pt x="156" y="45"/>
                    <a:pt x="157" y="44"/>
                    <a:pt x="157" y="43"/>
                  </a:cubicBezTo>
                  <a:cubicBezTo>
                    <a:pt x="196" y="0"/>
                    <a:pt x="196" y="0"/>
                    <a:pt x="196" y="0"/>
                  </a:cubicBezTo>
                  <a:cubicBezTo>
                    <a:pt x="205" y="0"/>
                    <a:pt x="205" y="0"/>
                    <a:pt x="205" y="0"/>
                  </a:cubicBezTo>
                  <a:cubicBezTo>
                    <a:pt x="163" y="47"/>
                    <a:pt x="163" y="47"/>
                    <a:pt x="163" y="47"/>
                  </a:cubicBezTo>
                  <a:cubicBezTo>
                    <a:pt x="207" y="96"/>
                    <a:pt x="207" y="96"/>
                    <a:pt x="207" y="96"/>
                  </a:cubicBezTo>
                  <a:lnTo>
                    <a:pt x="198" y="96"/>
                  </a:ln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9" name="Freeform 227">
              <a:extLst>
                <a:ext uri="{FF2B5EF4-FFF2-40B4-BE49-F238E27FC236}">
                  <a16:creationId xmlns:a16="http://schemas.microsoft.com/office/drawing/2014/main" id="{DC91E3E9-1A25-49D0-5F65-106F429B8006}"/>
                </a:ext>
                <a:ext uri="{C183D7F6-B498-43B3-948B-1728B52AA6E4}">
                  <adec:decorative xmlns:adec="http://schemas.microsoft.com/office/drawing/2017/decorative" val="1"/>
                </a:ext>
              </a:extLst>
            </p:cNvPr>
            <p:cNvSpPr>
              <a:spLocks noEditPoints="1"/>
            </p:cNvSpPr>
            <p:nvPr/>
          </p:nvSpPr>
          <p:spPr bwMode="auto">
            <a:xfrm>
              <a:off x="6514730" y="1804137"/>
              <a:ext cx="1557973" cy="222200"/>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solidFill>
              <a:srgbClr val="EA424E"/>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0" name="Freeform 229">
              <a:extLst>
                <a:ext uri="{FF2B5EF4-FFF2-40B4-BE49-F238E27FC236}">
                  <a16:creationId xmlns:a16="http://schemas.microsoft.com/office/drawing/2014/main" id="{B66574FF-C293-B228-CF74-A679148F4391}"/>
                </a:ext>
                <a:ext uri="{C183D7F6-B498-43B3-948B-1728B52AA6E4}">
                  <adec:decorative xmlns:adec="http://schemas.microsoft.com/office/drawing/2017/decorative" val="1"/>
                </a:ext>
              </a:extLst>
            </p:cNvPr>
            <p:cNvSpPr>
              <a:spLocks noEditPoints="1"/>
            </p:cNvSpPr>
            <p:nvPr/>
          </p:nvSpPr>
          <p:spPr bwMode="auto">
            <a:xfrm rot="16200000">
              <a:off x="9594955" y="3334053"/>
              <a:ext cx="162367" cy="1082779"/>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solidFill>
              <a:srgbClr val="BB9575"/>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1" name="Freeform 230">
              <a:extLst>
                <a:ext uri="{FF2B5EF4-FFF2-40B4-BE49-F238E27FC236}">
                  <a16:creationId xmlns:a16="http://schemas.microsoft.com/office/drawing/2014/main" id="{F6341E86-9697-D970-30FB-452F76CE5B21}"/>
                </a:ext>
                <a:ext uri="{C183D7F6-B498-43B3-948B-1728B52AA6E4}">
                  <adec:decorative xmlns:adec="http://schemas.microsoft.com/office/drawing/2017/decorative" val="1"/>
                </a:ext>
              </a:extLst>
            </p:cNvPr>
            <p:cNvSpPr>
              <a:spLocks noEditPoints="1"/>
            </p:cNvSpPr>
            <p:nvPr/>
          </p:nvSpPr>
          <p:spPr bwMode="auto">
            <a:xfrm>
              <a:off x="9116212" y="1833507"/>
              <a:ext cx="1045498" cy="495776"/>
            </a:xfrm>
            <a:custGeom>
              <a:avLst/>
              <a:gdLst>
                <a:gd name="T0" fmla="*/ 38 w 344"/>
                <a:gd name="T1" fmla="*/ 56 h 163"/>
                <a:gd name="T2" fmla="*/ 50 w 344"/>
                <a:gd name="T3" fmla="*/ 114 h 163"/>
                <a:gd name="T4" fmla="*/ 20 w 344"/>
                <a:gd name="T5" fmla="*/ 136 h 163"/>
                <a:gd name="T6" fmla="*/ 0 w 344"/>
                <a:gd name="T7" fmla="*/ 54 h 163"/>
                <a:gd name="T8" fmla="*/ 38 w 344"/>
                <a:gd name="T9" fmla="*/ 29 h 163"/>
                <a:gd name="T10" fmla="*/ 16 w 344"/>
                <a:gd name="T11" fmla="*/ 7 h 163"/>
                <a:gd name="T12" fmla="*/ 93 w 344"/>
                <a:gd name="T13" fmla="*/ 23 h 163"/>
                <a:gd name="T14" fmla="*/ 76 w 344"/>
                <a:gd name="T15" fmla="*/ 14 h 163"/>
                <a:gd name="T16" fmla="*/ 45 w 344"/>
                <a:gd name="T17" fmla="*/ 97 h 163"/>
                <a:gd name="T18" fmla="*/ 61 w 344"/>
                <a:gd name="T19" fmla="*/ 136 h 163"/>
                <a:gd name="T20" fmla="*/ 94 w 344"/>
                <a:gd name="T21" fmla="*/ 107 h 163"/>
                <a:gd name="T22" fmla="*/ 71 w 344"/>
                <a:gd name="T23" fmla="*/ 150 h 163"/>
                <a:gd name="T24" fmla="*/ 94 w 344"/>
                <a:gd name="T25" fmla="*/ 161 h 163"/>
                <a:gd name="T26" fmla="*/ 107 w 344"/>
                <a:gd name="T27" fmla="*/ 23 h 163"/>
                <a:gd name="T28" fmla="*/ 94 w 344"/>
                <a:gd name="T29" fmla="*/ 98 h 163"/>
                <a:gd name="T30" fmla="*/ 94 w 344"/>
                <a:gd name="T31" fmla="*/ 73 h 163"/>
                <a:gd name="T32" fmla="*/ 94 w 344"/>
                <a:gd name="T33" fmla="*/ 47 h 163"/>
                <a:gd name="T34" fmla="*/ 137 w 344"/>
                <a:gd name="T35" fmla="*/ 2 h 163"/>
                <a:gd name="T36" fmla="*/ 146 w 344"/>
                <a:gd name="T37" fmla="*/ 46 h 163"/>
                <a:gd name="T38" fmla="*/ 163 w 344"/>
                <a:gd name="T39" fmla="*/ 52 h 163"/>
                <a:gd name="T40" fmla="*/ 132 w 344"/>
                <a:gd name="T41" fmla="*/ 162 h 163"/>
                <a:gd name="T42" fmla="*/ 113 w 344"/>
                <a:gd name="T43" fmla="*/ 145 h 163"/>
                <a:gd name="T44" fmla="*/ 126 w 344"/>
                <a:gd name="T45" fmla="*/ 52 h 163"/>
                <a:gd name="T46" fmla="*/ 123 w 344"/>
                <a:gd name="T47" fmla="*/ 85 h 163"/>
                <a:gd name="T48" fmla="*/ 122 w 344"/>
                <a:gd name="T49" fmla="*/ 110 h 163"/>
                <a:gd name="T50" fmla="*/ 113 w 344"/>
                <a:gd name="T51" fmla="*/ 70 h 163"/>
                <a:gd name="T52" fmla="*/ 217 w 344"/>
                <a:gd name="T53" fmla="*/ 56 h 163"/>
                <a:gd name="T54" fmla="*/ 229 w 344"/>
                <a:gd name="T55" fmla="*/ 114 h 163"/>
                <a:gd name="T56" fmla="*/ 199 w 344"/>
                <a:gd name="T57" fmla="*/ 136 h 163"/>
                <a:gd name="T58" fmla="*/ 179 w 344"/>
                <a:gd name="T59" fmla="*/ 54 h 163"/>
                <a:gd name="T60" fmla="*/ 217 w 344"/>
                <a:gd name="T61" fmla="*/ 29 h 163"/>
                <a:gd name="T62" fmla="*/ 195 w 344"/>
                <a:gd name="T63" fmla="*/ 7 h 163"/>
                <a:gd name="T64" fmla="*/ 272 w 344"/>
                <a:gd name="T65" fmla="*/ 23 h 163"/>
                <a:gd name="T66" fmla="*/ 255 w 344"/>
                <a:gd name="T67" fmla="*/ 14 h 163"/>
                <a:gd name="T68" fmla="*/ 224 w 344"/>
                <a:gd name="T69" fmla="*/ 97 h 163"/>
                <a:gd name="T70" fmla="*/ 240 w 344"/>
                <a:gd name="T71" fmla="*/ 136 h 163"/>
                <a:gd name="T72" fmla="*/ 273 w 344"/>
                <a:gd name="T73" fmla="*/ 107 h 163"/>
                <a:gd name="T74" fmla="*/ 250 w 344"/>
                <a:gd name="T75" fmla="*/ 150 h 163"/>
                <a:gd name="T76" fmla="*/ 273 w 344"/>
                <a:gd name="T77" fmla="*/ 161 h 163"/>
                <a:gd name="T78" fmla="*/ 286 w 344"/>
                <a:gd name="T79" fmla="*/ 23 h 163"/>
                <a:gd name="T80" fmla="*/ 273 w 344"/>
                <a:gd name="T81" fmla="*/ 98 h 163"/>
                <a:gd name="T82" fmla="*/ 273 w 344"/>
                <a:gd name="T83" fmla="*/ 73 h 163"/>
                <a:gd name="T84" fmla="*/ 273 w 344"/>
                <a:gd name="T85" fmla="*/ 47 h 163"/>
                <a:gd name="T86" fmla="*/ 316 w 344"/>
                <a:gd name="T87" fmla="*/ 2 h 163"/>
                <a:gd name="T88" fmla="*/ 325 w 344"/>
                <a:gd name="T89" fmla="*/ 46 h 163"/>
                <a:gd name="T90" fmla="*/ 342 w 344"/>
                <a:gd name="T91" fmla="*/ 52 h 163"/>
                <a:gd name="T92" fmla="*/ 311 w 344"/>
                <a:gd name="T93" fmla="*/ 162 h 163"/>
                <a:gd name="T94" fmla="*/ 292 w 344"/>
                <a:gd name="T95" fmla="*/ 145 h 163"/>
                <a:gd name="T96" fmla="*/ 305 w 344"/>
                <a:gd name="T97" fmla="*/ 52 h 163"/>
                <a:gd name="T98" fmla="*/ 302 w 344"/>
                <a:gd name="T99" fmla="*/ 85 h 163"/>
                <a:gd name="T100" fmla="*/ 301 w 344"/>
                <a:gd name="T101" fmla="*/ 110 h 163"/>
                <a:gd name="T102" fmla="*/ 292 w 344"/>
                <a:gd name="T103" fmla="*/ 7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4" h="163">
                  <a:moveTo>
                    <a:pt x="0" y="54"/>
                  </a:moveTo>
                  <a:cubicBezTo>
                    <a:pt x="5" y="56"/>
                    <a:pt x="11" y="56"/>
                    <a:pt x="20" y="56"/>
                  </a:cubicBezTo>
                  <a:cubicBezTo>
                    <a:pt x="22" y="56"/>
                    <a:pt x="22" y="56"/>
                    <a:pt x="22" y="56"/>
                  </a:cubicBezTo>
                  <a:cubicBezTo>
                    <a:pt x="29" y="48"/>
                    <a:pt x="29" y="48"/>
                    <a:pt x="29" y="48"/>
                  </a:cubicBezTo>
                  <a:cubicBezTo>
                    <a:pt x="33" y="51"/>
                    <a:pt x="36" y="54"/>
                    <a:pt x="38" y="56"/>
                  </a:cubicBezTo>
                  <a:cubicBezTo>
                    <a:pt x="38" y="57"/>
                    <a:pt x="39" y="58"/>
                    <a:pt x="39" y="58"/>
                  </a:cubicBezTo>
                  <a:cubicBezTo>
                    <a:pt x="39" y="59"/>
                    <a:pt x="36" y="61"/>
                    <a:pt x="31" y="64"/>
                  </a:cubicBezTo>
                  <a:cubicBezTo>
                    <a:pt x="31" y="130"/>
                    <a:pt x="31" y="130"/>
                    <a:pt x="31" y="130"/>
                  </a:cubicBezTo>
                  <a:cubicBezTo>
                    <a:pt x="33" y="128"/>
                    <a:pt x="35" y="127"/>
                    <a:pt x="37" y="126"/>
                  </a:cubicBezTo>
                  <a:cubicBezTo>
                    <a:pt x="42" y="121"/>
                    <a:pt x="47" y="118"/>
                    <a:pt x="50" y="114"/>
                  </a:cubicBezTo>
                  <a:cubicBezTo>
                    <a:pt x="51" y="117"/>
                    <a:pt x="51" y="117"/>
                    <a:pt x="51" y="117"/>
                  </a:cubicBezTo>
                  <a:cubicBezTo>
                    <a:pt x="49" y="121"/>
                    <a:pt x="46" y="125"/>
                    <a:pt x="43" y="128"/>
                  </a:cubicBezTo>
                  <a:cubicBezTo>
                    <a:pt x="40" y="133"/>
                    <a:pt x="37" y="137"/>
                    <a:pt x="33" y="141"/>
                  </a:cubicBezTo>
                  <a:cubicBezTo>
                    <a:pt x="33" y="146"/>
                    <a:pt x="32" y="149"/>
                    <a:pt x="31" y="149"/>
                  </a:cubicBezTo>
                  <a:cubicBezTo>
                    <a:pt x="30" y="149"/>
                    <a:pt x="27" y="145"/>
                    <a:pt x="20" y="136"/>
                  </a:cubicBezTo>
                  <a:cubicBezTo>
                    <a:pt x="22" y="136"/>
                    <a:pt x="23" y="135"/>
                    <a:pt x="24" y="134"/>
                  </a:cubicBezTo>
                  <a:cubicBezTo>
                    <a:pt x="24" y="61"/>
                    <a:pt x="24" y="61"/>
                    <a:pt x="24" y="61"/>
                  </a:cubicBezTo>
                  <a:cubicBezTo>
                    <a:pt x="20" y="61"/>
                    <a:pt x="20" y="61"/>
                    <a:pt x="20" y="61"/>
                  </a:cubicBezTo>
                  <a:cubicBezTo>
                    <a:pt x="11" y="61"/>
                    <a:pt x="5" y="61"/>
                    <a:pt x="3" y="62"/>
                  </a:cubicBezTo>
                  <a:cubicBezTo>
                    <a:pt x="0" y="54"/>
                    <a:pt x="0" y="54"/>
                    <a:pt x="0" y="54"/>
                  </a:cubicBezTo>
                  <a:cubicBezTo>
                    <a:pt x="0" y="54"/>
                    <a:pt x="0" y="54"/>
                    <a:pt x="0" y="54"/>
                  </a:cubicBezTo>
                  <a:close/>
                  <a:moveTo>
                    <a:pt x="18" y="5"/>
                  </a:moveTo>
                  <a:cubicBezTo>
                    <a:pt x="23" y="7"/>
                    <a:pt x="27" y="11"/>
                    <a:pt x="30" y="15"/>
                  </a:cubicBezTo>
                  <a:cubicBezTo>
                    <a:pt x="33" y="18"/>
                    <a:pt x="35" y="20"/>
                    <a:pt x="36" y="23"/>
                  </a:cubicBezTo>
                  <a:cubicBezTo>
                    <a:pt x="37" y="25"/>
                    <a:pt x="38" y="27"/>
                    <a:pt x="38" y="29"/>
                  </a:cubicBezTo>
                  <a:cubicBezTo>
                    <a:pt x="38" y="33"/>
                    <a:pt x="36" y="34"/>
                    <a:pt x="33" y="34"/>
                  </a:cubicBezTo>
                  <a:cubicBezTo>
                    <a:pt x="32" y="34"/>
                    <a:pt x="31" y="34"/>
                    <a:pt x="31" y="34"/>
                  </a:cubicBezTo>
                  <a:cubicBezTo>
                    <a:pt x="31" y="33"/>
                    <a:pt x="30" y="32"/>
                    <a:pt x="29" y="29"/>
                  </a:cubicBezTo>
                  <a:cubicBezTo>
                    <a:pt x="27" y="25"/>
                    <a:pt x="26" y="20"/>
                    <a:pt x="24" y="17"/>
                  </a:cubicBezTo>
                  <a:cubicBezTo>
                    <a:pt x="22" y="14"/>
                    <a:pt x="19" y="11"/>
                    <a:pt x="16" y="7"/>
                  </a:cubicBezTo>
                  <a:cubicBezTo>
                    <a:pt x="18" y="5"/>
                    <a:pt x="18" y="5"/>
                    <a:pt x="18" y="5"/>
                  </a:cubicBezTo>
                  <a:cubicBezTo>
                    <a:pt x="18" y="5"/>
                    <a:pt x="18" y="5"/>
                    <a:pt x="18" y="5"/>
                  </a:cubicBezTo>
                  <a:close/>
                  <a:moveTo>
                    <a:pt x="107" y="23"/>
                  </a:moveTo>
                  <a:cubicBezTo>
                    <a:pt x="106" y="20"/>
                    <a:pt x="103" y="18"/>
                    <a:pt x="98" y="16"/>
                  </a:cubicBezTo>
                  <a:cubicBezTo>
                    <a:pt x="98" y="16"/>
                    <a:pt x="98" y="16"/>
                    <a:pt x="93" y="23"/>
                  </a:cubicBezTo>
                  <a:cubicBezTo>
                    <a:pt x="93" y="23"/>
                    <a:pt x="93" y="23"/>
                    <a:pt x="76" y="23"/>
                  </a:cubicBezTo>
                  <a:cubicBezTo>
                    <a:pt x="80" y="19"/>
                    <a:pt x="83" y="14"/>
                    <a:pt x="85" y="9"/>
                  </a:cubicBezTo>
                  <a:cubicBezTo>
                    <a:pt x="90" y="9"/>
                    <a:pt x="94" y="9"/>
                    <a:pt x="94" y="7"/>
                  </a:cubicBezTo>
                  <a:cubicBezTo>
                    <a:pt x="94" y="5"/>
                    <a:pt x="88" y="3"/>
                    <a:pt x="77" y="0"/>
                  </a:cubicBezTo>
                  <a:cubicBezTo>
                    <a:pt x="77" y="6"/>
                    <a:pt x="76" y="10"/>
                    <a:pt x="76" y="14"/>
                  </a:cubicBezTo>
                  <a:cubicBezTo>
                    <a:pt x="75" y="16"/>
                    <a:pt x="74" y="20"/>
                    <a:pt x="73" y="23"/>
                  </a:cubicBezTo>
                  <a:cubicBezTo>
                    <a:pt x="73" y="23"/>
                    <a:pt x="73" y="23"/>
                    <a:pt x="70" y="23"/>
                  </a:cubicBezTo>
                  <a:cubicBezTo>
                    <a:pt x="70" y="23"/>
                    <a:pt x="70" y="23"/>
                    <a:pt x="60" y="18"/>
                  </a:cubicBezTo>
                  <a:cubicBezTo>
                    <a:pt x="60" y="18"/>
                    <a:pt x="60" y="18"/>
                    <a:pt x="60" y="98"/>
                  </a:cubicBezTo>
                  <a:cubicBezTo>
                    <a:pt x="54" y="98"/>
                    <a:pt x="49" y="98"/>
                    <a:pt x="45" y="97"/>
                  </a:cubicBezTo>
                  <a:cubicBezTo>
                    <a:pt x="45" y="97"/>
                    <a:pt x="45" y="97"/>
                    <a:pt x="48" y="105"/>
                  </a:cubicBezTo>
                  <a:cubicBezTo>
                    <a:pt x="50" y="104"/>
                    <a:pt x="56" y="104"/>
                    <a:pt x="65" y="104"/>
                  </a:cubicBezTo>
                  <a:cubicBezTo>
                    <a:pt x="65" y="104"/>
                    <a:pt x="65" y="104"/>
                    <a:pt x="87" y="104"/>
                  </a:cubicBezTo>
                  <a:cubicBezTo>
                    <a:pt x="83" y="111"/>
                    <a:pt x="79" y="116"/>
                    <a:pt x="75" y="122"/>
                  </a:cubicBezTo>
                  <a:cubicBezTo>
                    <a:pt x="71" y="127"/>
                    <a:pt x="66" y="132"/>
                    <a:pt x="61" y="136"/>
                  </a:cubicBezTo>
                  <a:cubicBezTo>
                    <a:pt x="56" y="142"/>
                    <a:pt x="49" y="148"/>
                    <a:pt x="40" y="154"/>
                  </a:cubicBezTo>
                  <a:cubicBezTo>
                    <a:pt x="40" y="154"/>
                    <a:pt x="40" y="154"/>
                    <a:pt x="42" y="156"/>
                  </a:cubicBezTo>
                  <a:cubicBezTo>
                    <a:pt x="51" y="151"/>
                    <a:pt x="60" y="145"/>
                    <a:pt x="66" y="141"/>
                  </a:cubicBezTo>
                  <a:cubicBezTo>
                    <a:pt x="72" y="135"/>
                    <a:pt x="78" y="129"/>
                    <a:pt x="84" y="123"/>
                  </a:cubicBezTo>
                  <a:cubicBezTo>
                    <a:pt x="87" y="119"/>
                    <a:pt x="91" y="113"/>
                    <a:pt x="94" y="107"/>
                  </a:cubicBezTo>
                  <a:cubicBezTo>
                    <a:pt x="94" y="107"/>
                    <a:pt x="94" y="107"/>
                    <a:pt x="94" y="143"/>
                  </a:cubicBezTo>
                  <a:cubicBezTo>
                    <a:pt x="94" y="145"/>
                    <a:pt x="94" y="148"/>
                    <a:pt x="92" y="148"/>
                  </a:cubicBezTo>
                  <a:cubicBezTo>
                    <a:pt x="92" y="149"/>
                    <a:pt x="89" y="149"/>
                    <a:pt x="87" y="149"/>
                  </a:cubicBezTo>
                  <a:cubicBezTo>
                    <a:pt x="82" y="149"/>
                    <a:pt x="77" y="148"/>
                    <a:pt x="71" y="146"/>
                  </a:cubicBezTo>
                  <a:cubicBezTo>
                    <a:pt x="71" y="146"/>
                    <a:pt x="71" y="146"/>
                    <a:pt x="71" y="150"/>
                  </a:cubicBezTo>
                  <a:cubicBezTo>
                    <a:pt x="75" y="151"/>
                    <a:pt x="78" y="152"/>
                    <a:pt x="81" y="153"/>
                  </a:cubicBezTo>
                  <a:cubicBezTo>
                    <a:pt x="83" y="154"/>
                    <a:pt x="85" y="155"/>
                    <a:pt x="87" y="156"/>
                  </a:cubicBezTo>
                  <a:cubicBezTo>
                    <a:pt x="87" y="157"/>
                    <a:pt x="87" y="158"/>
                    <a:pt x="87" y="159"/>
                  </a:cubicBezTo>
                  <a:cubicBezTo>
                    <a:pt x="87" y="159"/>
                    <a:pt x="87" y="159"/>
                    <a:pt x="88" y="163"/>
                  </a:cubicBezTo>
                  <a:cubicBezTo>
                    <a:pt x="89" y="163"/>
                    <a:pt x="92" y="162"/>
                    <a:pt x="94" y="161"/>
                  </a:cubicBezTo>
                  <a:cubicBezTo>
                    <a:pt x="96" y="159"/>
                    <a:pt x="98" y="158"/>
                    <a:pt x="99" y="156"/>
                  </a:cubicBezTo>
                  <a:cubicBezTo>
                    <a:pt x="101" y="154"/>
                    <a:pt x="102" y="151"/>
                    <a:pt x="102" y="147"/>
                  </a:cubicBezTo>
                  <a:cubicBezTo>
                    <a:pt x="102" y="147"/>
                    <a:pt x="102" y="147"/>
                    <a:pt x="102" y="31"/>
                  </a:cubicBezTo>
                  <a:cubicBezTo>
                    <a:pt x="107" y="28"/>
                    <a:pt x="109" y="26"/>
                    <a:pt x="109" y="25"/>
                  </a:cubicBezTo>
                  <a:cubicBezTo>
                    <a:pt x="109" y="25"/>
                    <a:pt x="109" y="24"/>
                    <a:pt x="107" y="23"/>
                  </a:cubicBezTo>
                  <a:close/>
                  <a:moveTo>
                    <a:pt x="94" y="98"/>
                  </a:moveTo>
                  <a:cubicBezTo>
                    <a:pt x="94" y="98"/>
                    <a:pt x="94" y="98"/>
                    <a:pt x="68" y="98"/>
                  </a:cubicBezTo>
                  <a:cubicBezTo>
                    <a:pt x="68" y="78"/>
                    <a:pt x="68" y="78"/>
                    <a:pt x="68" y="78"/>
                  </a:cubicBezTo>
                  <a:cubicBezTo>
                    <a:pt x="68" y="78"/>
                    <a:pt x="68" y="78"/>
                    <a:pt x="94" y="78"/>
                  </a:cubicBezTo>
                  <a:cubicBezTo>
                    <a:pt x="94" y="78"/>
                    <a:pt x="94" y="78"/>
                    <a:pt x="94" y="98"/>
                  </a:cubicBezTo>
                  <a:close/>
                  <a:moveTo>
                    <a:pt x="94" y="73"/>
                  </a:moveTo>
                  <a:cubicBezTo>
                    <a:pt x="94" y="73"/>
                    <a:pt x="94" y="73"/>
                    <a:pt x="68" y="73"/>
                  </a:cubicBezTo>
                  <a:cubicBezTo>
                    <a:pt x="68" y="52"/>
                    <a:pt x="68" y="52"/>
                    <a:pt x="68" y="52"/>
                  </a:cubicBezTo>
                  <a:cubicBezTo>
                    <a:pt x="68" y="52"/>
                    <a:pt x="68" y="52"/>
                    <a:pt x="94" y="52"/>
                  </a:cubicBezTo>
                  <a:cubicBezTo>
                    <a:pt x="94" y="52"/>
                    <a:pt x="94" y="52"/>
                    <a:pt x="94" y="73"/>
                  </a:cubicBezTo>
                  <a:close/>
                  <a:moveTo>
                    <a:pt x="94" y="47"/>
                  </a:moveTo>
                  <a:cubicBezTo>
                    <a:pt x="94" y="47"/>
                    <a:pt x="94" y="47"/>
                    <a:pt x="68" y="47"/>
                  </a:cubicBezTo>
                  <a:cubicBezTo>
                    <a:pt x="68" y="28"/>
                    <a:pt x="68" y="28"/>
                    <a:pt x="68" y="28"/>
                  </a:cubicBezTo>
                  <a:cubicBezTo>
                    <a:pt x="68" y="28"/>
                    <a:pt x="68" y="28"/>
                    <a:pt x="94" y="28"/>
                  </a:cubicBezTo>
                  <a:cubicBezTo>
                    <a:pt x="94" y="28"/>
                    <a:pt x="94" y="28"/>
                    <a:pt x="94" y="47"/>
                  </a:cubicBezTo>
                  <a:close/>
                  <a:moveTo>
                    <a:pt x="105" y="44"/>
                  </a:moveTo>
                  <a:cubicBezTo>
                    <a:pt x="110" y="45"/>
                    <a:pt x="117" y="46"/>
                    <a:pt x="126" y="46"/>
                  </a:cubicBezTo>
                  <a:cubicBezTo>
                    <a:pt x="138" y="46"/>
                    <a:pt x="138" y="46"/>
                    <a:pt x="138" y="46"/>
                  </a:cubicBezTo>
                  <a:cubicBezTo>
                    <a:pt x="138" y="16"/>
                    <a:pt x="138" y="16"/>
                    <a:pt x="138" y="16"/>
                  </a:cubicBezTo>
                  <a:cubicBezTo>
                    <a:pt x="138" y="9"/>
                    <a:pt x="137" y="5"/>
                    <a:pt x="137" y="2"/>
                  </a:cubicBezTo>
                  <a:cubicBezTo>
                    <a:pt x="143" y="3"/>
                    <a:pt x="149" y="5"/>
                    <a:pt x="154" y="7"/>
                  </a:cubicBezTo>
                  <a:cubicBezTo>
                    <a:pt x="155" y="7"/>
                    <a:pt x="156" y="7"/>
                    <a:pt x="156" y="8"/>
                  </a:cubicBezTo>
                  <a:cubicBezTo>
                    <a:pt x="156" y="9"/>
                    <a:pt x="155" y="10"/>
                    <a:pt x="154" y="11"/>
                  </a:cubicBezTo>
                  <a:cubicBezTo>
                    <a:pt x="151" y="12"/>
                    <a:pt x="149" y="12"/>
                    <a:pt x="146" y="13"/>
                  </a:cubicBezTo>
                  <a:cubicBezTo>
                    <a:pt x="146" y="46"/>
                    <a:pt x="146" y="46"/>
                    <a:pt x="146" y="46"/>
                  </a:cubicBezTo>
                  <a:cubicBezTo>
                    <a:pt x="147" y="46"/>
                    <a:pt x="147" y="46"/>
                    <a:pt x="147" y="46"/>
                  </a:cubicBezTo>
                  <a:cubicBezTo>
                    <a:pt x="154" y="38"/>
                    <a:pt x="154" y="38"/>
                    <a:pt x="154" y="38"/>
                  </a:cubicBezTo>
                  <a:cubicBezTo>
                    <a:pt x="158" y="41"/>
                    <a:pt x="161" y="44"/>
                    <a:pt x="164" y="47"/>
                  </a:cubicBezTo>
                  <a:cubicBezTo>
                    <a:pt x="165" y="47"/>
                    <a:pt x="165" y="47"/>
                    <a:pt x="165" y="48"/>
                  </a:cubicBezTo>
                  <a:cubicBezTo>
                    <a:pt x="165" y="50"/>
                    <a:pt x="165" y="52"/>
                    <a:pt x="163" y="52"/>
                  </a:cubicBezTo>
                  <a:cubicBezTo>
                    <a:pt x="146" y="52"/>
                    <a:pt x="146" y="52"/>
                    <a:pt x="146" y="52"/>
                  </a:cubicBezTo>
                  <a:cubicBezTo>
                    <a:pt x="146" y="146"/>
                    <a:pt x="146" y="146"/>
                    <a:pt x="146" y="146"/>
                  </a:cubicBezTo>
                  <a:cubicBezTo>
                    <a:pt x="146" y="150"/>
                    <a:pt x="145" y="153"/>
                    <a:pt x="143" y="155"/>
                  </a:cubicBezTo>
                  <a:cubicBezTo>
                    <a:pt x="142" y="157"/>
                    <a:pt x="141" y="159"/>
                    <a:pt x="138" y="160"/>
                  </a:cubicBezTo>
                  <a:cubicBezTo>
                    <a:pt x="136" y="161"/>
                    <a:pt x="134" y="162"/>
                    <a:pt x="132" y="162"/>
                  </a:cubicBezTo>
                  <a:cubicBezTo>
                    <a:pt x="132" y="159"/>
                    <a:pt x="132" y="159"/>
                    <a:pt x="132" y="159"/>
                  </a:cubicBezTo>
                  <a:cubicBezTo>
                    <a:pt x="132" y="157"/>
                    <a:pt x="131" y="156"/>
                    <a:pt x="130" y="156"/>
                  </a:cubicBezTo>
                  <a:cubicBezTo>
                    <a:pt x="130" y="154"/>
                    <a:pt x="127" y="153"/>
                    <a:pt x="124" y="152"/>
                  </a:cubicBezTo>
                  <a:cubicBezTo>
                    <a:pt x="121" y="151"/>
                    <a:pt x="117" y="150"/>
                    <a:pt x="113" y="150"/>
                  </a:cubicBezTo>
                  <a:cubicBezTo>
                    <a:pt x="113" y="145"/>
                    <a:pt x="113" y="145"/>
                    <a:pt x="113" y="145"/>
                  </a:cubicBezTo>
                  <a:cubicBezTo>
                    <a:pt x="119" y="148"/>
                    <a:pt x="125" y="148"/>
                    <a:pt x="131" y="148"/>
                  </a:cubicBezTo>
                  <a:cubicBezTo>
                    <a:pt x="134" y="148"/>
                    <a:pt x="135" y="148"/>
                    <a:pt x="136" y="148"/>
                  </a:cubicBezTo>
                  <a:cubicBezTo>
                    <a:pt x="137" y="147"/>
                    <a:pt x="138" y="145"/>
                    <a:pt x="138" y="142"/>
                  </a:cubicBezTo>
                  <a:cubicBezTo>
                    <a:pt x="138" y="52"/>
                    <a:pt x="138" y="52"/>
                    <a:pt x="138" y="52"/>
                  </a:cubicBezTo>
                  <a:cubicBezTo>
                    <a:pt x="126" y="52"/>
                    <a:pt x="126" y="52"/>
                    <a:pt x="126" y="52"/>
                  </a:cubicBezTo>
                  <a:cubicBezTo>
                    <a:pt x="118" y="52"/>
                    <a:pt x="112" y="52"/>
                    <a:pt x="109" y="52"/>
                  </a:cubicBezTo>
                  <a:cubicBezTo>
                    <a:pt x="105" y="44"/>
                    <a:pt x="105" y="44"/>
                    <a:pt x="105" y="44"/>
                  </a:cubicBezTo>
                  <a:cubicBezTo>
                    <a:pt x="105" y="44"/>
                    <a:pt x="105" y="44"/>
                    <a:pt x="105" y="44"/>
                  </a:cubicBezTo>
                  <a:close/>
                  <a:moveTo>
                    <a:pt x="113" y="70"/>
                  </a:moveTo>
                  <a:cubicBezTo>
                    <a:pt x="117" y="75"/>
                    <a:pt x="121" y="80"/>
                    <a:pt x="123" y="85"/>
                  </a:cubicBezTo>
                  <a:cubicBezTo>
                    <a:pt x="125" y="88"/>
                    <a:pt x="127" y="92"/>
                    <a:pt x="127" y="96"/>
                  </a:cubicBezTo>
                  <a:cubicBezTo>
                    <a:pt x="129" y="99"/>
                    <a:pt x="130" y="101"/>
                    <a:pt x="130" y="104"/>
                  </a:cubicBezTo>
                  <a:cubicBezTo>
                    <a:pt x="130" y="105"/>
                    <a:pt x="129" y="107"/>
                    <a:pt x="128" y="108"/>
                  </a:cubicBezTo>
                  <a:cubicBezTo>
                    <a:pt x="127" y="110"/>
                    <a:pt x="126" y="110"/>
                    <a:pt x="125" y="110"/>
                  </a:cubicBezTo>
                  <a:cubicBezTo>
                    <a:pt x="124" y="110"/>
                    <a:pt x="123" y="110"/>
                    <a:pt x="122" y="110"/>
                  </a:cubicBezTo>
                  <a:cubicBezTo>
                    <a:pt x="121" y="108"/>
                    <a:pt x="121" y="107"/>
                    <a:pt x="121" y="105"/>
                  </a:cubicBezTo>
                  <a:cubicBezTo>
                    <a:pt x="120" y="97"/>
                    <a:pt x="119" y="91"/>
                    <a:pt x="118" y="87"/>
                  </a:cubicBezTo>
                  <a:cubicBezTo>
                    <a:pt x="116" y="83"/>
                    <a:pt x="114" y="78"/>
                    <a:pt x="111" y="72"/>
                  </a:cubicBezTo>
                  <a:cubicBezTo>
                    <a:pt x="113" y="70"/>
                    <a:pt x="113" y="70"/>
                    <a:pt x="113" y="70"/>
                  </a:cubicBezTo>
                  <a:cubicBezTo>
                    <a:pt x="113" y="70"/>
                    <a:pt x="113" y="70"/>
                    <a:pt x="113" y="70"/>
                  </a:cubicBezTo>
                  <a:close/>
                  <a:moveTo>
                    <a:pt x="179" y="54"/>
                  </a:moveTo>
                  <a:cubicBezTo>
                    <a:pt x="184" y="56"/>
                    <a:pt x="190" y="56"/>
                    <a:pt x="199" y="56"/>
                  </a:cubicBezTo>
                  <a:cubicBezTo>
                    <a:pt x="201" y="56"/>
                    <a:pt x="201" y="56"/>
                    <a:pt x="201" y="56"/>
                  </a:cubicBezTo>
                  <a:cubicBezTo>
                    <a:pt x="208" y="48"/>
                    <a:pt x="208" y="48"/>
                    <a:pt x="208" y="48"/>
                  </a:cubicBezTo>
                  <a:cubicBezTo>
                    <a:pt x="212" y="51"/>
                    <a:pt x="215" y="54"/>
                    <a:pt x="217" y="56"/>
                  </a:cubicBezTo>
                  <a:cubicBezTo>
                    <a:pt x="217" y="57"/>
                    <a:pt x="218" y="58"/>
                    <a:pt x="218" y="58"/>
                  </a:cubicBezTo>
                  <a:cubicBezTo>
                    <a:pt x="218" y="59"/>
                    <a:pt x="215" y="61"/>
                    <a:pt x="210" y="64"/>
                  </a:cubicBezTo>
                  <a:cubicBezTo>
                    <a:pt x="210" y="130"/>
                    <a:pt x="210" y="130"/>
                    <a:pt x="210" y="130"/>
                  </a:cubicBezTo>
                  <a:cubicBezTo>
                    <a:pt x="213" y="128"/>
                    <a:pt x="214" y="127"/>
                    <a:pt x="215" y="126"/>
                  </a:cubicBezTo>
                  <a:cubicBezTo>
                    <a:pt x="222" y="121"/>
                    <a:pt x="226" y="118"/>
                    <a:pt x="229" y="114"/>
                  </a:cubicBezTo>
                  <a:cubicBezTo>
                    <a:pt x="230" y="117"/>
                    <a:pt x="230" y="117"/>
                    <a:pt x="230" y="117"/>
                  </a:cubicBezTo>
                  <a:cubicBezTo>
                    <a:pt x="228" y="121"/>
                    <a:pt x="225" y="125"/>
                    <a:pt x="222" y="128"/>
                  </a:cubicBezTo>
                  <a:cubicBezTo>
                    <a:pt x="219" y="133"/>
                    <a:pt x="215" y="137"/>
                    <a:pt x="212" y="141"/>
                  </a:cubicBezTo>
                  <a:cubicBezTo>
                    <a:pt x="212" y="146"/>
                    <a:pt x="211" y="149"/>
                    <a:pt x="210" y="149"/>
                  </a:cubicBezTo>
                  <a:cubicBezTo>
                    <a:pt x="209" y="149"/>
                    <a:pt x="206" y="145"/>
                    <a:pt x="199" y="136"/>
                  </a:cubicBezTo>
                  <a:cubicBezTo>
                    <a:pt x="201" y="136"/>
                    <a:pt x="202" y="135"/>
                    <a:pt x="203" y="134"/>
                  </a:cubicBezTo>
                  <a:cubicBezTo>
                    <a:pt x="203" y="61"/>
                    <a:pt x="203" y="61"/>
                    <a:pt x="203" y="61"/>
                  </a:cubicBezTo>
                  <a:cubicBezTo>
                    <a:pt x="199" y="61"/>
                    <a:pt x="199" y="61"/>
                    <a:pt x="199" y="61"/>
                  </a:cubicBezTo>
                  <a:cubicBezTo>
                    <a:pt x="190" y="61"/>
                    <a:pt x="184" y="61"/>
                    <a:pt x="182" y="62"/>
                  </a:cubicBezTo>
                  <a:cubicBezTo>
                    <a:pt x="179" y="54"/>
                    <a:pt x="179" y="54"/>
                    <a:pt x="179" y="54"/>
                  </a:cubicBezTo>
                  <a:cubicBezTo>
                    <a:pt x="179" y="54"/>
                    <a:pt x="179" y="54"/>
                    <a:pt x="179" y="54"/>
                  </a:cubicBezTo>
                  <a:close/>
                  <a:moveTo>
                    <a:pt x="197" y="5"/>
                  </a:moveTo>
                  <a:cubicBezTo>
                    <a:pt x="202" y="7"/>
                    <a:pt x="206" y="11"/>
                    <a:pt x="209" y="15"/>
                  </a:cubicBezTo>
                  <a:cubicBezTo>
                    <a:pt x="212" y="18"/>
                    <a:pt x="214" y="20"/>
                    <a:pt x="215" y="23"/>
                  </a:cubicBezTo>
                  <a:cubicBezTo>
                    <a:pt x="216" y="25"/>
                    <a:pt x="217" y="27"/>
                    <a:pt x="217" y="29"/>
                  </a:cubicBezTo>
                  <a:cubicBezTo>
                    <a:pt x="217" y="33"/>
                    <a:pt x="215" y="34"/>
                    <a:pt x="212" y="34"/>
                  </a:cubicBezTo>
                  <a:cubicBezTo>
                    <a:pt x="211" y="34"/>
                    <a:pt x="210" y="34"/>
                    <a:pt x="210" y="34"/>
                  </a:cubicBezTo>
                  <a:cubicBezTo>
                    <a:pt x="209" y="33"/>
                    <a:pt x="209" y="32"/>
                    <a:pt x="208" y="29"/>
                  </a:cubicBezTo>
                  <a:cubicBezTo>
                    <a:pt x="206" y="25"/>
                    <a:pt x="205" y="20"/>
                    <a:pt x="203" y="17"/>
                  </a:cubicBezTo>
                  <a:cubicBezTo>
                    <a:pt x="201" y="14"/>
                    <a:pt x="198" y="11"/>
                    <a:pt x="195" y="7"/>
                  </a:cubicBezTo>
                  <a:cubicBezTo>
                    <a:pt x="197" y="5"/>
                    <a:pt x="197" y="5"/>
                    <a:pt x="197" y="5"/>
                  </a:cubicBezTo>
                  <a:cubicBezTo>
                    <a:pt x="197" y="5"/>
                    <a:pt x="197" y="5"/>
                    <a:pt x="197" y="5"/>
                  </a:cubicBezTo>
                  <a:close/>
                  <a:moveTo>
                    <a:pt x="286" y="23"/>
                  </a:moveTo>
                  <a:cubicBezTo>
                    <a:pt x="285" y="20"/>
                    <a:pt x="282" y="18"/>
                    <a:pt x="277" y="16"/>
                  </a:cubicBezTo>
                  <a:cubicBezTo>
                    <a:pt x="277" y="16"/>
                    <a:pt x="277" y="16"/>
                    <a:pt x="272" y="23"/>
                  </a:cubicBezTo>
                  <a:cubicBezTo>
                    <a:pt x="272" y="23"/>
                    <a:pt x="272" y="23"/>
                    <a:pt x="255" y="23"/>
                  </a:cubicBezTo>
                  <a:cubicBezTo>
                    <a:pt x="259" y="19"/>
                    <a:pt x="261" y="14"/>
                    <a:pt x="263" y="9"/>
                  </a:cubicBezTo>
                  <a:cubicBezTo>
                    <a:pt x="269" y="9"/>
                    <a:pt x="273" y="9"/>
                    <a:pt x="273" y="7"/>
                  </a:cubicBezTo>
                  <a:cubicBezTo>
                    <a:pt x="273" y="5"/>
                    <a:pt x="267" y="3"/>
                    <a:pt x="256" y="0"/>
                  </a:cubicBezTo>
                  <a:cubicBezTo>
                    <a:pt x="256" y="6"/>
                    <a:pt x="255" y="10"/>
                    <a:pt x="255" y="14"/>
                  </a:cubicBezTo>
                  <a:cubicBezTo>
                    <a:pt x="254" y="16"/>
                    <a:pt x="253" y="20"/>
                    <a:pt x="251" y="23"/>
                  </a:cubicBezTo>
                  <a:cubicBezTo>
                    <a:pt x="251" y="23"/>
                    <a:pt x="251" y="23"/>
                    <a:pt x="249" y="23"/>
                  </a:cubicBezTo>
                  <a:cubicBezTo>
                    <a:pt x="249" y="23"/>
                    <a:pt x="249" y="23"/>
                    <a:pt x="239" y="18"/>
                  </a:cubicBezTo>
                  <a:cubicBezTo>
                    <a:pt x="239" y="18"/>
                    <a:pt x="239" y="18"/>
                    <a:pt x="239" y="98"/>
                  </a:cubicBezTo>
                  <a:cubicBezTo>
                    <a:pt x="233" y="98"/>
                    <a:pt x="228" y="98"/>
                    <a:pt x="224" y="97"/>
                  </a:cubicBezTo>
                  <a:cubicBezTo>
                    <a:pt x="224" y="97"/>
                    <a:pt x="224" y="97"/>
                    <a:pt x="227" y="105"/>
                  </a:cubicBezTo>
                  <a:cubicBezTo>
                    <a:pt x="229" y="104"/>
                    <a:pt x="235" y="104"/>
                    <a:pt x="244" y="104"/>
                  </a:cubicBezTo>
                  <a:cubicBezTo>
                    <a:pt x="244" y="104"/>
                    <a:pt x="244" y="104"/>
                    <a:pt x="266" y="104"/>
                  </a:cubicBezTo>
                  <a:cubicBezTo>
                    <a:pt x="262" y="111"/>
                    <a:pt x="258" y="116"/>
                    <a:pt x="254" y="122"/>
                  </a:cubicBezTo>
                  <a:cubicBezTo>
                    <a:pt x="250" y="127"/>
                    <a:pt x="245" y="132"/>
                    <a:pt x="240" y="136"/>
                  </a:cubicBezTo>
                  <a:cubicBezTo>
                    <a:pt x="235" y="142"/>
                    <a:pt x="228" y="148"/>
                    <a:pt x="219" y="154"/>
                  </a:cubicBezTo>
                  <a:cubicBezTo>
                    <a:pt x="219" y="154"/>
                    <a:pt x="219" y="154"/>
                    <a:pt x="221" y="156"/>
                  </a:cubicBezTo>
                  <a:cubicBezTo>
                    <a:pt x="230" y="151"/>
                    <a:pt x="239" y="145"/>
                    <a:pt x="245" y="141"/>
                  </a:cubicBezTo>
                  <a:cubicBezTo>
                    <a:pt x="251" y="135"/>
                    <a:pt x="257" y="129"/>
                    <a:pt x="262" y="123"/>
                  </a:cubicBezTo>
                  <a:cubicBezTo>
                    <a:pt x="266" y="119"/>
                    <a:pt x="270" y="113"/>
                    <a:pt x="273" y="107"/>
                  </a:cubicBezTo>
                  <a:cubicBezTo>
                    <a:pt x="273" y="107"/>
                    <a:pt x="273" y="107"/>
                    <a:pt x="273" y="143"/>
                  </a:cubicBezTo>
                  <a:cubicBezTo>
                    <a:pt x="273" y="145"/>
                    <a:pt x="273" y="148"/>
                    <a:pt x="271" y="148"/>
                  </a:cubicBezTo>
                  <a:cubicBezTo>
                    <a:pt x="271" y="149"/>
                    <a:pt x="268" y="149"/>
                    <a:pt x="266" y="149"/>
                  </a:cubicBezTo>
                  <a:cubicBezTo>
                    <a:pt x="261" y="149"/>
                    <a:pt x="255" y="148"/>
                    <a:pt x="250" y="146"/>
                  </a:cubicBezTo>
                  <a:cubicBezTo>
                    <a:pt x="250" y="146"/>
                    <a:pt x="250" y="146"/>
                    <a:pt x="250" y="150"/>
                  </a:cubicBezTo>
                  <a:cubicBezTo>
                    <a:pt x="254" y="151"/>
                    <a:pt x="257" y="152"/>
                    <a:pt x="260" y="153"/>
                  </a:cubicBezTo>
                  <a:cubicBezTo>
                    <a:pt x="262" y="154"/>
                    <a:pt x="264" y="155"/>
                    <a:pt x="266" y="156"/>
                  </a:cubicBezTo>
                  <a:cubicBezTo>
                    <a:pt x="266" y="157"/>
                    <a:pt x="266" y="158"/>
                    <a:pt x="266" y="159"/>
                  </a:cubicBezTo>
                  <a:cubicBezTo>
                    <a:pt x="266" y="159"/>
                    <a:pt x="266" y="159"/>
                    <a:pt x="267" y="163"/>
                  </a:cubicBezTo>
                  <a:cubicBezTo>
                    <a:pt x="268" y="163"/>
                    <a:pt x="271" y="162"/>
                    <a:pt x="273" y="161"/>
                  </a:cubicBezTo>
                  <a:cubicBezTo>
                    <a:pt x="275" y="159"/>
                    <a:pt x="277" y="158"/>
                    <a:pt x="278" y="156"/>
                  </a:cubicBezTo>
                  <a:cubicBezTo>
                    <a:pt x="280" y="154"/>
                    <a:pt x="281" y="151"/>
                    <a:pt x="281" y="147"/>
                  </a:cubicBezTo>
                  <a:cubicBezTo>
                    <a:pt x="281" y="147"/>
                    <a:pt x="281" y="147"/>
                    <a:pt x="281" y="31"/>
                  </a:cubicBezTo>
                  <a:cubicBezTo>
                    <a:pt x="286" y="28"/>
                    <a:pt x="288" y="26"/>
                    <a:pt x="288" y="25"/>
                  </a:cubicBezTo>
                  <a:cubicBezTo>
                    <a:pt x="288" y="25"/>
                    <a:pt x="288" y="24"/>
                    <a:pt x="286" y="23"/>
                  </a:cubicBezTo>
                  <a:close/>
                  <a:moveTo>
                    <a:pt x="273" y="98"/>
                  </a:moveTo>
                  <a:cubicBezTo>
                    <a:pt x="273" y="98"/>
                    <a:pt x="273" y="98"/>
                    <a:pt x="247" y="98"/>
                  </a:cubicBezTo>
                  <a:cubicBezTo>
                    <a:pt x="247" y="78"/>
                    <a:pt x="247" y="78"/>
                    <a:pt x="247" y="78"/>
                  </a:cubicBezTo>
                  <a:cubicBezTo>
                    <a:pt x="247" y="78"/>
                    <a:pt x="247" y="78"/>
                    <a:pt x="273" y="78"/>
                  </a:cubicBezTo>
                  <a:cubicBezTo>
                    <a:pt x="273" y="78"/>
                    <a:pt x="273" y="78"/>
                    <a:pt x="273" y="98"/>
                  </a:cubicBezTo>
                  <a:close/>
                  <a:moveTo>
                    <a:pt x="273" y="73"/>
                  </a:moveTo>
                  <a:cubicBezTo>
                    <a:pt x="273" y="73"/>
                    <a:pt x="273" y="73"/>
                    <a:pt x="247" y="73"/>
                  </a:cubicBezTo>
                  <a:cubicBezTo>
                    <a:pt x="247" y="52"/>
                    <a:pt x="247" y="52"/>
                    <a:pt x="247" y="52"/>
                  </a:cubicBezTo>
                  <a:cubicBezTo>
                    <a:pt x="247" y="52"/>
                    <a:pt x="247" y="52"/>
                    <a:pt x="273" y="52"/>
                  </a:cubicBezTo>
                  <a:cubicBezTo>
                    <a:pt x="273" y="52"/>
                    <a:pt x="273" y="52"/>
                    <a:pt x="273" y="73"/>
                  </a:cubicBezTo>
                  <a:close/>
                  <a:moveTo>
                    <a:pt x="273" y="47"/>
                  </a:moveTo>
                  <a:cubicBezTo>
                    <a:pt x="273" y="47"/>
                    <a:pt x="273" y="47"/>
                    <a:pt x="247" y="47"/>
                  </a:cubicBezTo>
                  <a:cubicBezTo>
                    <a:pt x="247" y="28"/>
                    <a:pt x="247" y="28"/>
                    <a:pt x="247" y="28"/>
                  </a:cubicBezTo>
                  <a:cubicBezTo>
                    <a:pt x="247" y="28"/>
                    <a:pt x="247" y="28"/>
                    <a:pt x="273" y="28"/>
                  </a:cubicBezTo>
                  <a:cubicBezTo>
                    <a:pt x="273" y="28"/>
                    <a:pt x="273" y="28"/>
                    <a:pt x="273" y="47"/>
                  </a:cubicBezTo>
                  <a:close/>
                  <a:moveTo>
                    <a:pt x="284" y="44"/>
                  </a:moveTo>
                  <a:cubicBezTo>
                    <a:pt x="289" y="45"/>
                    <a:pt x="296" y="46"/>
                    <a:pt x="305" y="46"/>
                  </a:cubicBezTo>
                  <a:cubicBezTo>
                    <a:pt x="317" y="46"/>
                    <a:pt x="317" y="46"/>
                    <a:pt x="317" y="46"/>
                  </a:cubicBezTo>
                  <a:cubicBezTo>
                    <a:pt x="317" y="16"/>
                    <a:pt x="317" y="16"/>
                    <a:pt x="317" y="16"/>
                  </a:cubicBezTo>
                  <a:cubicBezTo>
                    <a:pt x="317" y="9"/>
                    <a:pt x="316" y="5"/>
                    <a:pt x="316" y="2"/>
                  </a:cubicBezTo>
                  <a:cubicBezTo>
                    <a:pt x="322" y="3"/>
                    <a:pt x="328" y="5"/>
                    <a:pt x="333" y="7"/>
                  </a:cubicBezTo>
                  <a:cubicBezTo>
                    <a:pt x="334" y="7"/>
                    <a:pt x="335" y="7"/>
                    <a:pt x="335" y="8"/>
                  </a:cubicBezTo>
                  <a:cubicBezTo>
                    <a:pt x="335" y="9"/>
                    <a:pt x="334" y="10"/>
                    <a:pt x="333" y="11"/>
                  </a:cubicBezTo>
                  <a:cubicBezTo>
                    <a:pt x="330" y="12"/>
                    <a:pt x="328" y="12"/>
                    <a:pt x="325" y="13"/>
                  </a:cubicBezTo>
                  <a:cubicBezTo>
                    <a:pt x="325" y="46"/>
                    <a:pt x="325" y="46"/>
                    <a:pt x="325" y="46"/>
                  </a:cubicBezTo>
                  <a:cubicBezTo>
                    <a:pt x="326" y="46"/>
                    <a:pt x="326" y="46"/>
                    <a:pt x="326" y="46"/>
                  </a:cubicBezTo>
                  <a:cubicBezTo>
                    <a:pt x="333" y="38"/>
                    <a:pt x="333" y="38"/>
                    <a:pt x="333" y="38"/>
                  </a:cubicBezTo>
                  <a:cubicBezTo>
                    <a:pt x="336" y="41"/>
                    <a:pt x="340" y="44"/>
                    <a:pt x="343" y="47"/>
                  </a:cubicBezTo>
                  <a:cubicBezTo>
                    <a:pt x="344" y="47"/>
                    <a:pt x="344" y="47"/>
                    <a:pt x="344" y="48"/>
                  </a:cubicBezTo>
                  <a:cubicBezTo>
                    <a:pt x="344" y="50"/>
                    <a:pt x="344" y="52"/>
                    <a:pt x="342" y="52"/>
                  </a:cubicBezTo>
                  <a:cubicBezTo>
                    <a:pt x="325" y="52"/>
                    <a:pt x="325" y="52"/>
                    <a:pt x="325" y="52"/>
                  </a:cubicBezTo>
                  <a:cubicBezTo>
                    <a:pt x="325" y="146"/>
                    <a:pt x="325" y="146"/>
                    <a:pt x="325" y="146"/>
                  </a:cubicBezTo>
                  <a:cubicBezTo>
                    <a:pt x="325" y="150"/>
                    <a:pt x="324" y="153"/>
                    <a:pt x="322" y="155"/>
                  </a:cubicBezTo>
                  <a:cubicBezTo>
                    <a:pt x="321" y="157"/>
                    <a:pt x="320" y="159"/>
                    <a:pt x="317" y="160"/>
                  </a:cubicBezTo>
                  <a:cubicBezTo>
                    <a:pt x="315" y="161"/>
                    <a:pt x="313" y="162"/>
                    <a:pt x="311" y="162"/>
                  </a:cubicBezTo>
                  <a:cubicBezTo>
                    <a:pt x="311" y="159"/>
                    <a:pt x="311" y="159"/>
                    <a:pt x="311" y="159"/>
                  </a:cubicBezTo>
                  <a:cubicBezTo>
                    <a:pt x="311" y="157"/>
                    <a:pt x="310" y="156"/>
                    <a:pt x="309" y="156"/>
                  </a:cubicBezTo>
                  <a:cubicBezTo>
                    <a:pt x="308" y="154"/>
                    <a:pt x="306" y="153"/>
                    <a:pt x="303" y="152"/>
                  </a:cubicBezTo>
                  <a:cubicBezTo>
                    <a:pt x="300" y="151"/>
                    <a:pt x="296" y="150"/>
                    <a:pt x="292" y="150"/>
                  </a:cubicBezTo>
                  <a:cubicBezTo>
                    <a:pt x="292" y="145"/>
                    <a:pt x="292" y="145"/>
                    <a:pt x="292" y="145"/>
                  </a:cubicBezTo>
                  <a:cubicBezTo>
                    <a:pt x="298" y="148"/>
                    <a:pt x="304" y="148"/>
                    <a:pt x="309" y="148"/>
                  </a:cubicBezTo>
                  <a:cubicBezTo>
                    <a:pt x="313" y="148"/>
                    <a:pt x="314" y="148"/>
                    <a:pt x="315" y="148"/>
                  </a:cubicBezTo>
                  <a:cubicBezTo>
                    <a:pt x="316" y="147"/>
                    <a:pt x="317" y="145"/>
                    <a:pt x="317" y="142"/>
                  </a:cubicBezTo>
                  <a:cubicBezTo>
                    <a:pt x="317" y="52"/>
                    <a:pt x="317" y="52"/>
                    <a:pt x="317" y="52"/>
                  </a:cubicBezTo>
                  <a:cubicBezTo>
                    <a:pt x="305" y="52"/>
                    <a:pt x="305" y="52"/>
                    <a:pt x="305" y="52"/>
                  </a:cubicBezTo>
                  <a:cubicBezTo>
                    <a:pt x="297" y="52"/>
                    <a:pt x="291" y="52"/>
                    <a:pt x="288" y="52"/>
                  </a:cubicBezTo>
                  <a:cubicBezTo>
                    <a:pt x="284" y="44"/>
                    <a:pt x="284" y="44"/>
                    <a:pt x="284" y="44"/>
                  </a:cubicBezTo>
                  <a:cubicBezTo>
                    <a:pt x="284" y="44"/>
                    <a:pt x="284" y="44"/>
                    <a:pt x="284" y="44"/>
                  </a:cubicBezTo>
                  <a:close/>
                  <a:moveTo>
                    <a:pt x="292" y="70"/>
                  </a:moveTo>
                  <a:cubicBezTo>
                    <a:pt x="296" y="75"/>
                    <a:pt x="300" y="80"/>
                    <a:pt x="302" y="85"/>
                  </a:cubicBezTo>
                  <a:cubicBezTo>
                    <a:pt x="304" y="88"/>
                    <a:pt x="306" y="92"/>
                    <a:pt x="306" y="96"/>
                  </a:cubicBezTo>
                  <a:cubicBezTo>
                    <a:pt x="308" y="99"/>
                    <a:pt x="308" y="101"/>
                    <a:pt x="308" y="104"/>
                  </a:cubicBezTo>
                  <a:cubicBezTo>
                    <a:pt x="308" y="105"/>
                    <a:pt x="308" y="107"/>
                    <a:pt x="307" y="108"/>
                  </a:cubicBezTo>
                  <a:cubicBezTo>
                    <a:pt x="306" y="110"/>
                    <a:pt x="305" y="110"/>
                    <a:pt x="304" y="110"/>
                  </a:cubicBezTo>
                  <a:cubicBezTo>
                    <a:pt x="303" y="110"/>
                    <a:pt x="302" y="110"/>
                    <a:pt x="301" y="110"/>
                  </a:cubicBezTo>
                  <a:cubicBezTo>
                    <a:pt x="300" y="108"/>
                    <a:pt x="300" y="107"/>
                    <a:pt x="300" y="105"/>
                  </a:cubicBezTo>
                  <a:cubicBezTo>
                    <a:pt x="299" y="97"/>
                    <a:pt x="298" y="91"/>
                    <a:pt x="297" y="87"/>
                  </a:cubicBezTo>
                  <a:cubicBezTo>
                    <a:pt x="295" y="83"/>
                    <a:pt x="293" y="78"/>
                    <a:pt x="290" y="72"/>
                  </a:cubicBezTo>
                  <a:cubicBezTo>
                    <a:pt x="292" y="70"/>
                    <a:pt x="292" y="70"/>
                    <a:pt x="292" y="70"/>
                  </a:cubicBezTo>
                  <a:cubicBezTo>
                    <a:pt x="292" y="70"/>
                    <a:pt x="292" y="70"/>
                    <a:pt x="292" y="70"/>
                  </a:cubicBezTo>
                  <a:close/>
                </a:path>
              </a:pathLst>
            </a:custGeom>
            <a:solidFill>
              <a:srgbClr val="D29FD6"/>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2" name="Freeform 231">
              <a:extLst>
                <a:ext uri="{FF2B5EF4-FFF2-40B4-BE49-F238E27FC236}">
                  <a16:creationId xmlns:a16="http://schemas.microsoft.com/office/drawing/2014/main" id="{652F3D98-67F9-4D5F-B6AF-138493A82E4E}"/>
                </a:ext>
                <a:ext uri="{C183D7F6-B498-43B3-948B-1728B52AA6E4}">
                  <adec:decorative xmlns:adec="http://schemas.microsoft.com/office/drawing/2017/decorative" val="1"/>
                </a:ext>
              </a:extLst>
            </p:cNvPr>
            <p:cNvSpPr>
              <a:spLocks noEditPoints="1"/>
            </p:cNvSpPr>
            <p:nvPr/>
          </p:nvSpPr>
          <p:spPr bwMode="auto">
            <a:xfrm>
              <a:off x="9134749" y="2706701"/>
              <a:ext cx="1791752" cy="319999"/>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3" name="Freeform 232">
              <a:extLst>
                <a:ext uri="{FF2B5EF4-FFF2-40B4-BE49-F238E27FC236}">
                  <a16:creationId xmlns:a16="http://schemas.microsoft.com/office/drawing/2014/main" id="{E913F960-9C78-D39D-BE73-11E28A81BF5F}"/>
                </a:ext>
                <a:ext uri="{C183D7F6-B498-43B3-948B-1728B52AA6E4}">
                  <adec:decorative xmlns:adec="http://schemas.microsoft.com/office/drawing/2017/decorative" val="1"/>
                </a:ext>
              </a:extLst>
            </p:cNvPr>
            <p:cNvSpPr>
              <a:spLocks noEditPoints="1"/>
            </p:cNvSpPr>
            <p:nvPr/>
          </p:nvSpPr>
          <p:spPr bwMode="auto">
            <a:xfrm>
              <a:off x="6815645" y="2421951"/>
              <a:ext cx="1950999" cy="233759"/>
            </a:xfrm>
            <a:custGeom>
              <a:avLst/>
              <a:gdLst>
                <a:gd name="T0" fmla="*/ 21 w 642"/>
                <a:gd name="T1" fmla="*/ 76 h 77"/>
                <a:gd name="T2" fmla="*/ 0 w 642"/>
                <a:gd name="T3" fmla="*/ 1 h 77"/>
                <a:gd name="T4" fmla="*/ 27 w 642"/>
                <a:gd name="T5" fmla="*/ 6 h 77"/>
                <a:gd name="T6" fmla="*/ 96 w 642"/>
                <a:gd name="T7" fmla="*/ 1 h 77"/>
                <a:gd name="T8" fmla="*/ 66 w 642"/>
                <a:gd name="T9" fmla="*/ 36 h 77"/>
                <a:gd name="T10" fmla="*/ 66 w 642"/>
                <a:gd name="T11" fmla="*/ 40 h 77"/>
                <a:gd name="T12" fmla="*/ 98 w 642"/>
                <a:gd name="T13" fmla="*/ 76 h 77"/>
                <a:gd name="T14" fmla="*/ 139 w 642"/>
                <a:gd name="T15" fmla="*/ 41 h 77"/>
                <a:gd name="T16" fmla="*/ 157 w 642"/>
                <a:gd name="T17" fmla="*/ 20 h 77"/>
                <a:gd name="T18" fmla="*/ 115 w 642"/>
                <a:gd name="T19" fmla="*/ 1 h 77"/>
                <a:gd name="T20" fmla="*/ 120 w 642"/>
                <a:gd name="T21" fmla="*/ 43 h 77"/>
                <a:gd name="T22" fmla="*/ 143 w 642"/>
                <a:gd name="T23" fmla="*/ 54 h 77"/>
                <a:gd name="T24" fmla="*/ 148 w 642"/>
                <a:gd name="T25" fmla="*/ 52 h 77"/>
                <a:gd name="T26" fmla="*/ 120 w 642"/>
                <a:gd name="T27" fmla="*/ 6 h 77"/>
                <a:gd name="T28" fmla="*/ 152 w 642"/>
                <a:gd name="T29" fmla="*/ 21 h 77"/>
                <a:gd name="T30" fmla="*/ 175 w 642"/>
                <a:gd name="T31" fmla="*/ 76 h 77"/>
                <a:gd name="T32" fmla="*/ 180 w 642"/>
                <a:gd name="T33" fmla="*/ 76 h 77"/>
                <a:gd name="T34" fmla="*/ 264 w 642"/>
                <a:gd name="T35" fmla="*/ 23 h 77"/>
                <a:gd name="T36" fmla="*/ 262 w 642"/>
                <a:gd name="T37" fmla="*/ 18 h 77"/>
                <a:gd name="T38" fmla="*/ 207 w 642"/>
                <a:gd name="T39" fmla="*/ 18 h 77"/>
                <a:gd name="T40" fmla="*/ 204 w 642"/>
                <a:gd name="T41" fmla="*/ 21 h 77"/>
                <a:gd name="T42" fmla="*/ 199 w 642"/>
                <a:gd name="T43" fmla="*/ 1 h 77"/>
                <a:gd name="T44" fmla="*/ 233 w 642"/>
                <a:gd name="T45" fmla="*/ 63 h 77"/>
                <a:gd name="T46" fmla="*/ 235 w 642"/>
                <a:gd name="T47" fmla="*/ 68 h 77"/>
                <a:gd name="T48" fmla="*/ 265 w 642"/>
                <a:gd name="T49" fmla="*/ 1 h 77"/>
                <a:gd name="T50" fmla="*/ 264 w 642"/>
                <a:gd name="T51" fmla="*/ 76 h 77"/>
                <a:gd name="T52" fmla="*/ 282 w 642"/>
                <a:gd name="T53" fmla="*/ 76 h 77"/>
                <a:gd name="T54" fmla="*/ 329 w 642"/>
                <a:gd name="T55" fmla="*/ 53 h 77"/>
                <a:gd name="T56" fmla="*/ 316 w 642"/>
                <a:gd name="T57" fmla="*/ 1 h 77"/>
                <a:gd name="T58" fmla="*/ 313 w 642"/>
                <a:gd name="T59" fmla="*/ 7 h 77"/>
                <a:gd name="T60" fmla="*/ 315 w 642"/>
                <a:gd name="T61" fmla="*/ 13 h 77"/>
                <a:gd name="T62" fmla="*/ 425 w 642"/>
                <a:gd name="T63" fmla="*/ 76 h 77"/>
                <a:gd name="T64" fmla="*/ 391 w 642"/>
                <a:gd name="T65" fmla="*/ 38 h 77"/>
                <a:gd name="T66" fmla="*/ 386 w 642"/>
                <a:gd name="T67" fmla="*/ 1 h 77"/>
                <a:gd name="T68" fmla="*/ 391 w 642"/>
                <a:gd name="T69" fmla="*/ 36 h 77"/>
                <a:gd name="T70" fmla="*/ 430 w 642"/>
                <a:gd name="T71" fmla="*/ 1 h 77"/>
                <a:gd name="T72" fmla="*/ 425 w 642"/>
                <a:gd name="T73" fmla="*/ 76 h 77"/>
                <a:gd name="T74" fmla="*/ 436 w 642"/>
                <a:gd name="T75" fmla="*/ 76 h 77"/>
                <a:gd name="T76" fmla="*/ 483 w 642"/>
                <a:gd name="T77" fmla="*/ 53 h 77"/>
                <a:gd name="T78" fmla="*/ 469 w 642"/>
                <a:gd name="T79" fmla="*/ 1 h 77"/>
                <a:gd name="T80" fmla="*/ 467 w 642"/>
                <a:gd name="T81" fmla="*/ 7 h 77"/>
                <a:gd name="T82" fmla="*/ 468 w 642"/>
                <a:gd name="T83" fmla="*/ 13 h 77"/>
                <a:gd name="T84" fmla="*/ 508 w 642"/>
                <a:gd name="T85" fmla="*/ 73 h 77"/>
                <a:gd name="T86" fmla="*/ 538 w 642"/>
                <a:gd name="T87" fmla="*/ 69 h 77"/>
                <a:gd name="T88" fmla="*/ 526 w 642"/>
                <a:gd name="T89" fmla="*/ 40 h 77"/>
                <a:gd name="T90" fmla="*/ 514 w 642"/>
                <a:gd name="T91" fmla="*/ 5 h 77"/>
                <a:gd name="T92" fmla="*/ 544 w 642"/>
                <a:gd name="T93" fmla="*/ 7 h 77"/>
                <a:gd name="T94" fmla="*/ 514 w 642"/>
                <a:gd name="T95" fmla="*/ 18 h 77"/>
                <a:gd name="T96" fmla="*/ 544 w 642"/>
                <a:gd name="T97" fmla="*/ 47 h 77"/>
                <a:gd name="T98" fmla="*/ 524 w 642"/>
                <a:gd name="T99" fmla="*/ 77 h 77"/>
                <a:gd name="T100" fmla="*/ 564 w 642"/>
                <a:gd name="T101" fmla="*/ 76 h 77"/>
                <a:gd name="T102" fmla="*/ 569 w 642"/>
                <a:gd name="T103" fmla="*/ 76 h 77"/>
                <a:gd name="T104" fmla="*/ 636 w 642"/>
                <a:gd name="T105" fmla="*/ 40 h 77"/>
                <a:gd name="T106" fmla="*/ 588 w 642"/>
                <a:gd name="T107" fmla="*/ 76 h 77"/>
                <a:gd name="T108" fmla="*/ 593 w 642"/>
                <a:gd name="T109" fmla="*/ 35 h 77"/>
                <a:gd name="T110" fmla="*/ 642 w 642"/>
                <a:gd name="T111"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2" h="77">
                  <a:moveTo>
                    <a:pt x="27" y="6"/>
                  </a:moveTo>
                  <a:cubicBezTo>
                    <a:pt x="27" y="76"/>
                    <a:pt x="27" y="76"/>
                    <a:pt x="27" y="76"/>
                  </a:cubicBezTo>
                  <a:cubicBezTo>
                    <a:pt x="21" y="76"/>
                    <a:pt x="21" y="76"/>
                    <a:pt x="21" y="76"/>
                  </a:cubicBezTo>
                  <a:cubicBezTo>
                    <a:pt x="21" y="6"/>
                    <a:pt x="21" y="6"/>
                    <a:pt x="21" y="6"/>
                  </a:cubicBezTo>
                  <a:cubicBezTo>
                    <a:pt x="0" y="6"/>
                    <a:pt x="0" y="6"/>
                    <a:pt x="0" y="6"/>
                  </a:cubicBezTo>
                  <a:cubicBezTo>
                    <a:pt x="0" y="1"/>
                    <a:pt x="0" y="1"/>
                    <a:pt x="0" y="1"/>
                  </a:cubicBezTo>
                  <a:cubicBezTo>
                    <a:pt x="48" y="1"/>
                    <a:pt x="48" y="1"/>
                    <a:pt x="48" y="1"/>
                  </a:cubicBezTo>
                  <a:cubicBezTo>
                    <a:pt x="48" y="6"/>
                    <a:pt x="48" y="6"/>
                    <a:pt x="48" y="6"/>
                  </a:cubicBezTo>
                  <a:lnTo>
                    <a:pt x="27" y="6"/>
                  </a:lnTo>
                  <a:close/>
                  <a:moveTo>
                    <a:pt x="61" y="76"/>
                  </a:moveTo>
                  <a:cubicBezTo>
                    <a:pt x="61" y="1"/>
                    <a:pt x="61" y="1"/>
                    <a:pt x="61" y="1"/>
                  </a:cubicBezTo>
                  <a:cubicBezTo>
                    <a:pt x="96" y="1"/>
                    <a:pt x="96" y="1"/>
                    <a:pt x="96" y="1"/>
                  </a:cubicBezTo>
                  <a:cubicBezTo>
                    <a:pt x="96" y="6"/>
                    <a:pt x="96" y="6"/>
                    <a:pt x="96" y="6"/>
                  </a:cubicBezTo>
                  <a:cubicBezTo>
                    <a:pt x="66" y="6"/>
                    <a:pt x="66" y="6"/>
                    <a:pt x="66" y="6"/>
                  </a:cubicBezTo>
                  <a:cubicBezTo>
                    <a:pt x="66" y="36"/>
                    <a:pt x="66" y="36"/>
                    <a:pt x="66" y="36"/>
                  </a:cubicBezTo>
                  <a:cubicBezTo>
                    <a:pt x="94" y="36"/>
                    <a:pt x="94" y="36"/>
                    <a:pt x="94" y="36"/>
                  </a:cubicBezTo>
                  <a:cubicBezTo>
                    <a:pt x="94" y="40"/>
                    <a:pt x="94" y="40"/>
                    <a:pt x="94" y="40"/>
                  </a:cubicBezTo>
                  <a:cubicBezTo>
                    <a:pt x="66" y="40"/>
                    <a:pt x="66" y="40"/>
                    <a:pt x="66" y="40"/>
                  </a:cubicBezTo>
                  <a:cubicBezTo>
                    <a:pt x="66" y="71"/>
                    <a:pt x="66" y="71"/>
                    <a:pt x="66" y="71"/>
                  </a:cubicBezTo>
                  <a:cubicBezTo>
                    <a:pt x="98" y="71"/>
                    <a:pt x="98" y="71"/>
                    <a:pt x="98" y="71"/>
                  </a:cubicBezTo>
                  <a:cubicBezTo>
                    <a:pt x="98" y="76"/>
                    <a:pt x="98" y="76"/>
                    <a:pt x="98" y="76"/>
                  </a:cubicBezTo>
                  <a:lnTo>
                    <a:pt x="61" y="76"/>
                  </a:lnTo>
                  <a:close/>
                  <a:moveTo>
                    <a:pt x="148" y="52"/>
                  </a:moveTo>
                  <a:cubicBezTo>
                    <a:pt x="145" y="46"/>
                    <a:pt x="142" y="42"/>
                    <a:pt x="139" y="41"/>
                  </a:cubicBezTo>
                  <a:cubicBezTo>
                    <a:pt x="139" y="41"/>
                    <a:pt x="139" y="41"/>
                    <a:pt x="139" y="41"/>
                  </a:cubicBezTo>
                  <a:cubicBezTo>
                    <a:pt x="145" y="40"/>
                    <a:pt x="149" y="38"/>
                    <a:pt x="152" y="34"/>
                  </a:cubicBezTo>
                  <a:cubicBezTo>
                    <a:pt x="156" y="30"/>
                    <a:pt x="157" y="26"/>
                    <a:pt x="157" y="20"/>
                  </a:cubicBezTo>
                  <a:cubicBezTo>
                    <a:pt x="157" y="14"/>
                    <a:pt x="155" y="10"/>
                    <a:pt x="151" y="6"/>
                  </a:cubicBezTo>
                  <a:cubicBezTo>
                    <a:pt x="148" y="3"/>
                    <a:pt x="142" y="1"/>
                    <a:pt x="136" y="1"/>
                  </a:cubicBezTo>
                  <a:cubicBezTo>
                    <a:pt x="115" y="1"/>
                    <a:pt x="115" y="1"/>
                    <a:pt x="115" y="1"/>
                  </a:cubicBezTo>
                  <a:cubicBezTo>
                    <a:pt x="115" y="76"/>
                    <a:pt x="115" y="76"/>
                    <a:pt x="115" y="76"/>
                  </a:cubicBezTo>
                  <a:cubicBezTo>
                    <a:pt x="120" y="76"/>
                    <a:pt x="120" y="76"/>
                    <a:pt x="120" y="76"/>
                  </a:cubicBezTo>
                  <a:cubicBezTo>
                    <a:pt x="120" y="43"/>
                    <a:pt x="120" y="43"/>
                    <a:pt x="120" y="43"/>
                  </a:cubicBezTo>
                  <a:cubicBezTo>
                    <a:pt x="129" y="43"/>
                    <a:pt x="129" y="43"/>
                    <a:pt x="129" y="43"/>
                  </a:cubicBezTo>
                  <a:cubicBezTo>
                    <a:pt x="133" y="43"/>
                    <a:pt x="135" y="43"/>
                    <a:pt x="137" y="45"/>
                  </a:cubicBezTo>
                  <a:cubicBezTo>
                    <a:pt x="139" y="46"/>
                    <a:pt x="141" y="49"/>
                    <a:pt x="143" y="54"/>
                  </a:cubicBezTo>
                  <a:cubicBezTo>
                    <a:pt x="153" y="76"/>
                    <a:pt x="153" y="76"/>
                    <a:pt x="153" y="76"/>
                  </a:cubicBezTo>
                  <a:cubicBezTo>
                    <a:pt x="159" y="76"/>
                    <a:pt x="159" y="76"/>
                    <a:pt x="159" y="76"/>
                  </a:cubicBezTo>
                  <a:lnTo>
                    <a:pt x="148" y="52"/>
                  </a:lnTo>
                  <a:close/>
                  <a:moveTo>
                    <a:pt x="133" y="38"/>
                  </a:moveTo>
                  <a:cubicBezTo>
                    <a:pt x="120" y="38"/>
                    <a:pt x="120" y="38"/>
                    <a:pt x="120" y="38"/>
                  </a:cubicBezTo>
                  <a:cubicBezTo>
                    <a:pt x="120" y="6"/>
                    <a:pt x="120" y="6"/>
                    <a:pt x="120" y="6"/>
                  </a:cubicBezTo>
                  <a:cubicBezTo>
                    <a:pt x="134" y="6"/>
                    <a:pt x="134" y="6"/>
                    <a:pt x="134" y="6"/>
                  </a:cubicBezTo>
                  <a:cubicBezTo>
                    <a:pt x="140" y="6"/>
                    <a:pt x="144" y="7"/>
                    <a:pt x="147" y="10"/>
                  </a:cubicBezTo>
                  <a:cubicBezTo>
                    <a:pt x="150" y="12"/>
                    <a:pt x="152" y="16"/>
                    <a:pt x="152" y="21"/>
                  </a:cubicBezTo>
                  <a:cubicBezTo>
                    <a:pt x="152" y="26"/>
                    <a:pt x="150" y="30"/>
                    <a:pt x="147" y="33"/>
                  </a:cubicBezTo>
                  <a:cubicBezTo>
                    <a:pt x="143" y="36"/>
                    <a:pt x="139" y="38"/>
                    <a:pt x="133" y="38"/>
                  </a:cubicBezTo>
                  <a:close/>
                  <a:moveTo>
                    <a:pt x="175" y="76"/>
                  </a:moveTo>
                  <a:cubicBezTo>
                    <a:pt x="175" y="1"/>
                    <a:pt x="175" y="1"/>
                    <a:pt x="175" y="1"/>
                  </a:cubicBezTo>
                  <a:cubicBezTo>
                    <a:pt x="180" y="1"/>
                    <a:pt x="180" y="1"/>
                    <a:pt x="180" y="1"/>
                  </a:cubicBezTo>
                  <a:cubicBezTo>
                    <a:pt x="180" y="76"/>
                    <a:pt x="180" y="76"/>
                    <a:pt x="180" y="76"/>
                  </a:cubicBezTo>
                  <a:lnTo>
                    <a:pt x="175" y="76"/>
                  </a:lnTo>
                  <a:close/>
                  <a:moveTo>
                    <a:pt x="264" y="76"/>
                  </a:moveTo>
                  <a:cubicBezTo>
                    <a:pt x="264" y="23"/>
                    <a:pt x="264" y="23"/>
                    <a:pt x="264" y="23"/>
                  </a:cubicBezTo>
                  <a:cubicBezTo>
                    <a:pt x="264" y="21"/>
                    <a:pt x="265" y="18"/>
                    <a:pt x="265" y="12"/>
                  </a:cubicBezTo>
                  <a:cubicBezTo>
                    <a:pt x="265" y="12"/>
                    <a:pt x="265" y="12"/>
                    <a:pt x="265" y="12"/>
                  </a:cubicBezTo>
                  <a:cubicBezTo>
                    <a:pt x="264" y="14"/>
                    <a:pt x="263" y="17"/>
                    <a:pt x="262" y="18"/>
                  </a:cubicBezTo>
                  <a:cubicBezTo>
                    <a:pt x="235" y="76"/>
                    <a:pt x="235" y="76"/>
                    <a:pt x="235" y="76"/>
                  </a:cubicBezTo>
                  <a:cubicBezTo>
                    <a:pt x="234" y="76"/>
                    <a:pt x="234" y="76"/>
                    <a:pt x="234" y="76"/>
                  </a:cubicBezTo>
                  <a:cubicBezTo>
                    <a:pt x="207" y="18"/>
                    <a:pt x="207" y="18"/>
                    <a:pt x="207" y="18"/>
                  </a:cubicBezTo>
                  <a:cubicBezTo>
                    <a:pt x="206" y="17"/>
                    <a:pt x="205" y="14"/>
                    <a:pt x="204" y="11"/>
                  </a:cubicBezTo>
                  <a:cubicBezTo>
                    <a:pt x="204" y="11"/>
                    <a:pt x="204" y="11"/>
                    <a:pt x="204" y="11"/>
                  </a:cubicBezTo>
                  <a:cubicBezTo>
                    <a:pt x="204" y="15"/>
                    <a:pt x="204" y="18"/>
                    <a:pt x="204" y="21"/>
                  </a:cubicBezTo>
                  <a:cubicBezTo>
                    <a:pt x="204" y="76"/>
                    <a:pt x="204" y="76"/>
                    <a:pt x="204" y="76"/>
                  </a:cubicBezTo>
                  <a:cubicBezTo>
                    <a:pt x="199" y="76"/>
                    <a:pt x="199" y="76"/>
                    <a:pt x="199" y="76"/>
                  </a:cubicBezTo>
                  <a:cubicBezTo>
                    <a:pt x="199" y="1"/>
                    <a:pt x="199" y="1"/>
                    <a:pt x="199" y="1"/>
                  </a:cubicBezTo>
                  <a:cubicBezTo>
                    <a:pt x="204" y="1"/>
                    <a:pt x="204" y="1"/>
                    <a:pt x="204" y="1"/>
                  </a:cubicBezTo>
                  <a:cubicBezTo>
                    <a:pt x="232" y="61"/>
                    <a:pt x="232" y="61"/>
                    <a:pt x="232" y="61"/>
                  </a:cubicBezTo>
                  <a:cubicBezTo>
                    <a:pt x="232" y="62"/>
                    <a:pt x="232" y="62"/>
                    <a:pt x="233" y="63"/>
                  </a:cubicBezTo>
                  <a:cubicBezTo>
                    <a:pt x="233" y="63"/>
                    <a:pt x="233" y="64"/>
                    <a:pt x="233" y="65"/>
                  </a:cubicBezTo>
                  <a:cubicBezTo>
                    <a:pt x="234" y="66"/>
                    <a:pt x="234" y="67"/>
                    <a:pt x="234" y="68"/>
                  </a:cubicBezTo>
                  <a:cubicBezTo>
                    <a:pt x="235" y="68"/>
                    <a:pt x="235" y="68"/>
                    <a:pt x="235" y="68"/>
                  </a:cubicBezTo>
                  <a:cubicBezTo>
                    <a:pt x="235" y="66"/>
                    <a:pt x="235" y="66"/>
                    <a:pt x="235" y="66"/>
                  </a:cubicBezTo>
                  <a:cubicBezTo>
                    <a:pt x="235" y="66"/>
                    <a:pt x="236" y="64"/>
                    <a:pt x="237" y="61"/>
                  </a:cubicBezTo>
                  <a:cubicBezTo>
                    <a:pt x="265" y="1"/>
                    <a:pt x="265" y="1"/>
                    <a:pt x="265" y="1"/>
                  </a:cubicBezTo>
                  <a:cubicBezTo>
                    <a:pt x="269" y="1"/>
                    <a:pt x="269" y="1"/>
                    <a:pt x="269" y="1"/>
                  </a:cubicBezTo>
                  <a:cubicBezTo>
                    <a:pt x="269" y="76"/>
                    <a:pt x="269" y="76"/>
                    <a:pt x="269" y="76"/>
                  </a:cubicBezTo>
                  <a:lnTo>
                    <a:pt x="264" y="76"/>
                  </a:lnTo>
                  <a:close/>
                  <a:moveTo>
                    <a:pt x="316" y="1"/>
                  </a:moveTo>
                  <a:cubicBezTo>
                    <a:pt x="311" y="1"/>
                    <a:pt x="311" y="1"/>
                    <a:pt x="311" y="1"/>
                  </a:cubicBezTo>
                  <a:cubicBezTo>
                    <a:pt x="282" y="76"/>
                    <a:pt x="282" y="76"/>
                    <a:pt x="282" y="76"/>
                  </a:cubicBezTo>
                  <a:cubicBezTo>
                    <a:pt x="288" y="76"/>
                    <a:pt x="288" y="76"/>
                    <a:pt x="288" y="76"/>
                  </a:cubicBezTo>
                  <a:cubicBezTo>
                    <a:pt x="297" y="53"/>
                    <a:pt x="297" y="53"/>
                    <a:pt x="297" y="53"/>
                  </a:cubicBezTo>
                  <a:cubicBezTo>
                    <a:pt x="329" y="53"/>
                    <a:pt x="329" y="53"/>
                    <a:pt x="329" y="53"/>
                  </a:cubicBezTo>
                  <a:cubicBezTo>
                    <a:pt x="338" y="76"/>
                    <a:pt x="338" y="76"/>
                    <a:pt x="338" y="76"/>
                  </a:cubicBezTo>
                  <a:cubicBezTo>
                    <a:pt x="344" y="76"/>
                    <a:pt x="344" y="76"/>
                    <a:pt x="344" y="76"/>
                  </a:cubicBezTo>
                  <a:lnTo>
                    <a:pt x="316" y="1"/>
                  </a:lnTo>
                  <a:close/>
                  <a:moveTo>
                    <a:pt x="298" y="48"/>
                  </a:moveTo>
                  <a:cubicBezTo>
                    <a:pt x="311" y="13"/>
                    <a:pt x="311" y="13"/>
                    <a:pt x="311" y="13"/>
                  </a:cubicBezTo>
                  <a:cubicBezTo>
                    <a:pt x="312" y="12"/>
                    <a:pt x="312" y="10"/>
                    <a:pt x="313" y="7"/>
                  </a:cubicBezTo>
                  <a:cubicBezTo>
                    <a:pt x="313" y="7"/>
                    <a:pt x="313" y="7"/>
                    <a:pt x="313" y="7"/>
                  </a:cubicBezTo>
                  <a:cubicBezTo>
                    <a:pt x="313" y="8"/>
                    <a:pt x="313" y="9"/>
                    <a:pt x="314" y="10"/>
                  </a:cubicBezTo>
                  <a:cubicBezTo>
                    <a:pt x="314" y="11"/>
                    <a:pt x="314" y="12"/>
                    <a:pt x="315" y="13"/>
                  </a:cubicBezTo>
                  <a:cubicBezTo>
                    <a:pt x="327" y="48"/>
                    <a:pt x="327" y="48"/>
                    <a:pt x="327" y="48"/>
                  </a:cubicBezTo>
                  <a:lnTo>
                    <a:pt x="298" y="48"/>
                  </a:lnTo>
                  <a:close/>
                  <a:moveTo>
                    <a:pt x="425" y="76"/>
                  </a:moveTo>
                  <a:cubicBezTo>
                    <a:pt x="393" y="40"/>
                    <a:pt x="393" y="40"/>
                    <a:pt x="393" y="40"/>
                  </a:cubicBezTo>
                  <a:cubicBezTo>
                    <a:pt x="392" y="39"/>
                    <a:pt x="391" y="39"/>
                    <a:pt x="391" y="38"/>
                  </a:cubicBezTo>
                  <a:cubicBezTo>
                    <a:pt x="391" y="38"/>
                    <a:pt x="391" y="38"/>
                    <a:pt x="391" y="38"/>
                  </a:cubicBezTo>
                  <a:cubicBezTo>
                    <a:pt x="391" y="76"/>
                    <a:pt x="391" y="76"/>
                    <a:pt x="391" y="76"/>
                  </a:cubicBezTo>
                  <a:cubicBezTo>
                    <a:pt x="386" y="76"/>
                    <a:pt x="386" y="76"/>
                    <a:pt x="386" y="76"/>
                  </a:cubicBezTo>
                  <a:cubicBezTo>
                    <a:pt x="386" y="1"/>
                    <a:pt x="386" y="1"/>
                    <a:pt x="386" y="1"/>
                  </a:cubicBezTo>
                  <a:cubicBezTo>
                    <a:pt x="391" y="1"/>
                    <a:pt x="391" y="1"/>
                    <a:pt x="391" y="1"/>
                  </a:cubicBezTo>
                  <a:cubicBezTo>
                    <a:pt x="391" y="36"/>
                    <a:pt x="391" y="36"/>
                    <a:pt x="391" y="36"/>
                  </a:cubicBezTo>
                  <a:cubicBezTo>
                    <a:pt x="391" y="36"/>
                    <a:pt x="391" y="36"/>
                    <a:pt x="391" y="36"/>
                  </a:cubicBezTo>
                  <a:cubicBezTo>
                    <a:pt x="392" y="36"/>
                    <a:pt x="392" y="35"/>
                    <a:pt x="393" y="34"/>
                  </a:cubicBezTo>
                  <a:cubicBezTo>
                    <a:pt x="423" y="1"/>
                    <a:pt x="423" y="1"/>
                    <a:pt x="423" y="1"/>
                  </a:cubicBezTo>
                  <a:cubicBezTo>
                    <a:pt x="430" y="1"/>
                    <a:pt x="430" y="1"/>
                    <a:pt x="430" y="1"/>
                  </a:cubicBezTo>
                  <a:cubicBezTo>
                    <a:pt x="397" y="37"/>
                    <a:pt x="397" y="37"/>
                    <a:pt x="397" y="37"/>
                  </a:cubicBezTo>
                  <a:cubicBezTo>
                    <a:pt x="432" y="76"/>
                    <a:pt x="432" y="76"/>
                    <a:pt x="432" y="76"/>
                  </a:cubicBezTo>
                  <a:lnTo>
                    <a:pt x="425" y="76"/>
                  </a:lnTo>
                  <a:close/>
                  <a:moveTo>
                    <a:pt x="469" y="1"/>
                  </a:moveTo>
                  <a:cubicBezTo>
                    <a:pt x="464" y="1"/>
                    <a:pt x="464" y="1"/>
                    <a:pt x="464" y="1"/>
                  </a:cubicBezTo>
                  <a:cubicBezTo>
                    <a:pt x="436" y="76"/>
                    <a:pt x="436" y="76"/>
                    <a:pt x="436" y="76"/>
                  </a:cubicBezTo>
                  <a:cubicBezTo>
                    <a:pt x="442" y="76"/>
                    <a:pt x="442" y="76"/>
                    <a:pt x="442" y="76"/>
                  </a:cubicBezTo>
                  <a:cubicBezTo>
                    <a:pt x="450" y="53"/>
                    <a:pt x="450" y="53"/>
                    <a:pt x="450" y="53"/>
                  </a:cubicBezTo>
                  <a:cubicBezTo>
                    <a:pt x="483" y="53"/>
                    <a:pt x="483" y="53"/>
                    <a:pt x="483" y="53"/>
                  </a:cubicBezTo>
                  <a:cubicBezTo>
                    <a:pt x="492" y="76"/>
                    <a:pt x="492" y="76"/>
                    <a:pt x="492" y="76"/>
                  </a:cubicBezTo>
                  <a:cubicBezTo>
                    <a:pt x="497" y="76"/>
                    <a:pt x="497" y="76"/>
                    <a:pt x="497" y="76"/>
                  </a:cubicBezTo>
                  <a:lnTo>
                    <a:pt x="469" y="1"/>
                  </a:lnTo>
                  <a:close/>
                  <a:moveTo>
                    <a:pt x="452" y="48"/>
                  </a:moveTo>
                  <a:cubicBezTo>
                    <a:pt x="465" y="13"/>
                    <a:pt x="465" y="13"/>
                    <a:pt x="465" y="13"/>
                  </a:cubicBezTo>
                  <a:cubicBezTo>
                    <a:pt x="465" y="12"/>
                    <a:pt x="466" y="10"/>
                    <a:pt x="467" y="7"/>
                  </a:cubicBezTo>
                  <a:cubicBezTo>
                    <a:pt x="467" y="7"/>
                    <a:pt x="467" y="7"/>
                    <a:pt x="467" y="7"/>
                  </a:cubicBezTo>
                  <a:cubicBezTo>
                    <a:pt x="467" y="8"/>
                    <a:pt x="467" y="9"/>
                    <a:pt x="468" y="10"/>
                  </a:cubicBezTo>
                  <a:cubicBezTo>
                    <a:pt x="468" y="11"/>
                    <a:pt x="468" y="12"/>
                    <a:pt x="468" y="13"/>
                  </a:cubicBezTo>
                  <a:cubicBezTo>
                    <a:pt x="481" y="48"/>
                    <a:pt x="481" y="48"/>
                    <a:pt x="481" y="48"/>
                  </a:cubicBezTo>
                  <a:lnTo>
                    <a:pt x="452" y="48"/>
                  </a:lnTo>
                  <a:close/>
                  <a:moveTo>
                    <a:pt x="508" y="73"/>
                  </a:moveTo>
                  <a:cubicBezTo>
                    <a:pt x="508" y="67"/>
                    <a:pt x="508" y="67"/>
                    <a:pt x="508" y="67"/>
                  </a:cubicBezTo>
                  <a:cubicBezTo>
                    <a:pt x="513" y="71"/>
                    <a:pt x="519" y="73"/>
                    <a:pt x="524" y="73"/>
                  </a:cubicBezTo>
                  <a:cubicBezTo>
                    <a:pt x="530" y="73"/>
                    <a:pt x="535" y="71"/>
                    <a:pt x="538" y="69"/>
                  </a:cubicBezTo>
                  <a:cubicBezTo>
                    <a:pt x="541" y="67"/>
                    <a:pt x="542" y="63"/>
                    <a:pt x="542" y="59"/>
                  </a:cubicBezTo>
                  <a:cubicBezTo>
                    <a:pt x="542" y="55"/>
                    <a:pt x="541" y="52"/>
                    <a:pt x="539" y="50"/>
                  </a:cubicBezTo>
                  <a:cubicBezTo>
                    <a:pt x="537" y="47"/>
                    <a:pt x="533" y="44"/>
                    <a:pt x="526" y="40"/>
                  </a:cubicBezTo>
                  <a:cubicBezTo>
                    <a:pt x="518" y="36"/>
                    <a:pt x="513" y="32"/>
                    <a:pt x="511" y="29"/>
                  </a:cubicBezTo>
                  <a:cubicBezTo>
                    <a:pt x="509" y="26"/>
                    <a:pt x="508" y="23"/>
                    <a:pt x="508" y="19"/>
                  </a:cubicBezTo>
                  <a:cubicBezTo>
                    <a:pt x="508" y="13"/>
                    <a:pt x="510" y="9"/>
                    <a:pt x="514" y="5"/>
                  </a:cubicBezTo>
                  <a:cubicBezTo>
                    <a:pt x="519" y="1"/>
                    <a:pt x="524" y="0"/>
                    <a:pt x="531" y="0"/>
                  </a:cubicBezTo>
                  <a:cubicBezTo>
                    <a:pt x="535" y="0"/>
                    <a:pt x="540" y="0"/>
                    <a:pt x="544" y="2"/>
                  </a:cubicBezTo>
                  <a:cubicBezTo>
                    <a:pt x="544" y="7"/>
                    <a:pt x="544" y="7"/>
                    <a:pt x="544" y="7"/>
                  </a:cubicBezTo>
                  <a:cubicBezTo>
                    <a:pt x="540" y="5"/>
                    <a:pt x="535" y="4"/>
                    <a:pt x="530" y="4"/>
                  </a:cubicBezTo>
                  <a:cubicBezTo>
                    <a:pt x="525" y="4"/>
                    <a:pt x="521" y="6"/>
                    <a:pt x="518" y="8"/>
                  </a:cubicBezTo>
                  <a:cubicBezTo>
                    <a:pt x="515" y="11"/>
                    <a:pt x="514" y="14"/>
                    <a:pt x="514" y="18"/>
                  </a:cubicBezTo>
                  <a:cubicBezTo>
                    <a:pt x="514" y="22"/>
                    <a:pt x="515" y="25"/>
                    <a:pt x="517" y="27"/>
                  </a:cubicBezTo>
                  <a:cubicBezTo>
                    <a:pt x="519" y="29"/>
                    <a:pt x="523" y="33"/>
                    <a:pt x="530" y="36"/>
                  </a:cubicBezTo>
                  <a:cubicBezTo>
                    <a:pt x="537" y="40"/>
                    <a:pt x="542" y="44"/>
                    <a:pt x="544" y="47"/>
                  </a:cubicBezTo>
                  <a:cubicBezTo>
                    <a:pt x="546" y="50"/>
                    <a:pt x="547" y="54"/>
                    <a:pt x="547" y="58"/>
                  </a:cubicBezTo>
                  <a:cubicBezTo>
                    <a:pt x="547" y="64"/>
                    <a:pt x="545" y="68"/>
                    <a:pt x="541" y="72"/>
                  </a:cubicBezTo>
                  <a:cubicBezTo>
                    <a:pt x="537" y="76"/>
                    <a:pt x="532" y="77"/>
                    <a:pt x="524" y="77"/>
                  </a:cubicBezTo>
                  <a:cubicBezTo>
                    <a:pt x="522" y="77"/>
                    <a:pt x="519" y="77"/>
                    <a:pt x="516" y="76"/>
                  </a:cubicBezTo>
                  <a:cubicBezTo>
                    <a:pt x="512" y="75"/>
                    <a:pt x="510" y="74"/>
                    <a:pt x="508" y="73"/>
                  </a:cubicBezTo>
                  <a:close/>
                  <a:moveTo>
                    <a:pt x="564" y="76"/>
                  </a:moveTo>
                  <a:cubicBezTo>
                    <a:pt x="564" y="1"/>
                    <a:pt x="564" y="1"/>
                    <a:pt x="564" y="1"/>
                  </a:cubicBezTo>
                  <a:cubicBezTo>
                    <a:pt x="569" y="1"/>
                    <a:pt x="569" y="1"/>
                    <a:pt x="569" y="1"/>
                  </a:cubicBezTo>
                  <a:cubicBezTo>
                    <a:pt x="569" y="76"/>
                    <a:pt x="569" y="76"/>
                    <a:pt x="569" y="76"/>
                  </a:cubicBezTo>
                  <a:lnTo>
                    <a:pt x="564" y="76"/>
                  </a:lnTo>
                  <a:close/>
                  <a:moveTo>
                    <a:pt x="636" y="76"/>
                  </a:moveTo>
                  <a:cubicBezTo>
                    <a:pt x="636" y="40"/>
                    <a:pt x="636" y="40"/>
                    <a:pt x="636" y="40"/>
                  </a:cubicBezTo>
                  <a:cubicBezTo>
                    <a:pt x="593" y="40"/>
                    <a:pt x="593" y="40"/>
                    <a:pt x="593" y="40"/>
                  </a:cubicBezTo>
                  <a:cubicBezTo>
                    <a:pt x="593" y="76"/>
                    <a:pt x="593" y="76"/>
                    <a:pt x="593" y="76"/>
                  </a:cubicBezTo>
                  <a:cubicBezTo>
                    <a:pt x="588" y="76"/>
                    <a:pt x="588" y="76"/>
                    <a:pt x="588" y="76"/>
                  </a:cubicBezTo>
                  <a:cubicBezTo>
                    <a:pt x="588" y="1"/>
                    <a:pt x="588" y="1"/>
                    <a:pt x="588" y="1"/>
                  </a:cubicBezTo>
                  <a:cubicBezTo>
                    <a:pt x="593" y="1"/>
                    <a:pt x="593" y="1"/>
                    <a:pt x="593" y="1"/>
                  </a:cubicBezTo>
                  <a:cubicBezTo>
                    <a:pt x="593" y="35"/>
                    <a:pt x="593" y="35"/>
                    <a:pt x="593" y="35"/>
                  </a:cubicBezTo>
                  <a:cubicBezTo>
                    <a:pt x="636" y="35"/>
                    <a:pt x="636" y="35"/>
                    <a:pt x="636" y="35"/>
                  </a:cubicBezTo>
                  <a:cubicBezTo>
                    <a:pt x="636" y="1"/>
                    <a:pt x="636" y="1"/>
                    <a:pt x="636" y="1"/>
                  </a:cubicBezTo>
                  <a:cubicBezTo>
                    <a:pt x="642" y="1"/>
                    <a:pt x="642" y="1"/>
                    <a:pt x="642" y="1"/>
                  </a:cubicBezTo>
                  <a:cubicBezTo>
                    <a:pt x="642" y="76"/>
                    <a:pt x="642" y="76"/>
                    <a:pt x="642" y="76"/>
                  </a:cubicBezTo>
                  <a:lnTo>
                    <a:pt x="636" y="76"/>
                  </a:lnTo>
                  <a:close/>
                </a:path>
              </a:pathLst>
            </a:custGeom>
            <a:solidFill>
              <a:srgbClr val="D6D2CA"/>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4" name="Freeform 233">
              <a:extLst>
                <a:ext uri="{FF2B5EF4-FFF2-40B4-BE49-F238E27FC236}">
                  <a16:creationId xmlns:a16="http://schemas.microsoft.com/office/drawing/2014/main" id="{2EDE83D4-972F-2F7C-172C-A767F819F3D6}"/>
                </a:ext>
                <a:ext uri="{C183D7F6-B498-43B3-948B-1728B52AA6E4}">
                  <adec:decorative xmlns:adec="http://schemas.microsoft.com/office/drawing/2017/decorative" val="1"/>
                </a:ext>
              </a:extLst>
            </p:cNvPr>
            <p:cNvSpPr>
              <a:spLocks noEditPoints="1"/>
            </p:cNvSpPr>
            <p:nvPr/>
          </p:nvSpPr>
          <p:spPr bwMode="auto">
            <a:xfrm>
              <a:off x="7020893" y="4999159"/>
              <a:ext cx="1408983" cy="237614"/>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solidFill>
              <a:srgbClr val="5CC4B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5" name="Freeform 236">
              <a:extLst>
                <a:ext uri="{FF2B5EF4-FFF2-40B4-BE49-F238E27FC236}">
                  <a16:creationId xmlns:a16="http://schemas.microsoft.com/office/drawing/2014/main" id="{501EB981-F206-B8AB-0372-BE901E8F1F2E}"/>
                </a:ext>
                <a:ext uri="{C183D7F6-B498-43B3-948B-1728B52AA6E4}">
                  <adec:decorative xmlns:adec="http://schemas.microsoft.com/office/drawing/2017/decorative" val="1"/>
                </a:ext>
              </a:extLst>
            </p:cNvPr>
            <p:cNvSpPr>
              <a:spLocks noEditPoints="1"/>
            </p:cNvSpPr>
            <p:nvPr/>
          </p:nvSpPr>
          <p:spPr bwMode="auto">
            <a:xfrm rot="16200000">
              <a:off x="5307293" y="1022674"/>
              <a:ext cx="336945" cy="1680561"/>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solidFill>
              <a:srgbClr val="F8BB2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3"/>
                </a:solidFill>
                <a:effectLst/>
                <a:uLnTx/>
                <a:uFillTx/>
                <a:latin typeface="Segoe UI Semilight"/>
                <a:ea typeface="+mn-ea"/>
                <a:cs typeface="+mn-cs"/>
              </a:endParaRPr>
            </a:p>
          </p:txBody>
        </p:sp>
        <p:sp>
          <p:nvSpPr>
            <p:cNvPr id="26" name="Freeform 237">
              <a:extLst>
                <a:ext uri="{FF2B5EF4-FFF2-40B4-BE49-F238E27FC236}">
                  <a16:creationId xmlns:a16="http://schemas.microsoft.com/office/drawing/2014/main" id="{59D9DF78-99E8-CEC2-F38A-27BA3F85F5A3}"/>
                </a:ext>
                <a:ext uri="{C183D7F6-B498-43B3-948B-1728B52AA6E4}">
                  <adec:decorative xmlns:adec="http://schemas.microsoft.com/office/drawing/2017/decorative" val="1"/>
                </a:ext>
              </a:extLst>
            </p:cNvPr>
            <p:cNvSpPr>
              <a:spLocks noEditPoints="1"/>
            </p:cNvSpPr>
            <p:nvPr/>
          </p:nvSpPr>
          <p:spPr bwMode="auto">
            <a:xfrm>
              <a:off x="3076592" y="4926642"/>
              <a:ext cx="3322733" cy="350641"/>
            </a:xfrm>
            <a:custGeom>
              <a:avLst/>
              <a:gdLst>
                <a:gd name="T0" fmla="*/ 57 w 1094"/>
                <a:gd name="T1" fmla="*/ 47 h 115"/>
                <a:gd name="T2" fmla="*/ 39 w 1094"/>
                <a:gd name="T3" fmla="*/ 24 h 115"/>
                <a:gd name="T4" fmla="*/ 4 w 1094"/>
                <a:gd name="T5" fmla="*/ 24 h 115"/>
                <a:gd name="T6" fmla="*/ 14 w 1094"/>
                <a:gd name="T7" fmla="*/ 105 h 115"/>
                <a:gd name="T8" fmla="*/ 68 w 1094"/>
                <a:gd name="T9" fmla="*/ 56 h 115"/>
                <a:gd name="T10" fmla="*/ 99 w 1094"/>
                <a:gd name="T11" fmla="*/ 79 h 115"/>
                <a:gd name="T12" fmla="*/ 35 w 1094"/>
                <a:gd name="T13" fmla="*/ 88 h 115"/>
                <a:gd name="T14" fmla="*/ 42 w 1094"/>
                <a:gd name="T15" fmla="*/ 82 h 115"/>
                <a:gd name="T16" fmla="*/ 134 w 1094"/>
                <a:gd name="T17" fmla="*/ 17 h 115"/>
                <a:gd name="T18" fmla="*/ 133 w 1094"/>
                <a:gd name="T19" fmla="*/ 71 h 115"/>
                <a:gd name="T20" fmla="*/ 188 w 1094"/>
                <a:gd name="T21" fmla="*/ 54 h 115"/>
                <a:gd name="T22" fmla="*/ 190 w 1094"/>
                <a:gd name="T23" fmla="*/ 10 h 115"/>
                <a:gd name="T24" fmla="*/ 282 w 1094"/>
                <a:gd name="T25" fmla="*/ 66 h 115"/>
                <a:gd name="T26" fmla="*/ 257 w 1094"/>
                <a:gd name="T27" fmla="*/ 103 h 115"/>
                <a:gd name="T28" fmla="*/ 218 w 1094"/>
                <a:gd name="T29" fmla="*/ 111 h 115"/>
                <a:gd name="T30" fmla="*/ 236 w 1094"/>
                <a:gd name="T31" fmla="*/ 38 h 115"/>
                <a:gd name="T32" fmla="*/ 293 w 1094"/>
                <a:gd name="T33" fmla="*/ 26 h 115"/>
                <a:gd name="T34" fmla="*/ 291 w 1094"/>
                <a:gd name="T35" fmla="*/ 30 h 115"/>
                <a:gd name="T36" fmla="*/ 311 w 1094"/>
                <a:gd name="T37" fmla="*/ 22 h 115"/>
                <a:gd name="T38" fmla="*/ 408 w 1094"/>
                <a:gd name="T39" fmla="*/ 46 h 115"/>
                <a:gd name="T40" fmla="*/ 372 w 1094"/>
                <a:gd name="T41" fmla="*/ 112 h 115"/>
                <a:gd name="T42" fmla="*/ 367 w 1094"/>
                <a:gd name="T43" fmla="*/ 11 h 115"/>
                <a:gd name="T44" fmla="*/ 482 w 1094"/>
                <a:gd name="T45" fmla="*/ 38 h 115"/>
                <a:gd name="T46" fmla="*/ 502 w 1094"/>
                <a:gd name="T47" fmla="*/ 67 h 115"/>
                <a:gd name="T48" fmla="*/ 449 w 1094"/>
                <a:gd name="T49" fmla="*/ 7 h 115"/>
                <a:gd name="T50" fmla="*/ 615 w 1094"/>
                <a:gd name="T51" fmla="*/ 104 h 115"/>
                <a:gd name="T52" fmla="*/ 553 w 1094"/>
                <a:gd name="T53" fmla="*/ 60 h 115"/>
                <a:gd name="T54" fmla="*/ 615 w 1094"/>
                <a:gd name="T55" fmla="*/ 104 h 115"/>
                <a:gd name="T56" fmla="*/ 538 w 1094"/>
                <a:gd name="T57" fmla="*/ 22 h 115"/>
                <a:gd name="T58" fmla="*/ 567 w 1094"/>
                <a:gd name="T59" fmla="*/ 47 h 115"/>
                <a:gd name="T60" fmla="*/ 619 w 1094"/>
                <a:gd name="T61" fmla="*/ 56 h 115"/>
                <a:gd name="T62" fmla="*/ 631 w 1094"/>
                <a:gd name="T63" fmla="*/ 45 h 115"/>
                <a:gd name="T64" fmla="*/ 716 w 1094"/>
                <a:gd name="T65" fmla="*/ 78 h 115"/>
                <a:gd name="T66" fmla="*/ 671 w 1094"/>
                <a:gd name="T67" fmla="*/ 40 h 115"/>
                <a:gd name="T68" fmla="*/ 685 w 1094"/>
                <a:gd name="T69" fmla="*/ 7 h 115"/>
                <a:gd name="T70" fmla="*/ 740 w 1094"/>
                <a:gd name="T71" fmla="*/ 32 h 115"/>
                <a:gd name="T72" fmla="*/ 671 w 1094"/>
                <a:gd name="T73" fmla="*/ 73 h 115"/>
                <a:gd name="T74" fmla="*/ 716 w 1094"/>
                <a:gd name="T75" fmla="*/ 3 h 115"/>
                <a:gd name="T76" fmla="*/ 733 w 1094"/>
                <a:gd name="T77" fmla="*/ 0 h 115"/>
                <a:gd name="T78" fmla="*/ 776 w 1094"/>
                <a:gd name="T79" fmla="*/ 20 h 115"/>
                <a:gd name="T80" fmla="*/ 806 w 1094"/>
                <a:gd name="T81" fmla="*/ 72 h 115"/>
                <a:gd name="T82" fmla="*/ 764 w 1094"/>
                <a:gd name="T83" fmla="*/ 18 h 115"/>
                <a:gd name="T84" fmla="*/ 865 w 1094"/>
                <a:gd name="T85" fmla="*/ 73 h 115"/>
                <a:gd name="T86" fmla="*/ 932 w 1094"/>
                <a:gd name="T87" fmla="*/ 52 h 115"/>
                <a:gd name="T88" fmla="*/ 932 w 1094"/>
                <a:gd name="T89" fmla="*/ 9 h 115"/>
                <a:gd name="T90" fmla="*/ 881 w 1094"/>
                <a:gd name="T91" fmla="*/ 23 h 115"/>
                <a:gd name="T92" fmla="*/ 916 w 1094"/>
                <a:gd name="T93" fmla="*/ 53 h 115"/>
                <a:gd name="T94" fmla="*/ 913 w 1094"/>
                <a:gd name="T95" fmla="*/ 60 h 115"/>
                <a:gd name="T96" fmla="*/ 912 w 1094"/>
                <a:gd name="T97" fmla="*/ 112 h 115"/>
                <a:gd name="T98" fmla="*/ 933 w 1094"/>
                <a:gd name="T99" fmla="*/ 80 h 115"/>
                <a:gd name="T100" fmla="*/ 926 w 1094"/>
                <a:gd name="T101" fmla="*/ 85 h 115"/>
                <a:gd name="T102" fmla="*/ 1058 w 1094"/>
                <a:gd name="T103" fmla="*/ 6 h 115"/>
                <a:gd name="T104" fmla="*/ 991 w 1094"/>
                <a:gd name="T105" fmla="*/ 33 h 115"/>
                <a:gd name="T106" fmla="*/ 1034 w 1094"/>
                <a:gd name="T107" fmla="*/ 87 h 115"/>
                <a:gd name="T108" fmla="*/ 1056 w 1094"/>
                <a:gd name="T109" fmla="*/ 80 h 115"/>
                <a:gd name="T110" fmla="*/ 1094 w 1094"/>
                <a:gd name="T111" fmla="*/ 23 h 115"/>
                <a:gd name="T112" fmla="*/ 1048 w 1094"/>
                <a:gd name="T113"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4" h="115">
                  <a:moveTo>
                    <a:pt x="70" y="48"/>
                  </a:moveTo>
                  <a:cubicBezTo>
                    <a:pt x="71" y="47"/>
                    <a:pt x="71" y="45"/>
                    <a:pt x="72" y="43"/>
                  </a:cubicBezTo>
                  <a:cubicBezTo>
                    <a:pt x="63" y="41"/>
                    <a:pt x="63" y="41"/>
                    <a:pt x="63" y="41"/>
                  </a:cubicBezTo>
                  <a:cubicBezTo>
                    <a:pt x="63" y="43"/>
                    <a:pt x="62" y="45"/>
                    <a:pt x="62" y="47"/>
                  </a:cubicBezTo>
                  <a:cubicBezTo>
                    <a:pt x="60" y="47"/>
                    <a:pt x="59" y="47"/>
                    <a:pt x="57" y="47"/>
                  </a:cubicBezTo>
                  <a:cubicBezTo>
                    <a:pt x="55" y="47"/>
                    <a:pt x="47" y="47"/>
                    <a:pt x="39" y="50"/>
                  </a:cubicBezTo>
                  <a:cubicBezTo>
                    <a:pt x="39" y="44"/>
                    <a:pt x="39" y="38"/>
                    <a:pt x="39" y="32"/>
                  </a:cubicBezTo>
                  <a:cubicBezTo>
                    <a:pt x="53" y="31"/>
                    <a:pt x="76" y="30"/>
                    <a:pt x="89" y="27"/>
                  </a:cubicBezTo>
                  <a:cubicBezTo>
                    <a:pt x="88" y="19"/>
                    <a:pt x="88" y="19"/>
                    <a:pt x="88" y="19"/>
                  </a:cubicBezTo>
                  <a:cubicBezTo>
                    <a:pt x="75" y="22"/>
                    <a:pt x="53" y="24"/>
                    <a:pt x="39" y="24"/>
                  </a:cubicBezTo>
                  <a:cubicBezTo>
                    <a:pt x="40" y="19"/>
                    <a:pt x="40" y="14"/>
                    <a:pt x="40" y="9"/>
                  </a:cubicBezTo>
                  <a:cubicBezTo>
                    <a:pt x="42" y="9"/>
                    <a:pt x="43" y="8"/>
                    <a:pt x="44" y="7"/>
                  </a:cubicBezTo>
                  <a:cubicBezTo>
                    <a:pt x="31" y="6"/>
                    <a:pt x="31" y="6"/>
                    <a:pt x="31" y="6"/>
                  </a:cubicBezTo>
                  <a:cubicBezTo>
                    <a:pt x="31" y="12"/>
                    <a:pt x="31" y="19"/>
                    <a:pt x="31" y="24"/>
                  </a:cubicBezTo>
                  <a:cubicBezTo>
                    <a:pt x="21" y="24"/>
                    <a:pt x="10" y="24"/>
                    <a:pt x="4" y="24"/>
                  </a:cubicBezTo>
                  <a:cubicBezTo>
                    <a:pt x="4" y="32"/>
                    <a:pt x="4" y="32"/>
                    <a:pt x="4" y="32"/>
                  </a:cubicBezTo>
                  <a:cubicBezTo>
                    <a:pt x="8" y="32"/>
                    <a:pt x="10" y="32"/>
                    <a:pt x="31" y="32"/>
                  </a:cubicBezTo>
                  <a:cubicBezTo>
                    <a:pt x="31" y="39"/>
                    <a:pt x="31" y="46"/>
                    <a:pt x="31" y="52"/>
                  </a:cubicBezTo>
                  <a:cubicBezTo>
                    <a:pt x="13" y="59"/>
                    <a:pt x="0" y="72"/>
                    <a:pt x="0" y="89"/>
                  </a:cubicBezTo>
                  <a:cubicBezTo>
                    <a:pt x="0" y="98"/>
                    <a:pt x="5" y="105"/>
                    <a:pt x="14" y="105"/>
                  </a:cubicBezTo>
                  <a:cubicBezTo>
                    <a:pt x="20" y="105"/>
                    <a:pt x="27" y="103"/>
                    <a:pt x="37" y="96"/>
                  </a:cubicBezTo>
                  <a:cubicBezTo>
                    <a:pt x="38" y="98"/>
                    <a:pt x="39" y="100"/>
                    <a:pt x="40" y="102"/>
                  </a:cubicBezTo>
                  <a:cubicBezTo>
                    <a:pt x="47" y="97"/>
                    <a:pt x="47" y="97"/>
                    <a:pt x="47" y="97"/>
                  </a:cubicBezTo>
                  <a:cubicBezTo>
                    <a:pt x="46" y="96"/>
                    <a:pt x="45" y="93"/>
                    <a:pt x="44" y="91"/>
                  </a:cubicBezTo>
                  <a:cubicBezTo>
                    <a:pt x="54" y="82"/>
                    <a:pt x="62" y="69"/>
                    <a:pt x="68" y="56"/>
                  </a:cubicBezTo>
                  <a:cubicBezTo>
                    <a:pt x="81" y="58"/>
                    <a:pt x="90" y="65"/>
                    <a:pt x="90" y="79"/>
                  </a:cubicBezTo>
                  <a:cubicBezTo>
                    <a:pt x="90" y="79"/>
                    <a:pt x="90" y="79"/>
                    <a:pt x="90" y="79"/>
                  </a:cubicBezTo>
                  <a:cubicBezTo>
                    <a:pt x="90" y="95"/>
                    <a:pt x="75" y="104"/>
                    <a:pt x="50" y="106"/>
                  </a:cubicBezTo>
                  <a:cubicBezTo>
                    <a:pt x="51" y="108"/>
                    <a:pt x="52" y="111"/>
                    <a:pt x="53" y="113"/>
                  </a:cubicBezTo>
                  <a:cubicBezTo>
                    <a:pt x="83" y="110"/>
                    <a:pt x="99" y="98"/>
                    <a:pt x="99" y="79"/>
                  </a:cubicBezTo>
                  <a:cubicBezTo>
                    <a:pt x="99" y="65"/>
                    <a:pt x="91" y="52"/>
                    <a:pt x="70" y="48"/>
                  </a:cubicBezTo>
                  <a:close/>
                  <a:moveTo>
                    <a:pt x="16" y="97"/>
                  </a:moveTo>
                  <a:cubicBezTo>
                    <a:pt x="12" y="97"/>
                    <a:pt x="8" y="95"/>
                    <a:pt x="8" y="88"/>
                  </a:cubicBezTo>
                  <a:cubicBezTo>
                    <a:pt x="8" y="76"/>
                    <a:pt x="18" y="66"/>
                    <a:pt x="31" y="60"/>
                  </a:cubicBezTo>
                  <a:cubicBezTo>
                    <a:pt x="32" y="71"/>
                    <a:pt x="33" y="81"/>
                    <a:pt x="35" y="88"/>
                  </a:cubicBezTo>
                  <a:cubicBezTo>
                    <a:pt x="28" y="93"/>
                    <a:pt x="22" y="97"/>
                    <a:pt x="16" y="97"/>
                  </a:cubicBezTo>
                  <a:close/>
                  <a:moveTo>
                    <a:pt x="42" y="82"/>
                  </a:moveTo>
                  <a:cubicBezTo>
                    <a:pt x="40" y="75"/>
                    <a:pt x="39" y="67"/>
                    <a:pt x="39" y="57"/>
                  </a:cubicBezTo>
                  <a:cubicBezTo>
                    <a:pt x="48" y="54"/>
                    <a:pt x="57" y="54"/>
                    <a:pt x="59" y="55"/>
                  </a:cubicBezTo>
                  <a:cubicBezTo>
                    <a:pt x="55" y="65"/>
                    <a:pt x="49" y="75"/>
                    <a:pt x="42" y="82"/>
                  </a:cubicBezTo>
                  <a:close/>
                  <a:moveTo>
                    <a:pt x="125" y="75"/>
                  </a:moveTo>
                  <a:cubicBezTo>
                    <a:pt x="123" y="68"/>
                    <a:pt x="122" y="59"/>
                    <a:pt x="122" y="52"/>
                  </a:cubicBezTo>
                  <a:cubicBezTo>
                    <a:pt x="122" y="41"/>
                    <a:pt x="123" y="28"/>
                    <a:pt x="126" y="13"/>
                  </a:cubicBezTo>
                  <a:cubicBezTo>
                    <a:pt x="138" y="15"/>
                    <a:pt x="138" y="15"/>
                    <a:pt x="138" y="15"/>
                  </a:cubicBezTo>
                  <a:cubicBezTo>
                    <a:pt x="137" y="16"/>
                    <a:pt x="136" y="17"/>
                    <a:pt x="134" y="17"/>
                  </a:cubicBezTo>
                  <a:cubicBezTo>
                    <a:pt x="132" y="27"/>
                    <a:pt x="130" y="42"/>
                    <a:pt x="130" y="52"/>
                  </a:cubicBezTo>
                  <a:cubicBezTo>
                    <a:pt x="130" y="54"/>
                    <a:pt x="130" y="57"/>
                    <a:pt x="131" y="58"/>
                  </a:cubicBezTo>
                  <a:cubicBezTo>
                    <a:pt x="133" y="52"/>
                    <a:pt x="137" y="44"/>
                    <a:pt x="140" y="40"/>
                  </a:cubicBezTo>
                  <a:cubicBezTo>
                    <a:pt x="141" y="41"/>
                    <a:pt x="143" y="44"/>
                    <a:pt x="145" y="45"/>
                  </a:cubicBezTo>
                  <a:cubicBezTo>
                    <a:pt x="136" y="61"/>
                    <a:pt x="133" y="65"/>
                    <a:pt x="133" y="71"/>
                  </a:cubicBezTo>
                  <a:cubicBezTo>
                    <a:pt x="133" y="71"/>
                    <a:pt x="133" y="72"/>
                    <a:pt x="133" y="74"/>
                  </a:cubicBezTo>
                  <a:lnTo>
                    <a:pt x="125" y="75"/>
                  </a:lnTo>
                  <a:close/>
                  <a:moveTo>
                    <a:pt x="190" y="10"/>
                  </a:moveTo>
                  <a:cubicBezTo>
                    <a:pt x="189" y="11"/>
                    <a:pt x="188" y="12"/>
                    <a:pt x="186" y="12"/>
                  </a:cubicBezTo>
                  <a:cubicBezTo>
                    <a:pt x="187" y="23"/>
                    <a:pt x="188" y="40"/>
                    <a:pt x="188" y="54"/>
                  </a:cubicBezTo>
                  <a:cubicBezTo>
                    <a:pt x="188" y="77"/>
                    <a:pt x="180" y="98"/>
                    <a:pt x="144" y="113"/>
                  </a:cubicBezTo>
                  <a:cubicBezTo>
                    <a:pt x="142" y="111"/>
                    <a:pt x="140" y="108"/>
                    <a:pt x="138" y="106"/>
                  </a:cubicBezTo>
                  <a:cubicBezTo>
                    <a:pt x="171" y="94"/>
                    <a:pt x="179" y="74"/>
                    <a:pt x="179" y="54"/>
                  </a:cubicBezTo>
                  <a:cubicBezTo>
                    <a:pt x="179" y="39"/>
                    <a:pt x="178" y="22"/>
                    <a:pt x="177" y="9"/>
                  </a:cubicBezTo>
                  <a:lnTo>
                    <a:pt x="190" y="10"/>
                  </a:lnTo>
                  <a:close/>
                  <a:moveTo>
                    <a:pt x="253" y="10"/>
                  </a:moveTo>
                  <a:cubicBezTo>
                    <a:pt x="253" y="11"/>
                    <a:pt x="252" y="12"/>
                    <a:pt x="249" y="12"/>
                  </a:cubicBezTo>
                  <a:cubicBezTo>
                    <a:pt x="248" y="19"/>
                    <a:pt x="246" y="30"/>
                    <a:pt x="244" y="38"/>
                  </a:cubicBezTo>
                  <a:cubicBezTo>
                    <a:pt x="250" y="37"/>
                    <a:pt x="255" y="37"/>
                    <a:pt x="258" y="37"/>
                  </a:cubicBezTo>
                  <a:cubicBezTo>
                    <a:pt x="276" y="36"/>
                    <a:pt x="282" y="48"/>
                    <a:pt x="282" y="66"/>
                  </a:cubicBezTo>
                  <a:cubicBezTo>
                    <a:pt x="282" y="75"/>
                    <a:pt x="281" y="86"/>
                    <a:pt x="278" y="93"/>
                  </a:cubicBezTo>
                  <a:cubicBezTo>
                    <a:pt x="274" y="106"/>
                    <a:pt x="267" y="111"/>
                    <a:pt x="257" y="111"/>
                  </a:cubicBezTo>
                  <a:cubicBezTo>
                    <a:pt x="252" y="111"/>
                    <a:pt x="245" y="109"/>
                    <a:pt x="235" y="101"/>
                  </a:cubicBezTo>
                  <a:cubicBezTo>
                    <a:pt x="236" y="99"/>
                    <a:pt x="237" y="96"/>
                    <a:pt x="238" y="94"/>
                  </a:cubicBezTo>
                  <a:cubicBezTo>
                    <a:pt x="248" y="101"/>
                    <a:pt x="253" y="103"/>
                    <a:pt x="257" y="103"/>
                  </a:cubicBezTo>
                  <a:cubicBezTo>
                    <a:pt x="264" y="103"/>
                    <a:pt x="268" y="99"/>
                    <a:pt x="270" y="91"/>
                  </a:cubicBezTo>
                  <a:cubicBezTo>
                    <a:pt x="273" y="83"/>
                    <a:pt x="274" y="72"/>
                    <a:pt x="274" y="66"/>
                  </a:cubicBezTo>
                  <a:cubicBezTo>
                    <a:pt x="274" y="52"/>
                    <a:pt x="269" y="44"/>
                    <a:pt x="257" y="44"/>
                  </a:cubicBezTo>
                  <a:cubicBezTo>
                    <a:pt x="254" y="44"/>
                    <a:pt x="249" y="45"/>
                    <a:pt x="243" y="46"/>
                  </a:cubicBezTo>
                  <a:cubicBezTo>
                    <a:pt x="237" y="70"/>
                    <a:pt x="230" y="91"/>
                    <a:pt x="218" y="111"/>
                  </a:cubicBezTo>
                  <a:cubicBezTo>
                    <a:pt x="210" y="107"/>
                    <a:pt x="210" y="107"/>
                    <a:pt x="210" y="107"/>
                  </a:cubicBezTo>
                  <a:cubicBezTo>
                    <a:pt x="222" y="88"/>
                    <a:pt x="228" y="69"/>
                    <a:pt x="234" y="47"/>
                  </a:cubicBezTo>
                  <a:cubicBezTo>
                    <a:pt x="228" y="47"/>
                    <a:pt x="219" y="48"/>
                    <a:pt x="213" y="49"/>
                  </a:cubicBezTo>
                  <a:cubicBezTo>
                    <a:pt x="212" y="41"/>
                    <a:pt x="212" y="41"/>
                    <a:pt x="212" y="41"/>
                  </a:cubicBezTo>
                  <a:cubicBezTo>
                    <a:pt x="218" y="40"/>
                    <a:pt x="228" y="39"/>
                    <a:pt x="236" y="38"/>
                  </a:cubicBezTo>
                  <a:cubicBezTo>
                    <a:pt x="237" y="30"/>
                    <a:pt x="239" y="19"/>
                    <a:pt x="241" y="8"/>
                  </a:cubicBezTo>
                  <a:lnTo>
                    <a:pt x="253" y="10"/>
                  </a:lnTo>
                  <a:close/>
                  <a:moveTo>
                    <a:pt x="281" y="6"/>
                  </a:moveTo>
                  <a:cubicBezTo>
                    <a:pt x="287" y="11"/>
                    <a:pt x="294" y="18"/>
                    <a:pt x="297" y="23"/>
                  </a:cubicBezTo>
                  <a:cubicBezTo>
                    <a:pt x="293" y="26"/>
                    <a:pt x="293" y="26"/>
                    <a:pt x="293" y="26"/>
                  </a:cubicBezTo>
                  <a:cubicBezTo>
                    <a:pt x="289" y="21"/>
                    <a:pt x="282" y="14"/>
                    <a:pt x="277" y="10"/>
                  </a:cubicBezTo>
                  <a:lnTo>
                    <a:pt x="281" y="6"/>
                  </a:lnTo>
                  <a:close/>
                  <a:moveTo>
                    <a:pt x="308" y="76"/>
                  </a:moveTo>
                  <a:cubicBezTo>
                    <a:pt x="304" y="59"/>
                    <a:pt x="295" y="44"/>
                    <a:pt x="284" y="35"/>
                  </a:cubicBezTo>
                  <a:cubicBezTo>
                    <a:pt x="291" y="30"/>
                    <a:pt x="291" y="30"/>
                    <a:pt x="291" y="30"/>
                  </a:cubicBezTo>
                  <a:cubicBezTo>
                    <a:pt x="302" y="40"/>
                    <a:pt x="313" y="55"/>
                    <a:pt x="317" y="73"/>
                  </a:cubicBezTo>
                  <a:lnTo>
                    <a:pt x="308" y="76"/>
                  </a:lnTo>
                  <a:close/>
                  <a:moveTo>
                    <a:pt x="299" y="1"/>
                  </a:moveTo>
                  <a:cubicBezTo>
                    <a:pt x="305" y="6"/>
                    <a:pt x="312" y="13"/>
                    <a:pt x="316" y="18"/>
                  </a:cubicBezTo>
                  <a:cubicBezTo>
                    <a:pt x="311" y="22"/>
                    <a:pt x="311" y="22"/>
                    <a:pt x="311" y="22"/>
                  </a:cubicBezTo>
                  <a:cubicBezTo>
                    <a:pt x="308" y="16"/>
                    <a:pt x="300" y="9"/>
                    <a:pt x="295" y="5"/>
                  </a:cubicBezTo>
                  <a:lnTo>
                    <a:pt x="299" y="1"/>
                  </a:lnTo>
                  <a:close/>
                  <a:moveTo>
                    <a:pt x="411" y="47"/>
                  </a:moveTo>
                  <a:cubicBezTo>
                    <a:pt x="411" y="47"/>
                    <a:pt x="411" y="47"/>
                    <a:pt x="410" y="47"/>
                  </a:cubicBezTo>
                  <a:cubicBezTo>
                    <a:pt x="409" y="47"/>
                    <a:pt x="408" y="47"/>
                    <a:pt x="408" y="46"/>
                  </a:cubicBezTo>
                  <a:cubicBezTo>
                    <a:pt x="372" y="57"/>
                    <a:pt x="340" y="72"/>
                    <a:pt x="340" y="88"/>
                  </a:cubicBezTo>
                  <a:cubicBezTo>
                    <a:pt x="340" y="100"/>
                    <a:pt x="353" y="104"/>
                    <a:pt x="372" y="104"/>
                  </a:cubicBezTo>
                  <a:cubicBezTo>
                    <a:pt x="391" y="104"/>
                    <a:pt x="406" y="102"/>
                    <a:pt x="415" y="101"/>
                  </a:cubicBezTo>
                  <a:cubicBezTo>
                    <a:pt x="415" y="110"/>
                    <a:pt x="415" y="110"/>
                    <a:pt x="415" y="110"/>
                  </a:cubicBezTo>
                  <a:cubicBezTo>
                    <a:pt x="404" y="111"/>
                    <a:pt x="386" y="112"/>
                    <a:pt x="372" y="112"/>
                  </a:cubicBezTo>
                  <a:cubicBezTo>
                    <a:pt x="349" y="112"/>
                    <a:pt x="331" y="107"/>
                    <a:pt x="331" y="89"/>
                  </a:cubicBezTo>
                  <a:cubicBezTo>
                    <a:pt x="331" y="76"/>
                    <a:pt x="344" y="65"/>
                    <a:pt x="363" y="55"/>
                  </a:cubicBezTo>
                  <a:cubicBezTo>
                    <a:pt x="359" y="48"/>
                    <a:pt x="357" y="34"/>
                    <a:pt x="357" y="7"/>
                  </a:cubicBezTo>
                  <a:cubicBezTo>
                    <a:pt x="370" y="8"/>
                    <a:pt x="370" y="8"/>
                    <a:pt x="370" y="8"/>
                  </a:cubicBezTo>
                  <a:cubicBezTo>
                    <a:pt x="370" y="9"/>
                    <a:pt x="369" y="10"/>
                    <a:pt x="367" y="11"/>
                  </a:cubicBezTo>
                  <a:cubicBezTo>
                    <a:pt x="367" y="32"/>
                    <a:pt x="367" y="45"/>
                    <a:pt x="371" y="51"/>
                  </a:cubicBezTo>
                  <a:cubicBezTo>
                    <a:pt x="382" y="46"/>
                    <a:pt x="395" y="41"/>
                    <a:pt x="408" y="37"/>
                  </a:cubicBezTo>
                  <a:lnTo>
                    <a:pt x="411" y="47"/>
                  </a:lnTo>
                  <a:close/>
                  <a:moveTo>
                    <a:pt x="432" y="48"/>
                  </a:moveTo>
                  <a:cubicBezTo>
                    <a:pt x="450" y="43"/>
                    <a:pt x="473" y="38"/>
                    <a:pt x="482" y="38"/>
                  </a:cubicBezTo>
                  <a:cubicBezTo>
                    <a:pt x="500" y="38"/>
                    <a:pt x="511" y="48"/>
                    <a:pt x="511" y="66"/>
                  </a:cubicBezTo>
                  <a:cubicBezTo>
                    <a:pt x="511" y="67"/>
                    <a:pt x="511" y="67"/>
                    <a:pt x="511" y="67"/>
                  </a:cubicBezTo>
                  <a:cubicBezTo>
                    <a:pt x="510" y="89"/>
                    <a:pt x="493" y="105"/>
                    <a:pt x="459" y="114"/>
                  </a:cubicBezTo>
                  <a:cubicBezTo>
                    <a:pt x="458" y="112"/>
                    <a:pt x="455" y="109"/>
                    <a:pt x="453" y="107"/>
                  </a:cubicBezTo>
                  <a:cubicBezTo>
                    <a:pt x="484" y="99"/>
                    <a:pt x="502" y="85"/>
                    <a:pt x="502" y="67"/>
                  </a:cubicBezTo>
                  <a:cubicBezTo>
                    <a:pt x="502" y="55"/>
                    <a:pt x="496" y="47"/>
                    <a:pt x="482" y="47"/>
                  </a:cubicBezTo>
                  <a:cubicBezTo>
                    <a:pt x="472" y="47"/>
                    <a:pt x="453" y="51"/>
                    <a:pt x="438" y="56"/>
                  </a:cubicBezTo>
                  <a:cubicBezTo>
                    <a:pt x="438" y="57"/>
                    <a:pt x="437" y="58"/>
                    <a:pt x="436" y="59"/>
                  </a:cubicBezTo>
                  <a:lnTo>
                    <a:pt x="432" y="48"/>
                  </a:lnTo>
                  <a:close/>
                  <a:moveTo>
                    <a:pt x="449" y="7"/>
                  </a:moveTo>
                  <a:cubicBezTo>
                    <a:pt x="466" y="8"/>
                    <a:pt x="485" y="12"/>
                    <a:pt x="497" y="16"/>
                  </a:cubicBezTo>
                  <a:cubicBezTo>
                    <a:pt x="495" y="24"/>
                    <a:pt x="495" y="24"/>
                    <a:pt x="495" y="24"/>
                  </a:cubicBezTo>
                  <a:cubicBezTo>
                    <a:pt x="482" y="20"/>
                    <a:pt x="463" y="16"/>
                    <a:pt x="447" y="15"/>
                  </a:cubicBezTo>
                  <a:lnTo>
                    <a:pt x="449" y="7"/>
                  </a:lnTo>
                  <a:close/>
                  <a:moveTo>
                    <a:pt x="615" y="104"/>
                  </a:moveTo>
                  <a:cubicBezTo>
                    <a:pt x="604" y="105"/>
                    <a:pt x="590" y="106"/>
                    <a:pt x="578" y="106"/>
                  </a:cubicBezTo>
                  <a:cubicBezTo>
                    <a:pt x="568" y="106"/>
                    <a:pt x="559" y="106"/>
                    <a:pt x="555" y="105"/>
                  </a:cubicBezTo>
                  <a:cubicBezTo>
                    <a:pt x="540" y="102"/>
                    <a:pt x="534" y="92"/>
                    <a:pt x="534" y="82"/>
                  </a:cubicBezTo>
                  <a:cubicBezTo>
                    <a:pt x="534" y="73"/>
                    <a:pt x="539" y="63"/>
                    <a:pt x="546" y="56"/>
                  </a:cubicBezTo>
                  <a:cubicBezTo>
                    <a:pt x="553" y="60"/>
                    <a:pt x="553" y="60"/>
                    <a:pt x="553" y="60"/>
                  </a:cubicBezTo>
                  <a:cubicBezTo>
                    <a:pt x="546" y="67"/>
                    <a:pt x="542" y="74"/>
                    <a:pt x="542" y="81"/>
                  </a:cubicBezTo>
                  <a:cubicBezTo>
                    <a:pt x="542" y="88"/>
                    <a:pt x="547" y="94"/>
                    <a:pt x="557" y="97"/>
                  </a:cubicBezTo>
                  <a:cubicBezTo>
                    <a:pt x="561" y="98"/>
                    <a:pt x="568" y="98"/>
                    <a:pt x="577" y="98"/>
                  </a:cubicBezTo>
                  <a:cubicBezTo>
                    <a:pt x="588" y="98"/>
                    <a:pt x="602" y="97"/>
                    <a:pt x="614" y="95"/>
                  </a:cubicBezTo>
                  <a:lnTo>
                    <a:pt x="615" y="104"/>
                  </a:lnTo>
                  <a:close/>
                  <a:moveTo>
                    <a:pt x="561" y="43"/>
                  </a:moveTo>
                  <a:cubicBezTo>
                    <a:pt x="567" y="38"/>
                    <a:pt x="575" y="32"/>
                    <a:pt x="582" y="29"/>
                  </a:cubicBezTo>
                  <a:cubicBezTo>
                    <a:pt x="582" y="29"/>
                    <a:pt x="582" y="29"/>
                    <a:pt x="582" y="29"/>
                  </a:cubicBezTo>
                  <a:cubicBezTo>
                    <a:pt x="573" y="30"/>
                    <a:pt x="552" y="30"/>
                    <a:pt x="539" y="30"/>
                  </a:cubicBezTo>
                  <a:cubicBezTo>
                    <a:pt x="539" y="28"/>
                    <a:pt x="539" y="24"/>
                    <a:pt x="538" y="22"/>
                  </a:cubicBezTo>
                  <a:cubicBezTo>
                    <a:pt x="545" y="22"/>
                    <a:pt x="545" y="22"/>
                    <a:pt x="545" y="22"/>
                  </a:cubicBezTo>
                  <a:cubicBezTo>
                    <a:pt x="560" y="22"/>
                    <a:pt x="592" y="22"/>
                    <a:pt x="607" y="18"/>
                  </a:cubicBezTo>
                  <a:cubicBezTo>
                    <a:pt x="608" y="27"/>
                    <a:pt x="608" y="27"/>
                    <a:pt x="608" y="27"/>
                  </a:cubicBezTo>
                  <a:cubicBezTo>
                    <a:pt x="604" y="27"/>
                    <a:pt x="601" y="28"/>
                    <a:pt x="595" y="30"/>
                  </a:cubicBezTo>
                  <a:cubicBezTo>
                    <a:pt x="589" y="33"/>
                    <a:pt x="577" y="40"/>
                    <a:pt x="567" y="47"/>
                  </a:cubicBezTo>
                  <a:lnTo>
                    <a:pt x="561" y="43"/>
                  </a:lnTo>
                  <a:close/>
                  <a:moveTo>
                    <a:pt x="614" y="60"/>
                  </a:moveTo>
                  <a:cubicBezTo>
                    <a:pt x="611" y="55"/>
                    <a:pt x="604" y="48"/>
                    <a:pt x="598" y="44"/>
                  </a:cubicBezTo>
                  <a:cubicBezTo>
                    <a:pt x="602" y="40"/>
                    <a:pt x="602" y="40"/>
                    <a:pt x="602" y="40"/>
                  </a:cubicBezTo>
                  <a:cubicBezTo>
                    <a:pt x="608" y="44"/>
                    <a:pt x="615" y="51"/>
                    <a:pt x="619" y="56"/>
                  </a:cubicBezTo>
                  <a:lnTo>
                    <a:pt x="614" y="60"/>
                  </a:lnTo>
                  <a:close/>
                  <a:moveTo>
                    <a:pt x="627" y="49"/>
                  </a:moveTo>
                  <a:cubicBezTo>
                    <a:pt x="624" y="44"/>
                    <a:pt x="617" y="37"/>
                    <a:pt x="611" y="32"/>
                  </a:cubicBezTo>
                  <a:cubicBezTo>
                    <a:pt x="615" y="29"/>
                    <a:pt x="615" y="29"/>
                    <a:pt x="615" y="29"/>
                  </a:cubicBezTo>
                  <a:cubicBezTo>
                    <a:pt x="621" y="33"/>
                    <a:pt x="628" y="40"/>
                    <a:pt x="631" y="45"/>
                  </a:cubicBezTo>
                  <a:lnTo>
                    <a:pt x="627" y="49"/>
                  </a:lnTo>
                  <a:close/>
                  <a:moveTo>
                    <a:pt x="740" y="32"/>
                  </a:moveTo>
                  <a:cubicBezTo>
                    <a:pt x="729" y="35"/>
                    <a:pt x="714" y="38"/>
                    <a:pt x="700" y="39"/>
                  </a:cubicBezTo>
                  <a:cubicBezTo>
                    <a:pt x="704" y="55"/>
                    <a:pt x="710" y="65"/>
                    <a:pt x="722" y="71"/>
                  </a:cubicBezTo>
                  <a:cubicBezTo>
                    <a:pt x="716" y="78"/>
                    <a:pt x="716" y="78"/>
                    <a:pt x="716" y="78"/>
                  </a:cubicBezTo>
                  <a:cubicBezTo>
                    <a:pt x="710" y="73"/>
                    <a:pt x="702" y="70"/>
                    <a:pt x="689" y="70"/>
                  </a:cubicBezTo>
                  <a:cubicBezTo>
                    <a:pt x="688" y="63"/>
                    <a:pt x="688" y="63"/>
                    <a:pt x="688" y="63"/>
                  </a:cubicBezTo>
                  <a:cubicBezTo>
                    <a:pt x="694" y="63"/>
                    <a:pt x="698" y="64"/>
                    <a:pt x="701" y="64"/>
                  </a:cubicBezTo>
                  <a:cubicBezTo>
                    <a:pt x="698" y="60"/>
                    <a:pt x="694" y="50"/>
                    <a:pt x="691" y="40"/>
                  </a:cubicBezTo>
                  <a:cubicBezTo>
                    <a:pt x="686" y="40"/>
                    <a:pt x="678" y="40"/>
                    <a:pt x="671" y="40"/>
                  </a:cubicBezTo>
                  <a:cubicBezTo>
                    <a:pt x="663" y="40"/>
                    <a:pt x="650" y="40"/>
                    <a:pt x="643" y="40"/>
                  </a:cubicBezTo>
                  <a:cubicBezTo>
                    <a:pt x="643" y="32"/>
                    <a:pt x="643" y="32"/>
                    <a:pt x="643" y="32"/>
                  </a:cubicBezTo>
                  <a:cubicBezTo>
                    <a:pt x="650" y="32"/>
                    <a:pt x="660" y="32"/>
                    <a:pt x="671" y="32"/>
                  </a:cubicBezTo>
                  <a:cubicBezTo>
                    <a:pt x="677" y="32"/>
                    <a:pt x="684" y="32"/>
                    <a:pt x="689" y="32"/>
                  </a:cubicBezTo>
                  <a:cubicBezTo>
                    <a:pt x="688" y="25"/>
                    <a:pt x="686" y="16"/>
                    <a:pt x="685" y="7"/>
                  </a:cubicBezTo>
                  <a:cubicBezTo>
                    <a:pt x="698" y="7"/>
                    <a:pt x="698" y="7"/>
                    <a:pt x="698" y="7"/>
                  </a:cubicBezTo>
                  <a:cubicBezTo>
                    <a:pt x="698" y="9"/>
                    <a:pt x="697" y="10"/>
                    <a:pt x="695" y="10"/>
                  </a:cubicBezTo>
                  <a:cubicBezTo>
                    <a:pt x="695" y="17"/>
                    <a:pt x="696" y="24"/>
                    <a:pt x="698" y="31"/>
                  </a:cubicBezTo>
                  <a:cubicBezTo>
                    <a:pt x="712" y="30"/>
                    <a:pt x="727" y="27"/>
                    <a:pt x="738" y="24"/>
                  </a:cubicBezTo>
                  <a:lnTo>
                    <a:pt x="740" y="32"/>
                  </a:lnTo>
                  <a:close/>
                  <a:moveTo>
                    <a:pt x="719" y="112"/>
                  </a:moveTo>
                  <a:cubicBezTo>
                    <a:pt x="713" y="112"/>
                    <a:pt x="707" y="112"/>
                    <a:pt x="696" y="112"/>
                  </a:cubicBezTo>
                  <a:cubicBezTo>
                    <a:pt x="671" y="112"/>
                    <a:pt x="653" y="104"/>
                    <a:pt x="653" y="88"/>
                  </a:cubicBezTo>
                  <a:cubicBezTo>
                    <a:pt x="653" y="81"/>
                    <a:pt x="658" y="74"/>
                    <a:pt x="664" y="68"/>
                  </a:cubicBezTo>
                  <a:cubicBezTo>
                    <a:pt x="671" y="73"/>
                    <a:pt x="671" y="73"/>
                    <a:pt x="671" y="73"/>
                  </a:cubicBezTo>
                  <a:cubicBezTo>
                    <a:pt x="665" y="77"/>
                    <a:pt x="662" y="83"/>
                    <a:pt x="662" y="88"/>
                  </a:cubicBezTo>
                  <a:cubicBezTo>
                    <a:pt x="662" y="100"/>
                    <a:pt x="677" y="104"/>
                    <a:pt x="697" y="104"/>
                  </a:cubicBezTo>
                  <a:cubicBezTo>
                    <a:pt x="707" y="104"/>
                    <a:pt x="713" y="104"/>
                    <a:pt x="719" y="103"/>
                  </a:cubicBezTo>
                  <a:lnTo>
                    <a:pt x="719" y="112"/>
                  </a:lnTo>
                  <a:close/>
                  <a:moveTo>
                    <a:pt x="716" y="3"/>
                  </a:moveTo>
                  <a:cubicBezTo>
                    <a:pt x="721" y="8"/>
                    <a:pt x="727" y="14"/>
                    <a:pt x="730" y="19"/>
                  </a:cubicBezTo>
                  <a:cubicBezTo>
                    <a:pt x="725" y="23"/>
                    <a:pt x="725" y="23"/>
                    <a:pt x="725" y="23"/>
                  </a:cubicBezTo>
                  <a:cubicBezTo>
                    <a:pt x="722" y="17"/>
                    <a:pt x="716" y="11"/>
                    <a:pt x="712" y="6"/>
                  </a:cubicBezTo>
                  <a:lnTo>
                    <a:pt x="716" y="3"/>
                  </a:lnTo>
                  <a:close/>
                  <a:moveTo>
                    <a:pt x="733" y="0"/>
                  </a:moveTo>
                  <a:cubicBezTo>
                    <a:pt x="738" y="5"/>
                    <a:pt x="744" y="11"/>
                    <a:pt x="747" y="16"/>
                  </a:cubicBezTo>
                  <a:cubicBezTo>
                    <a:pt x="742" y="20"/>
                    <a:pt x="742" y="20"/>
                    <a:pt x="742" y="20"/>
                  </a:cubicBezTo>
                  <a:cubicBezTo>
                    <a:pt x="739" y="15"/>
                    <a:pt x="733" y="8"/>
                    <a:pt x="728" y="3"/>
                  </a:cubicBezTo>
                  <a:lnTo>
                    <a:pt x="733" y="0"/>
                  </a:lnTo>
                  <a:close/>
                  <a:moveTo>
                    <a:pt x="776" y="20"/>
                  </a:moveTo>
                  <a:cubicBezTo>
                    <a:pt x="776" y="21"/>
                    <a:pt x="775" y="22"/>
                    <a:pt x="773" y="22"/>
                  </a:cubicBezTo>
                  <a:cubicBezTo>
                    <a:pt x="772" y="31"/>
                    <a:pt x="771" y="42"/>
                    <a:pt x="771" y="52"/>
                  </a:cubicBezTo>
                  <a:cubicBezTo>
                    <a:pt x="771" y="57"/>
                    <a:pt x="771" y="61"/>
                    <a:pt x="771" y="65"/>
                  </a:cubicBezTo>
                  <a:cubicBezTo>
                    <a:pt x="773" y="85"/>
                    <a:pt x="781" y="98"/>
                    <a:pt x="790" y="97"/>
                  </a:cubicBezTo>
                  <a:cubicBezTo>
                    <a:pt x="795" y="97"/>
                    <a:pt x="801" y="85"/>
                    <a:pt x="806" y="72"/>
                  </a:cubicBezTo>
                  <a:cubicBezTo>
                    <a:pt x="807" y="73"/>
                    <a:pt x="811" y="76"/>
                    <a:pt x="813" y="77"/>
                  </a:cubicBezTo>
                  <a:cubicBezTo>
                    <a:pt x="807" y="93"/>
                    <a:pt x="800" y="106"/>
                    <a:pt x="790" y="107"/>
                  </a:cubicBezTo>
                  <a:cubicBezTo>
                    <a:pt x="775" y="107"/>
                    <a:pt x="764" y="88"/>
                    <a:pt x="763" y="65"/>
                  </a:cubicBezTo>
                  <a:cubicBezTo>
                    <a:pt x="762" y="61"/>
                    <a:pt x="762" y="56"/>
                    <a:pt x="762" y="50"/>
                  </a:cubicBezTo>
                  <a:cubicBezTo>
                    <a:pt x="762" y="40"/>
                    <a:pt x="763" y="28"/>
                    <a:pt x="764" y="18"/>
                  </a:cubicBezTo>
                  <a:lnTo>
                    <a:pt x="776" y="20"/>
                  </a:lnTo>
                  <a:close/>
                  <a:moveTo>
                    <a:pt x="856" y="76"/>
                  </a:moveTo>
                  <a:cubicBezTo>
                    <a:pt x="853" y="55"/>
                    <a:pt x="842" y="40"/>
                    <a:pt x="826" y="31"/>
                  </a:cubicBezTo>
                  <a:cubicBezTo>
                    <a:pt x="831" y="24"/>
                    <a:pt x="831" y="24"/>
                    <a:pt x="831" y="24"/>
                  </a:cubicBezTo>
                  <a:cubicBezTo>
                    <a:pt x="849" y="34"/>
                    <a:pt x="862" y="51"/>
                    <a:pt x="865" y="73"/>
                  </a:cubicBezTo>
                  <a:lnTo>
                    <a:pt x="856" y="76"/>
                  </a:lnTo>
                  <a:close/>
                  <a:moveTo>
                    <a:pt x="932" y="60"/>
                  </a:moveTo>
                  <a:cubicBezTo>
                    <a:pt x="944" y="59"/>
                    <a:pt x="957" y="58"/>
                    <a:pt x="967" y="56"/>
                  </a:cubicBezTo>
                  <a:cubicBezTo>
                    <a:pt x="966" y="48"/>
                    <a:pt x="966" y="48"/>
                    <a:pt x="966" y="48"/>
                  </a:cubicBezTo>
                  <a:cubicBezTo>
                    <a:pt x="957" y="50"/>
                    <a:pt x="944" y="52"/>
                    <a:pt x="932" y="52"/>
                  </a:cubicBezTo>
                  <a:cubicBezTo>
                    <a:pt x="932" y="45"/>
                    <a:pt x="932" y="38"/>
                    <a:pt x="932" y="30"/>
                  </a:cubicBezTo>
                  <a:cubicBezTo>
                    <a:pt x="947" y="30"/>
                    <a:pt x="961" y="28"/>
                    <a:pt x="973" y="26"/>
                  </a:cubicBezTo>
                  <a:cubicBezTo>
                    <a:pt x="972" y="18"/>
                    <a:pt x="972" y="18"/>
                    <a:pt x="972" y="18"/>
                  </a:cubicBezTo>
                  <a:cubicBezTo>
                    <a:pt x="960" y="21"/>
                    <a:pt x="946" y="22"/>
                    <a:pt x="932" y="23"/>
                  </a:cubicBezTo>
                  <a:cubicBezTo>
                    <a:pt x="932" y="21"/>
                    <a:pt x="932" y="11"/>
                    <a:pt x="932" y="9"/>
                  </a:cubicBezTo>
                  <a:cubicBezTo>
                    <a:pt x="934" y="9"/>
                    <a:pt x="935" y="8"/>
                    <a:pt x="935" y="7"/>
                  </a:cubicBezTo>
                  <a:cubicBezTo>
                    <a:pt x="923" y="6"/>
                    <a:pt x="923" y="6"/>
                    <a:pt x="923" y="6"/>
                  </a:cubicBezTo>
                  <a:cubicBezTo>
                    <a:pt x="923" y="10"/>
                    <a:pt x="923" y="17"/>
                    <a:pt x="923" y="23"/>
                  </a:cubicBezTo>
                  <a:cubicBezTo>
                    <a:pt x="918" y="23"/>
                    <a:pt x="912" y="23"/>
                    <a:pt x="907" y="23"/>
                  </a:cubicBezTo>
                  <a:cubicBezTo>
                    <a:pt x="898" y="23"/>
                    <a:pt x="888" y="23"/>
                    <a:pt x="881" y="23"/>
                  </a:cubicBezTo>
                  <a:cubicBezTo>
                    <a:pt x="881" y="31"/>
                    <a:pt x="881" y="31"/>
                    <a:pt x="881" y="31"/>
                  </a:cubicBezTo>
                  <a:cubicBezTo>
                    <a:pt x="888" y="31"/>
                    <a:pt x="899" y="31"/>
                    <a:pt x="907" y="31"/>
                  </a:cubicBezTo>
                  <a:cubicBezTo>
                    <a:pt x="912" y="31"/>
                    <a:pt x="918" y="31"/>
                    <a:pt x="923" y="31"/>
                  </a:cubicBezTo>
                  <a:cubicBezTo>
                    <a:pt x="924" y="53"/>
                    <a:pt x="924" y="53"/>
                    <a:pt x="924" y="53"/>
                  </a:cubicBezTo>
                  <a:cubicBezTo>
                    <a:pt x="922" y="53"/>
                    <a:pt x="919" y="53"/>
                    <a:pt x="916" y="53"/>
                  </a:cubicBezTo>
                  <a:cubicBezTo>
                    <a:pt x="901" y="53"/>
                    <a:pt x="895" y="52"/>
                    <a:pt x="895" y="49"/>
                  </a:cubicBezTo>
                  <a:cubicBezTo>
                    <a:pt x="895" y="46"/>
                    <a:pt x="898" y="44"/>
                    <a:pt x="904" y="41"/>
                  </a:cubicBezTo>
                  <a:cubicBezTo>
                    <a:pt x="898" y="37"/>
                    <a:pt x="898" y="37"/>
                    <a:pt x="898" y="37"/>
                  </a:cubicBezTo>
                  <a:cubicBezTo>
                    <a:pt x="890" y="42"/>
                    <a:pt x="887" y="46"/>
                    <a:pt x="887" y="50"/>
                  </a:cubicBezTo>
                  <a:cubicBezTo>
                    <a:pt x="887" y="57"/>
                    <a:pt x="892" y="60"/>
                    <a:pt x="913" y="60"/>
                  </a:cubicBezTo>
                  <a:cubicBezTo>
                    <a:pt x="916" y="60"/>
                    <a:pt x="921" y="60"/>
                    <a:pt x="925" y="60"/>
                  </a:cubicBezTo>
                  <a:cubicBezTo>
                    <a:pt x="925" y="67"/>
                    <a:pt x="925" y="73"/>
                    <a:pt x="925" y="78"/>
                  </a:cubicBezTo>
                  <a:cubicBezTo>
                    <a:pt x="921" y="77"/>
                    <a:pt x="916" y="77"/>
                    <a:pt x="912" y="77"/>
                  </a:cubicBezTo>
                  <a:cubicBezTo>
                    <a:pt x="899" y="77"/>
                    <a:pt x="886" y="83"/>
                    <a:pt x="886" y="94"/>
                  </a:cubicBezTo>
                  <a:cubicBezTo>
                    <a:pt x="886" y="106"/>
                    <a:pt x="897" y="112"/>
                    <a:pt x="912" y="112"/>
                  </a:cubicBezTo>
                  <a:cubicBezTo>
                    <a:pt x="927" y="112"/>
                    <a:pt x="934" y="105"/>
                    <a:pt x="934" y="94"/>
                  </a:cubicBezTo>
                  <a:cubicBezTo>
                    <a:pt x="934" y="92"/>
                    <a:pt x="934" y="90"/>
                    <a:pt x="934" y="88"/>
                  </a:cubicBezTo>
                  <a:cubicBezTo>
                    <a:pt x="942" y="92"/>
                    <a:pt x="953" y="97"/>
                    <a:pt x="963" y="106"/>
                  </a:cubicBezTo>
                  <a:cubicBezTo>
                    <a:pt x="969" y="99"/>
                    <a:pt x="969" y="99"/>
                    <a:pt x="969" y="99"/>
                  </a:cubicBezTo>
                  <a:cubicBezTo>
                    <a:pt x="956" y="90"/>
                    <a:pt x="944" y="83"/>
                    <a:pt x="933" y="80"/>
                  </a:cubicBezTo>
                  <a:lnTo>
                    <a:pt x="932" y="60"/>
                  </a:lnTo>
                  <a:close/>
                  <a:moveTo>
                    <a:pt x="913" y="105"/>
                  </a:moveTo>
                  <a:cubicBezTo>
                    <a:pt x="902" y="105"/>
                    <a:pt x="894" y="101"/>
                    <a:pt x="894" y="94"/>
                  </a:cubicBezTo>
                  <a:cubicBezTo>
                    <a:pt x="894" y="87"/>
                    <a:pt x="903" y="83"/>
                    <a:pt x="912" y="83"/>
                  </a:cubicBezTo>
                  <a:cubicBezTo>
                    <a:pt x="916" y="83"/>
                    <a:pt x="921" y="84"/>
                    <a:pt x="926" y="85"/>
                  </a:cubicBezTo>
                  <a:cubicBezTo>
                    <a:pt x="926" y="92"/>
                    <a:pt x="926" y="92"/>
                    <a:pt x="926" y="92"/>
                  </a:cubicBezTo>
                  <a:cubicBezTo>
                    <a:pt x="926" y="101"/>
                    <a:pt x="922" y="105"/>
                    <a:pt x="913" y="105"/>
                  </a:cubicBezTo>
                  <a:close/>
                  <a:moveTo>
                    <a:pt x="1055" y="24"/>
                  </a:moveTo>
                  <a:cubicBezTo>
                    <a:pt x="1055" y="11"/>
                    <a:pt x="1055" y="10"/>
                    <a:pt x="1055" y="8"/>
                  </a:cubicBezTo>
                  <a:cubicBezTo>
                    <a:pt x="1057" y="8"/>
                    <a:pt x="1058" y="7"/>
                    <a:pt x="1058" y="6"/>
                  </a:cubicBezTo>
                  <a:cubicBezTo>
                    <a:pt x="1045" y="5"/>
                    <a:pt x="1045" y="5"/>
                    <a:pt x="1045" y="5"/>
                  </a:cubicBezTo>
                  <a:cubicBezTo>
                    <a:pt x="1046" y="8"/>
                    <a:pt x="1046" y="21"/>
                    <a:pt x="1046" y="24"/>
                  </a:cubicBezTo>
                  <a:cubicBezTo>
                    <a:pt x="1018" y="25"/>
                    <a:pt x="1018" y="25"/>
                    <a:pt x="1018" y="25"/>
                  </a:cubicBezTo>
                  <a:cubicBezTo>
                    <a:pt x="991" y="26"/>
                    <a:pt x="991" y="26"/>
                    <a:pt x="991" y="26"/>
                  </a:cubicBezTo>
                  <a:cubicBezTo>
                    <a:pt x="991" y="33"/>
                    <a:pt x="991" y="33"/>
                    <a:pt x="991" y="33"/>
                  </a:cubicBezTo>
                  <a:cubicBezTo>
                    <a:pt x="996" y="33"/>
                    <a:pt x="1034" y="32"/>
                    <a:pt x="1046" y="32"/>
                  </a:cubicBezTo>
                  <a:cubicBezTo>
                    <a:pt x="1047" y="37"/>
                    <a:pt x="1047" y="45"/>
                    <a:pt x="1047" y="47"/>
                  </a:cubicBezTo>
                  <a:cubicBezTo>
                    <a:pt x="1044" y="45"/>
                    <a:pt x="1040" y="43"/>
                    <a:pt x="1036" y="43"/>
                  </a:cubicBezTo>
                  <a:cubicBezTo>
                    <a:pt x="1024" y="43"/>
                    <a:pt x="1014" y="53"/>
                    <a:pt x="1014" y="66"/>
                  </a:cubicBezTo>
                  <a:cubicBezTo>
                    <a:pt x="1014" y="78"/>
                    <a:pt x="1024" y="87"/>
                    <a:pt x="1034" y="87"/>
                  </a:cubicBezTo>
                  <a:cubicBezTo>
                    <a:pt x="1040" y="87"/>
                    <a:pt x="1044" y="84"/>
                    <a:pt x="1047" y="80"/>
                  </a:cubicBezTo>
                  <a:cubicBezTo>
                    <a:pt x="1047" y="80"/>
                    <a:pt x="1047" y="80"/>
                    <a:pt x="1047" y="80"/>
                  </a:cubicBezTo>
                  <a:cubicBezTo>
                    <a:pt x="1044" y="92"/>
                    <a:pt x="1034" y="102"/>
                    <a:pt x="1016" y="108"/>
                  </a:cubicBezTo>
                  <a:cubicBezTo>
                    <a:pt x="1017" y="110"/>
                    <a:pt x="1020" y="113"/>
                    <a:pt x="1022" y="115"/>
                  </a:cubicBezTo>
                  <a:cubicBezTo>
                    <a:pt x="1043" y="107"/>
                    <a:pt x="1053" y="94"/>
                    <a:pt x="1056" y="80"/>
                  </a:cubicBezTo>
                  <a:cubicBezTo>
                    <a:pt x="1057" y="77"/>
                    <a:pt x="1057" y="73"/>
                    <a:pt x="1057" y="69"/>
                  </a:cubicBezTo>
                  <a:cubicBezTo>
                    <a:pt x="1057" y="64"/>
                    <a:pt x="1057" y="60"/>
                    <a:pt x="1056" y="56"/>
                  </a:cubicBezTo>
                  <a:cubicBezTo>
                    <a:pt x="1056" y="49"/>
                    <a:pt x="1055" y="41"/>
                    <a:pt x="1055" y="31"/>
                  </a:cubicBezTo>
                  <a:cubicBezTo>
                    <a:pt x="1069" y="31"/>
                    <a:pt x="1084" y="31"/>
                    <a:pt x="1094" y="31"/>
                  </a:cubicBezTo>
                  <a:cubicBezTo>
                    <a:pt x="1094" y="23"/>
                    <a:pt x="1094" y="23"/>
                    <a:pt x="1094" y="23"/>
                  </a:cubicBezTo>
                  <a:cubicBezTo>
                    <a:pt x="1085" y="23"/>
                    <a:pt x="1070" y="23"/>
                    <a:pt x="1055" y="24"/>
                  </a:cubicBezTo>
                  <a:close/>
                  <a:moveTo>
                    <a:pt x="1035" y="80"/>
                  </a:moveTo>
                  <a:cubicBezTo>
                    <a:pt x="1028" y="80"/>
                    <a:pt x="1022" y="74"/>
                    <a:pt x="1022" y="66"/>
                  </a:cubicBezTo>
                  <a:cubicBezTo>
                    <a:pt x="1022" y="57"/>
                    <a:pt x="1028" y="51"/>
                    <a:pt x="1036" y="50"/>
                  </a:cubicBezTo>
                  <a:cubicBezTo>
                    <a:pt x="1048" y="50"/>
                    <a:pt x="1048" y="61"/>
                    <a:pt x="1048" y="66"/>
                  </a:cubicBezTo>
                  <a:cubicBezTo>
                    <a:pt x="1048" y="73"/>
                    <a:pt x="1044" y="80"/>
                    <a:pt x="1035" y="80"/>
                  </a:cubicBez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27" name="Freeform 238">
              <a:extLst>
                <a:ext uri="{FF2B5EF4-FFF2-40B4-BE49-F238E27FC236}">
                  <a16:creationId xmlns:a16="http://schemas.microsoft.com/office/drawing/2014/main" id="{8B872DCB-F44F-066F-1E64-222C5E2E501B}"/>
                </a:ext>
                <a:ext uri="{C183D7F6-B498-43B3-948B-1728B52AA6E4}">
                  <adec:decorative xmlns:adec="http://schemas.microsoft.com/office/drawing/2017/decorative" val="1"/>
                </a:ext>
              </a:extLst>
            </p:cNvPr>
            <p:cNvSpPr>
              <a:spLocks noEditPoints="1"/>
            </p:cNvSpPr>
            <p:nvPr/>
          </p:nvSpPr>
          <p:spPr bwMode="auto">
            <a:xfrm>
              <a:off x="4366952" y="4228494"/>
              <a:ext cx="1448800" cy="464951"/>
            </a:xfrm>
            <a:custGeom>
              <a:avLst/>
              <a:gdLst>
                <a:gd name="T0" fmla="*/ 0 w 477"/>
                <a:gd name="T1" fmla="*/ 37 h 153"/>
                <a:gd name="T2" fmla="*/ 30 w 477"/>
                <a:gd name="T3" fmla="*/ 151 h 153"/>
                <a:gd name="T4" fmla="*/ 92 w 477"/>
                <a:gd name="T5" fmla="*/ 93 h 153"/>
                <a:gd name="T6" fmla="*/ 65 w 477"/>
                <a:gd name="T7" fmla="*/ 127 h 153"/>
                <a:gd name="T8" fmla="*/ 13 w 477"/>
                <a:gd name="T9" fmla="*/ 139 h 153"/>
                <a:gd name="T10" fmla="*/ 31 w 477"/>
                <a:gd name="T11" fmla="*/ 49 h 153"/>
                <a:gd name="T12" fmla="*/ 65 w 477"/>
                <a:gd name="T13" fmla="*/ 127 h 153"/>
                <a:gd name="T14" fmla="*/ 115 w 477"/>
                <a:gd name="T15" fmla="*/ 151 h 153"/>
                <a:gd name="T16" fmla="*/ 173 w 477"/>
                <a:gd name="T17" fmla="*/ 37 h 153"/>
                <a:gd name="T18" fmla="*/ 128 w 477"/>
                <a:gd name="T19" fmla="*/ 49 h 153"/>
                <a:gd name="T20" fmla="*/ 169 w 477"/>
                <a:gd name="T21" fmla="*/ 87 h 153"/>
                <a:gd name="T22" fmla="*/ 128 w 477"/>
                <a:gd name="T23" fmla="*/ 99 h 153"/>
                <a:gd name="T24" fmla="*/ 175 w 477"/>
                <a:gd name="T25" fmla="*/ 139 h 153"/>
                <a:gd name="T26" fmla="*/ 167 w 477"/>
                <a:gd name="T27" fmla="*/ 0 h 153"/>
                <a:gd name="T28" fmla="*/ 139 w 477"/>
                <a:gd name="T29" fmla="*/ 26 h 153"/>
                <a:gd name="T30" fmla="*/ 131 w 477"/>
                <a:gd name="T31" fmla="*/ 0 h 153"/>
                <a:gd name="T32" fmla="*/ 157 w 477"/>
                <a:gd name="T33" fmla="*/ 0 h 153"/>
                <a:gd name="T34" fmla="*/ 277 w 477"/>
                <a:gd name="T35" fmla="*/ 151 h 153"/>
                <a:gd name="T36" fmla="*/ 214 w 477"/>
                <a:gd name="T37" fmla="*/ 99 h 153"/>
                <a:gd name="T38" fmla="*/ 211 w 477"/>
                <a:gd name="T39" fmla="*/ 95 h 153"/>
                <a:gd name="T40" fmla="*/ 198 w 477"/>
                <a:gd name="T41" fmla="*/ 151 h 153"/>
                <a:gd name="T42" fmla="*/ 211 w 477"/>
                <a:gd name="T43" fmla="*/ 37 h 153"/>
                <a:gd name="T44" fmla="*/ 211 w 477"/>
                <a:gd name="T45" fmla="*/ 91 h 153"/>
                <a:gd name="T46" fmla="*/ 257 w 477"/>
                <a:gd name="T47" fmla="*/ 37 h 153"/>
                <a:gd name="T48" fmla="*/ 225 w 477"/>
                <a:gd name="T49" fmla="*/ 92 h 153"/>
                <a:gd name="T50" fmla="*/ 377 w 477"/>
                <a:gd name="T51" fmla="*/ 105 h 153"/>
                <a:gd name="T52" fmla="*/ 291 w 477"/>
                <a:gd name="T53" fmla="*/ 107 h 153"/>
                <a:gd name="T54" fmla="*/ 305 w 477"/>
                <a:gd name="T55" fmla="*/ 37 h 153"/>
                <a:gd name="T56" fmla="*/ 334 w 477"/>
                <a:gd name="T57" fmla="*/ 141 h 153"/>
                <a:gd name="T58" fmla="*/ 363 w 477"/>
                <a:gd name="T59" fmla="*/ 37 h 153"/>
                <a:gd name="T60" fmla="*/ 377 w 477"/>
                <a:gd name="T61" fmla="*/ 105 h 153"/>
                <a:gd name="T62" fmla="*/ 426 w 477"/>
                <a:gd name="T63" fmla="*/ 142 h 153"/>
                <a:gd name="T64" fmla="*/ 392 w 477"/>
                <a:gd name="T65" fmla="*/ 151 h 153"/>
                <a:gd name="T66" fmla="*/ 403 w 477"/>
                <a:gd name="T67" fmla="*/ 141 h 153"/>
                <a:gd name="T68" fmla="*/ 421 w 477"/>
                <a:gd name="T69" fmla="*/ 37 h 153"/>
                <a:gd name="T70" fmla="*/ 435 w 477"/>
                <a:gd name="T71" fmla="*/ 110 h 153"/>
                <a:gd name="T72" fmla="*/ 464 w 477"/>
                <a:gd name="T73" fmla="*/ 151 h 153"/>
                <a:gd name="T74" fmla="*/ 477 w 477"/>
                <a:gd name="T75" fmla="*/ 3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7" h="153">
                  <a:moveTo>
                    <a:pt x="31" y="37"/>
                  </a:moveTo>
                  <a:cubicBezTo>
                    <a:pt x="0" y="37"/>
                    <a:pt x="0" y="37"/>
                    <a:pt x="0" y="37"/>
                  </a:cubicBezTo>
                  <a:cubicBezTo>
                    <a:pt x="0" y="151"/>
                    <a:pt x="0" y="151"/>
                    <a:pt x="0" y="151"/>
                  </a:cubicBezTo>
                  <a:cubicBezTo>
                    <a:pt x="30" y="151"/>
                    <a:pt x="30" y="151"/>
                    <a:pt x="30" y="151"/>
                  </a:cubicBezTo>
                  <a:cubicBezTo>
                    <a:pt x="49" y="151"/>
                    <a:pt x="64" y="146"/>
                    <a:pt x="75" y="135"/>
                  </a:cubicBezTo>
                  <a:cubicBezTo>
                    <a:pt x="86" y="124"/>
                    <a:pt x="92" y="110"/>
                    <a:pt x="92" y="93"/>
                  </a:cubicBezTo>
                  <a:cubicBezTo>
                    <a:pt x="92" y="55"/>
                    <a:pt x="72" y="37"/>
                    <a:pt x="31" y="37"/>
                  </a:cubicBezTo>
                  <a:close/>
                  <a:moveTo>
                    <a:pt x="65" y="127"/>
                  </a:moveTo>
                  <a:cubicBezTo>
                    <a:pt x="57" y="135"/>
                    <a:pt x="45" y="139"/>
                    <a:pt x="30" y="139"/>
                  </a:cubicBezTo>
                  <a:cubicBezTo>
                    <a:pt x="13" y="139"/>
                    <a:pt x="13" y="139"/>
                    <a:pt x="13" y="139"/>
                  </a:cubicBezTo>
                  <a:cubicBezTo>
                    <a:pt x="13" y="49"/>
                    <a:pt x="13" y="49"/>
                    <a:pt x="13" y="49"/>
                  </a:cubicBezTo>
                  <a:cubicBezTo>
                    <a:pt x="31" y="49"/>
                    <a:pt x="31" y="49"/>
                    <a:pt x="31" y="49"/>
                  </a:cubicBezTo>
                  <a:cubicBezTo>
                    <a:pt x="62" y="49"/>
                    <a:pt x="78" y="63"/>
                    <a:pt x="78" y="93"/>
                  </a:cubicBezTo>
                  <a:cubicBezTo>
                    <a:pt x="78" y="108"/>
                    <a:pt x="74" y="119"/>
                    <a:pt x="65" y="127"/>
                  </a:cubicBezTo>
                  <a:close/>
                  <a:moveTo>
                    <a:pt x="175" y="151"/>
                  </a:moveTo>
                  <a:cubicBezTo>
                    <a:pt x="115" y="151"/>
                    <a:pt x="115" y="151"/>
                    <a:pt x="115" y="151"/>
                  </a:cubicBezTo>
                  <a:cubicBezTo>
                    <a:pt x="115" y="37"/>
                    <a:pt x="115" y="37"/>
                    <a:pt x="115" y="37"/>
                  </a:cubicBezTo>
                  <a:cubicBezTo>
                    <a:pt x="173" y="37"/>
                    <a:pt x="173" y="37"/>
                    <a:pt x="173" y="37"/>
                  </a:cubicBezTo>
                  <a:cubicBezTo>
                    <a:pt x="173" y="49"/>
                    <a:pt x="173" y="49"/>
                    <a:pt x="173" y="49"/>
                  </a:cubicBezTo>
                  <a:cubicBezTo>
                    <a:pt x="128" y="49"/>
                    <a:pt x="128" y="49"/>
                    <a:pt x="128" y="49"/>
                  </a:cubicBezTo>
                  <a:cubicBezTo>
                    <a:pt x="128" y="87"/>
                    <a:pt x="128" y="87"/>
                    <a:pt x="128" y="87"/>
                  </a:cubicBezTo>
                  <a:cubicBezTo>
                    <a:pt x="169" y="87"/>
                    <a:pt x="169" y="87"/>
                    <a:pt x="169" y="87"/>
                  </a:cubicBezTo>
                  <a:cubicBezTo>
                    <a:pt x="169" y="99"/>
                    <a:pt x="169" y="99"/>
                    <a:pt x="169" y="99"/>
                  </a:cubicBezTo>
                  <a:cubicBezTo>
                    <a:pt x="128" y="99"/>
                    <a:pt x="128" y="99"/>
                    <a:pt x="128" y="99"/>
                  </a:cubicBezTo>
                  <a:cubicBezTo>
                    <a:pt x="128" y="139"/>
                    <a:pt x="128" y="139"/>
                    <a:pt x="128" y="139"/>
                  </a:cubicBezTo>
                  <a:cubicBezTo>
                    <a:pt x="175" y="139"/>
                    <a:pt x="175" y="139"/>
                    <a:pt x="175" y="139"/>
                  </a:cubicBezTo>
                  <a:lnTo>
                    <a:pt x="175" y="151"/>
                  </a:lnTo>
                  <a:close/>
                  <a:moveTo>
                    <a:pt x="167" y="0"/>
                  </a:moveTo>
                  <a:cubicBezTo>
                    <a:pt x="150" y="26"/>
                    <a:pt x="150" y="26"/>
                    <a:pt x="150" y="26"/>
                  </a:cubicBezTo>
                  <a:cubicBezTo>
                    <a:pt x="139" y="26"/>
                    <a:pt x="139" y="26"/>
                    <a:pt x="139" y="26"/>
                  </a:cubicBezTo>
                  <a:cubicBezTo>
                    <a:pt x="122" y="0"/>
                    <a:pt x="122" y="0"/>
                    <a:pt x="122" y="0"/>
                  </a:cubicBezTo>
                  <a:cubicBezTo>
                    <a:pt x="131" y="0"/>
                    <a:pt x="131" y="0"/>
                    <a:pt x="131" y="0"/>
                  </a:cubicBezTo>
                  <a:cubicBezTo>
                    <a:pt x="144" y="18"/>
                    <a:pt x="144" y="18"/>
                    <a:pt x="144" y="18"/>
                  </a:cubicBezTo>
                  <a:cubicBezTo>
                    <a:pt x="157" y="0"/>
                    <a:pt x="157" y="0"/>
                    <a:pt x="157" y="0"/>
                  </a:cubicBezTo>
                  <a:lnTo>
                    <a:pt x="167" y="0"/>
                  </a:lnTo>
                  <a:close/>
                  <a:moveTo>
                    <a:pt x="277" y="151"/>
                  </a:moveTo>
                  <a:cubicBezTo>
                    <a:pt x="259" y="151"/>
                    <a:pt x="259" y="151"/>
                    <a:pt x="259" y="151"/>
                  </a:cubicBezTo>
                  <a:cubicBezTo>
                    <a:pt x="214" y="99"/>
                    <a:pt x="214" y="99"/>
                    <a:pt x="214" y="99"/>
                  </a:cubicBezTo>
                  <a:cubicBezTo>
                    <a:pt x="213" y="97"/>
                    <a:pt x="212" y="96"/>
                    <a:pt x="211" y="95"/>
                  </a:cubicBezTo>
                  <a:cubicBezTo>
                    <a:pt x="211" y="95"/>
                    <a:pt x="211" y="95"/>
                    <a:pt x="211" y="95"/>
                  </a:cubicBezTo>
                  <a:cubicBezTo>
                    <a:pt x="211" y="151"/>
                    <a:pt x="211" y="151"/>
                    <a:pt x="211" y="151"/>
                  </a:cubicBezTo>
                  <a:cubicBezTo>
                    <a:pt x="198" y="151"/>
                    <a:pt x="198" y="151"/>
                    <a:pt x="198" y="151"/>
                  </a:cubicBezTo>
                  <a:cubicBezTo>
                    <a:pt x="198" y="37"/>
                    <a:pt x="198" y="37"/>
                    <a:pt x="198" y="37"/>
                  </a:cubicBezTo>
                  <a:cubicBezTo>
                    <a:pt x="211" y="37"/>
                    <a:pt x="211" y="37"/>
                    <a:pt x="211" y="37"/>
                  </a:cubicBezTo>
                  <a:cubicBezTo>
                    <a:pt x="211" y="91"/>
                    <a:pt x="211" y="91"/>
                    <a:pt x="211" y="91"/>
                  </a:cubicBezTo>
                  <a:cubicBezTo>
                    <a:pt x="211" y="91"/>
                    <a:pt x="211" y="91"/>
                    <a:pt x="211" y="91"/>
                  </a:cubicBezTo>
                  <a:cubicBezTo>
                    <a:pt x="212" y="89"/>
                    <a:pt x="213" y="88"/>
                    <a:pt x="214" y="87"/>
                  </a:cubicBezTo>
                  <a:cubicBezTo>
                    <a:pt x="257" y="37"/>
                    <a:pt x="257" y="37"/>
                    <a:pt x="257" y="37"/>
                  </a:cubicBezTo>
                  <a:cubicBezTo>
                    <a:pt x="274" y="37"/>
                    <a:pt x="274" y="37"/>
                    <a:pt x="274" y="37"/>
                  </a:cubicBezTo>
                  <a:cubicBezTo>
                    <a:pt x="225" y="92"/>
                    <a:pt x="225" y="92"/>
                    <a:pt x="225" y="92"/>
                  </a:cubicBezTo>
                  <a:lnTo>
                    <a:pt x="277" y="151"/>
                  </a:lnTo>
                  <a:close/>
                  <a:moveTo>
                    <a:pt x="377" y="105"/>
                  </a:moveTo>
                  <a:cubicBezTo>
                    <a:pt x="377" y="137"/>
                    <a:pt x="362" y="153"/>
                    <a:pt x="333" y="153"/>
                  </a:cubicBezTo>
                  <a:cubicBezTo>
                    <a:pt x="305" y="153"/>
                    <a:pt x="291" y="138"/>
                    <a:pt x="291" y="107"/>
                  </a:cubicBezTo>
                  <a:cubicBezTo>
                    <a:pt x="291" y="37"/>
                    <a:pt x="291" y="37"/>
                    <a:pt x="291" y="37"/>
                  </a:cubicBezTo>
                  <a:cubicBezTo>
                    <a:pt x="305" y="37"/>
                    <a:pt x="305" y="37"/>
                    <a:pt x="305" y="37"/>
                  </a:cubicBezTo>
                  <a:cubicBezTo>
                    <a:pt x="305" y="106"/>
                    <a:pt x="305" y="106"/>
                    <a:pt x="305" y="106"/>
                  </a:cubicBezTo>
                  <a:cubicBezTo>
                    <a:pt x="305" y="129"/>
                    <a:pt x="315" y="141"/>
                    <a:pt x="334" y="141"/>
                  </a:cubicBezTo>
                  <a:cubicBezTo>
                    <a:pt x="354" y="141"/>
                    <a:pt x="363" y="130"/>
                    <a:pt x="363" y="107"/>
                  </a:cubicBezTo>
                  <a:cubicBezTo>
                    <a:pt x="363" y="37"/>
                    <a:pt x="363" y="37"/>
                    <a:pt x="363" y="37"/>
                  </a:cubicBezTo>
                  <a:cubicBezTo>
                    <a:pt x="377" y="37"/>
                    <a:pt x="377" y="37"/>
                    <a:pt x="377" y="37"/>
                  </a:cubicBezTo>
                  <a:lnTo>
                    <a:pt x="377" y="105"/>
                  </a:lnTo>
                  <a:close/>
                  <a:moveTo>
                    <a:pt x="435" y="110"/>
                  </a:moveTo>
                  <a:cubicBezTo>
                    <a:pt x="435" y="124"/>
                    <a:pt x="432" y="134"/>
                    <a:pt x="426" y="142"/>
                  </a:cubicBezTo>
                  <a:cubicBezTo>
                    <a:pt x="420" y="150"/>
                    <a:pt x="413" y="153"/>
                    <a:pt x="403" y="153"/>
                  </a:cubicBezTo>
                  <a:cubicBezTo>
                    <a:pt x="398" y="153"/>
                    <a:pt x="395" y="153"/>
                    <a:pt x="392" y="151"/>
                  </a:cubicBezTo>
                  <a:cubicBezTo>
                    <a:pt x="392" y="138"/>
                    <a:pt x="392" y="138"/>
                    <a:pt x="392" y="138"/>
                  </a:cubicBezTo>
                  <a:cubicBezTo>
                    <a:pt x="395" y="140"/>
                    <a:pt x="398" y="141"/>
                    <a:pt x="403" y="141"/>
                  </a:cubicBezTo>
                  <a:cubicBezTo>
                    <a:pt x="415" y="141"/>
                    <a:pt x="421" y="131"/>
                    <a:pt x="421" y="110"/>
                  </a:cubicBezTo>
                  <a:cubicBezTo>
                    <a:pt x="421" y="37"/>
                    <a:pt x="421" y="37"/>
                    <a:pt x="421" y="37"/>
                  </a:cubicBezTo>
                  <a:cubicBezTo>
                    <a:pt x="435" y="37"/>
                    <a:pt x="435" y="37"/>
                    <a:pt x="435" y="37"/>
                  </a:cubicBezTo>
                  <a:lnTo>
                    <a:pt x="435" y="110"/>
                  </a:lnTo>
                  <a:close/>
                  <a:moveTo>
                    <a:pt x="477" y="151"/>
                  </a:moveTo>
                  <a:cubicBezTo>
                    <a:pt x="464" y="151"/>
                    <a:pt x="464" y="151"/>
                    <a:pt x="464" y="151"/>
                  </a:cubicBezTo>
                  <a:cubicBezTo>
                    <a:pt x="464" y="37"/>
                    <a:pt x="464" y="37"/>
                    <a:pt x="464" y="37"/>
                  </a:cubicBezTo>
                  <a:cubicBezTo>
                    <a:pt x="477" y="37"/>
                    <a:pt x="477" y="37"/>
                    <a:pt x="477" y="37"/>
                  </a:cubicBezTo>
                  <a:lnTo>
                    <a:pt x="477" y="151"/>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8" name="Freeform 239">
              <a:extLst>
                <a:ext uri="{FF2B5EF4-FFF2-40B4-BE49-F238E27FC236}">
                  <a16:creationId xmlns:a16="http://schemas.microsoft.com/office/drawing/2014/main" id="{283BCC6C-B822-1C7E-3E10-CBBFD05AF86E}"/>
                </a:ext>
                <a:ext uri="{C183D7F6-B498-43B3-948B-1728B52AA6E4}">
                  <adec:decorative xmlns:adec="http://schemas.microsoft.com/office/drawing/2017/decorative" val="1"/>
                </a:ext>
              </a:extLst>
            </p:cNvPr>
            <p:cNvSpPr>
              <a:spLocks noEditPoints="1"/>
            </p:cNvSpPr>
            <p:nvPr/>
          </p:nvSpPr>
          <p:spPr bwMode="auto">
            <a:xfrm>
              <a:off x="3655439" y="1694482"/>
              <a:ext cx="852840" cy="273577"/>
            </a:xfrm>
            <a:custGeom>
              <a:avLst/>
              <a:gdLst>
                <a:gd name="T0" fmla="*/ 60 w 281"/>
                <a:gd name="T1" fmla="*/ 11 h 90"/>
                <a:gd name="T2" fmla="*/ 35 w 281"/>
                <a:gd name="T3" fmla="*/ 11 h 90"/>
                <a:gd name="T4" fmla="*/ 35 w 281"/>
                <a:gd name="T5" fmla="*/ 89 h 90"/>
                <a:gd name="T6" fmla="*/ 25 w 281"/>
                <a:gd name="T7" fmla="*/ 89 h 90"/>
                <a:gd name="T8" fmla="*/ 25 w 281"/>
                <a:gd name="T9" fmla="*/ 11 h 90"/>
                <a:gd name="T10" fmla="*/ 0 w 281"/>
                <a:gd name="T11" fmla="*/ 11 h 90"/>
                <a:gd name="T12" fmla="*/ 0 w 281"/>
                <a:gd name="T13" fmla="*/ 2 h 90"/>
                <a:gd name="T14" fmla="*/ 60 w 281"/>
                <a:gd name="T15" fmla="*/ 2 h 90"/>
                <a:gd name="T16" fmla="*/ 60 w 281"/>
                <a:gd name="T17" fmla="*/ 11 h 90"/>
                <a:gd name="T18" fmla="*/ 99 w 281"/>
                <a:gd name="T19" fmla="*/ 2 h 90"/>
                <a:gd name="T20" fmla="*/ 88 w 281"/>
                <a:gd name="T21" fmla="*/ 2 h 90"/>
                <a:gd name="T22" fmla="*/ 55 w 281"/>
                <a:gd name="T23" fmla="*/ 89 h 90"/>
                <a:gd name="T24" fmla="*/ 66 w 281"/>
                <a:gd name="T25" fmla="*/ 89 h 90"/>
                <a:gd name="T26" fmla="*/ 75 w 281"/>
                <a:gd name="T27" fmla="*/ 64 h 90"/>
                <a:gd name="T28" fmla="*/ 112 w 281"/>
                <a:gd name="T29" fmla="*/ 64 h 90"/>
                <a:gd name="T30" fmla="*/ 121 w 281"/>
                <a:gd name="T31" fmla="*/ 89 h 90"/>
                <a:gd name="T32" fmla="*/ 132 w 281"/>
                <a:gd name="T33" fmla="*/ 89 h 90"/>
                <a:gd name="T34" fmla="*/ 99 w 281"/>
                <a:gd name="T35" fmla="*/ 2 h 90"/>
                <a:gd name="T36" fmla="*/ 78 w 281"/>
                <a:gd name="T37" fmla="*/ 55 h 90"/>
                <a:gd name="T38" fmla="*/ 92 w 281"/>
                <a:gd name="T39" fmla="*/ 18 h 90"/>
                <a:gd name="T40" fmla="*/ 93 w 281"/>
                <a:gd name="T41" fmla="*/ 12 h 90"/>
                <a:gd name="T42" fmla="*/ 93 w 281"/>
                <a:gd name="T43" fmla="*/ 12 h 90"/>
                <a:gd name="T44" fmla="*/ 95 w 281"/>
                <a:gd name="T45" fmla="*/ 18 h 90"/>
                <a:gd name="T46" fmla="*/ 108 w 281"/>
                <a:gd name="T47" fmla="*/ 55 h 90"/>
                <a:gd name="T48" fmla="*/ 78 w 281"/>
                <a:gd name="T49" fmla="*/ 55 h 90"/>
                <a:gd name="T50" fmla="*/ 203 w 281"/>
                <a:gd name="T51" fmla="*/ 85 h 90"/>
                <a:gd name="T52" fmla="*/ 179 w 281"/>
                <a:gd name="T53" fmla="*/ 90 h 90"/>
                <a:gd name="T54" fmla="*/ 149 w 281"/>
                <a:gd name="T55" fmla="*/ 78 h 90"/>
                <a:gd name="T56" fmla="*/ 138 w 281"/>
                <a:gd name="T57" fmla="*/ 47 h 90"/>
                <a:gd name="T58" fmla="*/ 150 w 281"/>
                <a:gd name="T59" fmla="*/ 13 h 90"/>
                <a:gd name="T60" fmla="*/ 182 w 281"/>
                <a:gd name="T61" fmla="*/ 0 h 90"/>
                <a:gd name="T62" fmla="*/ 203 w 281"/>
                <a:gd name="T63" fmla="*/ 4 h 90"/>
                <a:gd name="T64" fmla="*/ 203 w 281"/>
                <a:gd name="T65" fmla="*/ 15 h 90"/>
                <a:gd name="T66" fmla="*/ 182 w 281"/>
                <a:gd name="T67" fmla="*/ 9 h 90"/>
                <a:gd name="T68" fmla="*/ 158 w 281"/>
                <a:gd name="T69" fmla="*/ 19 h 90"/>
                <a:gd name="T70" fmla="*/ 148 w 281"/>
                <a:gd name="T71" fmla="*/ 46 h 90"/>
                <a:gd name="T72" fmla="*/ 157 w 281"/>
                <a:gd name="T73" fmla="*/ 72 h 90"/>
                <a:gd name="T74" fmla="*/ 180 w 281"/>
                <a:gd name="T75" fmla="*/ 81 h 90"/>
                <a:gd name="T76" fmla="*/ 203 w 281"/>
                <a:gd name="T77" fmla="*/ 75 h 90"/>
                <a:gd name="T78" fmla="*/ 203 w 281"/>
                <a:gd name="T79" fmla="*/ 85 h 90"/>
                <a:gd name="T80" fmla="*/ 281 w 281"/>
                <a:gd name="T81" fmla="*/ 89 h 90"/>
                <a:gd name="T82" fmla="*/ 267 w 281"/>
                <a:gd name="T83" fmla="*/ 89 h 90"/>
                <a:gd name="T84" fmla="*/ 233 w 281"/>
                <a:gd name="T85" fmla="*/ 49 h 90"/>
                <a:gd name="T86" fmla="*/ 231 w 281"/>
                <a:gd name="T87" fmla="*/ 46 h 90"/>
                <a:gd name="T88" fmla="*/ 231 w 281"/>
                <a:gd name="T89" fmla="*/ 46 h 90"/>
                <a:gd name="T90" fmla="*/ 231 w 281"/>
                <a:gd name="T91" fmla="*/ 89 h 90"/>
                <a:gd name="T92" fmla="*/ 220 w 281"/>
                <a:gd name="T93" fmla="*/ 89 h 90"/>
                <a:gd name="T94" fmla="*/ 220 w 281"/>
                <a:gd name="T95" fmla="*/ 2 h 90"/>
                <a:gd name="T96" fmla="*/ 231 w 281"/>
                <a:gd name="T97" fmla="*/ 2 h 90"/>
                <a:gd name="T98" fmla="*/ 231 w 281"/>
                <a:gd name="T99" fmla="*/ 43 h 90"/>
                <a:gd name="T100" fmla="*/ 231 w 281"/>
                <a:gd name="T101" fmla="*/ 43 h 90"/>
                <a:gd name="T102" fmla="*/ 233 w 281"/>
                <a:gd name="T103" fmla="*/ 40 h 90"/>
                <a:gd name="T104" fmla="*/ 266 w 281"/>
                <a:gd name="T105" fmla="*/ 2 h 90"/>
                <a:gd name="T106" fmla="*/ 278 w 281"/>
                <a:gd name="T107" fmla="*/ 2 h 90"/>
                <a:gd name="T108" fmla="*/ 241 w 281"/>
                <a:gd name="T109" fmla="*/ 43 h 90"/>
                <a:gd name="T110" fmla="*/ 281 w 281"/>
                <a:gd name="T11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 h="90">
                  <a:moveTo>
                    <a:pt x="60" y="11"/>
                  </a:moveTo>
                  <a:cubicBezTo>
                    <a:pt x="35" y="11"/>
                    <a:pt x="35" y="11"/>
                    <a:pt x="35" y="11"/>
                  </a:cubicBezTo>
                  <a:cubicBezTo>
                    <a:pt x="35" y="89"/>
                    <a:pt x="35" y="89"/>
                    <a:pt x="35" y="89"/>
                  </a:cubicBezTo>
                  <a:cubicBezTo>
                    <a:pt x="25" y="89"/>
                    <a:pt x="25" y="89"/>
                    <a:pt x="25" y="89"/>
                  </a:cubicBezTo>
                  <a:cubicBezTo>
                    <a:pt x="25" y="11"/>
                    <a:pt x="25" y="11"/>
                    <a:pt x="25" y="11"/>
                  </a:cubicBezTo>
                  <a:cubicBezTo>
                    <a:pt x="0" y="11"/>
                    <a:pt x="0" y="11"/>
                    <a:pt x="0" y="11"/>
                  </a:cubicBezTo>
                  <a:cubicBezTo>
                    <a:pt x="0" y="2"/>
                    <a:pt x="0" y="2"/>
                    <a:pt x="0" y="2"/>
                  </a:cubicBezTo>
                  <a:cubicBezTo>
                    <a:pt x="60" y="2"/>
                    <a:pt x="60" y="2"/>
                    <a:pt x="60" y="2"/>
                  </a:cubicBezTo>
                  <a:lnTo>
                    <a:pt x="60" y="11"/>
                  </a:lnTo>
                  <a:close/>
                  <a:moveTo>
                    <a:pt x="99" y="2"/>
                  </a:moveTo>
                  <a:cubicBezTo>
                    <a:pt x="88" y="2"/>
                    <a:pt x="88" y="2"/>
                    <a:pt x="88" y="2"/>
                  </a:cubicBezTo>
                  <a:cubicBezTo>
                    <a:pt x="55" y="89"/>
                    <a:pt x="55" y="89"/>
                    <a:pt x="55" y="89"/>
                  </a:cubicBezTo>
                  <a:cubicBezTo>
                    <a:pt x="66" y="89"/>
                    <a:pt x="66" y="89"/>
                    <a:pt x="66" y="89"/>
                  </a:cubicBezTo>
                  <a:cubicBezTo>
                    <a:pt x="75" y="64"/>
                    <a:pt x="75" y="64"/>
                    <a:pt x="75" y="64"/>
                  </a:cubicBezTo>
                  <a:cubicBezTo>
                    <a:pt x="112" y="64"/>
                    <a:pt x="112" y="64"/>
                    <a:pt x="112" y="64"/>
                  </a:cubicBezTo>
                  <a:cubicBezTo>
                    <a:pt x="121" y="89"/>
                    <a:pt x="121" y="89"/>
                    <a:pt x="121" y="89"/>
                  </a:cubicBezTo>
                  <a:cubicBezTo>
                    <a:pt x="132" y="89"/>
                    <a:pt x="132" y="89"/>
                    <a:pt x="132" y="89"/>
                  </a:cubicBezTo>
                  <a:lnTo>
                    <a:pt x="99" y="2"/>
                  </a:lnTo>
                  <a:close/>
                  <a:moveTo>
                    <a:pt x="78" y="55"/>
                  </a:moveTo>
                  <a:cubicBezTo>
                    <a:pt x="92" y="18"/>
                    <a:pt x="92" y="18"/>
                    <a:pt x="92" y="18"/>
                  </a:cubicBezTo>
                  <a:cubicBezTo>
                    <a:pt x="92" y="17"/>
                    <a:pt x="93" y="15"/>
                    <a:pt x="93" y="12"/>
                  </a:cubicBezTo>
                  <a:cubicBezTo>
                    <a:pt x="93" y="12"/>
                    <a:pt x="93" y="12"/>
                    <a:pt x="93" y="12"/>
                  </a:cubicBezTo>
                  <a:cubicBezTo>
                    <a:pt x="94" y="15"/>
                    <a:pt x="94" y="17"/>
                    <a:pt x="95" y="18"/>
                  </a:cubicBezTo>
                  <a:cubicBezTo>
                    <a:pt x="108" y="55"/>
                    <a:pt x="108" y="55"/>
                    <a:pt x="108" y="55"/>
                  </a:cubicBezTo>
                  <a:lnTo>
                    <a:pt x="78" y="55"/>
                  </a:lnTo>
                  <a:close/>
                  <a:moveTo>
                    <a:pt x="203" y="85"/>
                  </a:moveTo>
                  <a:cubicBezTo>
                    <a:pt x="196" y="89"/>
                    <a:pt x="188" y="90"/>
                    <a:pt x="179" y="90"/>
                  </a:cubicBezTo>
                  <a:cubicBezTo>
                    <a:pt x="166" y="90"/>
                    <a:pt x="156" y="86"/>
                    <a:pt x="149" y="78"/>
                  </a:cubicBezTo>
                  <a:cubicBezTo>
                    <a:pt x="141" y="70"/>
                    <a:pt x="138" y="60"/>
                    <a:pt x="138" y="47"/>
                  </a:cubicBezTo>
                  <a:cubicBezTo>
                    <a:pt x="138" y="33"/>
                    <a:pt x="142" y="22"/>
                    <a:pt x="150" y="13"/>
                  </a:cubicBezTo>
                  <a:cubicBezTo>
                    <a:pt x="159" y="5"/>
                    <a:pt x="169" y="0"/>
                    <a:pt x="182" y="0"/>
                  </a:cubicBezTo>
                  <a:cubicBezTo>
                    <a:pt x="190" y="0"/>
                    <a:pt x="197" y="1"/>
                    <a:pt x="203" y="4"/>
                  </a:cubicBezTo>
                  <a:cubicBezTo>
                    <a:pt x="203" y="15"/>
                    <a:pt x="203" y="15"/>
                    <a:pt x="203" y="15"/>
                  </a:cubicBezTo>
                  <a:cubicBezTo>
                    <a:pt x="196" y="11"/>
                    <a:pt x="190" y="9"/>
                    <a:pt x="182" y="9"/>
                  </a:cubicBezTo>
                  <a:cubicBezTo>
                    <a:pt x="172" y="9"/>
                    <a:pt x="164" y="13"/>
                    <a:pt x="158" y="19"/>
                  </a:cubicBezTo>
                  <a:cubicBezTo>
                    <a:pt x="151" y="26"/>
                    <a:pt x="148" y="35"/>
                    <a:pt x="148" y="46"/>
                  </a:cubicBezTo>
                  <a:cubicBezTo>
                    <a:pt x="148" y="57"/>
                    <a:pt x="151" y="65"/>
                    <a:pt x="157" y="72"/>
                  </a:cubicBezTo>
                  <a:cubicBezTo>
                    <a:pt x="163" y="78"/>
                    <a:pt x="171" y="81"/>
                    <a:pt x="180" y="81"/>
                  </a:cubicBezTo>
                  <a:cubicBezTo>
                    <a:pt x="189" y="81"/>
                    <a:pt x="196" y="79"/>
                    <a:pt x="203" y="75"/>
                  </a:cubicBezTo>
                  <a:lnTo>
                    <a:pt x="203" y="85"/>
                  </a:lnTo>
                  <a:close/>
                  <a:moveTo>
                    <a:pt x="281" y="89"/>
                  </a:moveTo>
                  <a:cubicBezTo>
                    <a:pt x="267" y="89"/>
                    <a:pt x="267" y="89"/>
                    <a:pt x="267" y="89"/>
                  </a:cubicBezTo>
                  <a:cubicBezTo>
                    <a:pt x="233" y="49"/>
                    <a:pt x="233" y="49"/>
                    <a:pt x="233" y="49"/>
                  </a:cubicBezTo>
                  <a:cubicBezTo>
                    <a:pt x="232" y="47"/>
                    <a:pt x="231" y="46"/>
                    <a:pt x="231" y="46"/>
                  </a:cubicBezTo>
                  <a:cubicBezTo>
                    <a:pt x="231" y="46"/>
                    <a:pt x="231" y="46"/>
                    <a:pt x="231" y="46"/>
                  </a:cubicBezTo>
                  <a:cubicBezTo>
                    <a:pt x="231" y="89"/>
                    <a:pt x="231" y="89"/>
                    <a:pt x="231" y="89"/>
                  </a:cubicBezTo>
                  <a:cubicBezTo>
                    <a:pt x="220" y="89"/>
                    <a:pt x="220" y="89"/>
                    <a:pt x="220" y="89"/>
                  </a:cubicBezTo>
                  <a:cubicBezTo>
                    <a:pt x="220" y="2"/>
                    <a:pt x="220" y="2"/>
                    <a:pt x="220" y="2"/>
                  </a:cubicBezTo>
                  <a:cubicBezTo>
                    <a:pt x="231" y="2"/>
                    <a:pt x="231" y="2"/>
                    <a:pt x="231" y="2"/>
                  </a:cubicBezTo>
                  <a:cubicBezTo>
                    <a:pt x="231" y="43"/>
                    <a:pt x="231" y="43"/>
                    <a:pt x="231" y="43"/>
                  </a:cubicBezTo>
                  <a:cubicBezTo>
                    <a:pt x="231" y="43"/>
                    <a:pt x="231" y="43"/>
                    <a:pt x="231" y="43"/>
                  </a:cubicBezTo>
                  <a:cubicBezTo>
                    <a:pt x="231" y="42"/>
                    <a:pt x="232" y="41"/>
                    <a:pt x="233" y="40"/>
                  </a:cubicBezTo>
                  <a:cubicBezTo>
                    <a:pt x="266" y="2"/>
                    <a:pt x="266" y="2"/>
                    <a:pt x="266" y="2"/>
                  </a:cubicBezTo>
                  <a:cubicBezTo>
                    <a:pt x="278" y="2"/>
                    <a:pt x="278" y="2"/>
                    <a:pt x="278" y="2"/>
                  </a:cubicBezTo>
                  <a:cubicBezTo>
                    <a:pt x="241" y="43"/>
                    <a:pt x="241" y="43"/>
                    <a:pt x="241" y="43"/>
                  </a:cubicBezTo>
                  <a:lnTo>
                    <a:pt x="281" y="89"/>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9" name="Freeform 240">
              <a:extLst>
                <a:ext uri="{FF2B5EF4-FFF2-40B4-BE49-F238E27FC236}">
                  <a16:creationId xmlns:a16="http://schemas.microsoft.com/office/drawing/2014/main" id="{0ED39992-E4CB-1383-C660-2E96D0E8424A}"/>
                </a:ext>
                <a:ext uri="{C183D7F6-B498-43B3-948B-1728B52AA6E4}">
                  <adec:decorative xmlns:adec="http://schemas.microsoft.com/office/drawing/2017/decorative" val="1"/>
                </a:ext>
              </a:extLst>
            </p:cNvPr>
            <p:cNvSpPr>
              <a:spLocks noEditPoints="1"/>
            </p:cNvSpPr>
            <p:nvPr/>
          </p:nvSpPr>
          <p:spPr bwMode="auto">
            <a:xfrm>
              <a:off x="1782614" y="4730525"/>
              <a:ext cx="1114855" cy="464951"/>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0" name="Freeform 241">
              <a:extLst>
                <a:ext uri="{FF2B5EF4-FFF2-40B4-BE49-F238E27FC236}">
                  <a16:creationId xmlns:a16="http://schemas.microsoft.com/office/drawing/2014/main" id="{FD53A550-8932-249B-C006-AF263620A600}"/>
                </a:ext>
                <a:ext uri="{C183D7F6-B498-43B3-948B-1728B52AA6E4}">
                  <adec:decorative xmlns:adec="http://schemas.microsoft.com/office/drawing/2017/decorative" val="1"/>
                </a:ext>
              </a:extLst>
            </p:cNvPr>
            <p:cNvSpPr>
              <a:spLocks noEditPoints="1"/>
            </p:cNvSpPr>
            <p:nvPr/>
          </p:nvSpPr>
          <p:spPr bwMode="auto">
            <a:xfrm>
              <a:off x="1517942" y="3247986"/>
              <a:ext cx="1548982" cy="236329"/>
            </a:xfrm>
            <a:custGeom>
              <a:avLst/>
              <a:gdLst>
                <a:gd name="T0" fmla="*/ 13 w 510"/>
                <a:gd name="T1" fmla="*/ 25 h 78"/>
                <a:gd name="T2" fmla="*/ 39 w 510"/>
                <a:gd name="T3" fmla="*/ 1 h 78"/>
                <a:gd name="T4" fmla="*/ 24 w 510"/>
                <a:gd name="T5" fmla="*/ 61 h 78"/>
                <a:gd name="T6" fmla="*/ 40 w 510"/>
                <a:gd name="T7" fmla="*/ 29 h 78"/>
                <a:gd name="T8" fmla="*/ 13 w 510"/>
                <a:gd name="T9" fmla="*/ 35 h 78"/>
                <a:gd name="T10" fmla="*/ 21 w 510"/>
                <a:gd name="T11" fmla="*/ 51 h 78"/>
                <a:gd name="T12" fmla="*/ 91 w 510"/>
                <a:gd name="T13" fmla="*/ 12 h 78"/>
                <a:gd name="T14" fmla="*/ 57 w 510"/>
                <a:gd name="T15" fmla="*/ 62 h 78"/>
                <a:gd name="T16" fmla="*/ 53 w 510"/>
                <a:gd name="T17" fmla="*/ 51 h 78"/>
                <a:gd name="T18" fmla="*/ 63 w 510"/>
                <a:gd name="T19" fmla="*/ 28 h 78"/>
                <a:gd name="T20" fmla="*/ 104 w 510"/>
                <a:gd name="T21" fmla="*/ 61 h 78"/>
                <a:gd name="T22" fmla="*/ 112 w 510"/>
                <a:gd name="T23" fmla="*/ 61 h 78"/>
                <a:gd name="T24" fmla="*/ 152 w 510"/>
                <a:gd name="T25" fmla="*/ 48 h 78"/>
                <a:gd name="T26" fmla="*/ 150 w 510"/>
                <a:gd name="T27" fmla="*/ 1 h 78"/>
                <a:gd name="T28" fmla="*/ 141 w 510"/>
                <a:gd name="T29" fmla="*/ 11 h 78"/>
                <a:gd name="T30" fmla="*/ 149 w 510"/>
                <a:gd name="T31" fmla="*/ 37 h 78"/>
                <a:gd name="T32" fmla="*/ 193 w 510"/>
                <a:gd name="T33" fmla="*/ 12 h 78"/>
                <a:gd name="T34" fmla="*/ 179 w 510"/>
                <a:gd name="T35" fmla="*/ 1 h 78"/>
                <a:gd name="T36" fmla="*/ 269 w 510"/>
                <a:gd name="T37" fmla="*/ 8 h 78"/>
                <a:gd name="T38" fmla="*/ 218 w 510"/>
                <a:gd name="T39" fmla="*/ 32 h 78"/>
                <a:gd name="T40" fmla="*/ 269 w 510"/>
                <a:gd name="T41" fmla="*/ 53 h 78"/>
                <a:gd name="T42" fmla="*/ 259 w 510"/>
                <a:gd name="T43" fmla="*/ 45 h 78"/>
                <a:gd name="T44" fmla="*/ 232 w 510"/>
                <a:gd name="T45" fmla="*/ 31 h 78"/>
                <a:gd name="T46" fmla="*/ 259 w 510"/>
                <a:gd name="T47" fmla="*/ 17 h 78"/>
                <a:gd name="T48" fmla="*/ 335 w 510"/>
                <a:gd name="T49" fmla="*/ 50 h 78"/>
                <a:gd name="T50" fmla="*/ 287 w 510"/>
                <a:gd name="T51" fmla="*/ 50 h 78"/>
                <a:gd name="T52" fmla="*/ 294 w 510"/>
                <a:gd name="T53" fmla="*/ 78 h 78"/>
                <a:gd name="T54" fmla="*/ 332 w 510"/>
                <a:gd name="T55" fmla="*/ 78 h 78"/>
                <a:gd name="T56" fmla="*/ 335 w 510"/>
                <a:gd name="T57" fmla="*/ 50 h 78"/>
                <a:gd name="T58" fmla="*/ 308 w 510"/>
                <a:gd name="T59" fmla="*/ 31 h 78"/>
                <a:gd name="T60" fmla="*/ 322 w 510"/>
                <a:gd name="T61" fmla="*/ 50 h 78"/>
                <a:gd name="T62" fmla="*/ 348 w 510"/>
                <a:gd name="T63" fmla="*/ 61 h 78"/>
                <a:gd name="T64" fmla="*/ 388 w 510"/>
                <a:gd name="T65" fmla="*/ 48 h 78"/>
                <a:gd name="T66" fmla="*/ 386 w 510"/>
                <a:gd name="T67" fmla="*/ 1 h 78"/>
                <a:gd name="T68" fmla="*/ 377 w 510"/>
                <a:gd name="T69" fmla="*/ 11 h 78"/>
                <a:gd name="T70" fmla="*/ 385 w 510"/>
                <a:gd name="T71" fmla="*/ 37 h 78"/>
                <a:gd name="T72" fmla="*/ 415 w 510"/>
                <a:gd name="T73" fmla="*/ 1 h 78"/>
                <a:gd name="T74" fmla="*/ 429 w 510"/>
                <a:gd name="T75" fmla="*/ 40 h 78"/>
                <a:gd name="T76" fmla="*/ 459 w 510"/>
                <a:gd name="T77" fmla="*/ 20 h 78"/>
                <a:gd name="T78" fmla="*/ 429 w 510"/>
                <a:gd name="T79" fmla="*/ 30 h 78"/>
                <a:gd name="T80" fmla="*/ 445 w 510"/>
                <a:gd name="T81" fmla="*/ 20 h 78"/>
                <a:gd name="T82" fmla="*/ 472 w 510"/>
                <a:gd name="T83" fmla="*/ 5 h 78"/>
                <a:gd name="T84" fmla="*/ 480 w 510"/>
                <a:gd name="T85" fmla="*/ 34 h 78"/>
                <a:gd name="T86" fmla="*/ 477 w 510"/>
                <a:gd name="T87" fmla="*/ 61 h 78"/>
                <a:gd name="T88" fmla="*/ 496 w 510"/>
                <a:gd name="T89" fmla="*/ 38 h 78"/>
                <a:gd name="T90" fmla="*/ 510 w 510"/>
                <a:gd name="T91" fmla="*/ 1 h 78"/>
                <a:gd name="T92" fmla="*/ 490 w 510"/>
                <a:gd name="T93" fmla="*/ 27 h 78"/>
                <a:gd name="T94" fmla="*/ 490 w 510"/>
                <a:gd name="T95"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78">
                  <a:moveTo>
                    <a:pt x="40" y="29"/>
                  </a:moveTo>
                  <a:cubicBezTo>
                    <a:pt x="36" y="26"/>
                    <a:pt x="31" y="25"/>
                    <a:pt x="25" y="25"/>
                  </a:cubicBezTo>
                  <a:cubicBezTo>
                    <a:pt x="13" y="25"/>
                    <a:pt x="13" y="25"/>
                    <a:pt x="13" y="25"/>
                  </a:cubicBezTo>
                  <a:cubicBezTo>
                    <a:pt x="13" y="12"/>
                    <a:pt x="13" y="12"/>
                    <a:pt x="13" y="12"/>
                  </a:cubicBezTo>
                  <a:cubicBezTo>
                    <a:pt x="39" y="12"/>
                    <a:pt x="39" y="12"/>
                    <a:pt x="39" y="12"/>
                  </a:cubicBezTo>
                  <a:cubicBezTo>
                    <a:pt x="39" y="1"/>
                    <a:pt x="39" y="1"/>
                    <a:pt x="39" y="1"/>
                  </a:cubicBezTo>
                  <a:cubicBezTo>
                    <a:pt x="0" y="1"/>
                    <a:pt x="0" y="1"/>
                    <a:pt x="0" y="1"/>
                  </a:cubicBezTo>
                  <a:cubicBezTo>
                    <a:pt x="0" y="61"/>
                    <a:pt x="0" y="61"/>
                    <a:pt x="0" y="61"/>
                  </a:cubicBezTo>
                  <a:cubicBezTo>
                    <a:pt x="24" y="61"/>
                    <a:pt x="24" y="61"/>
                    <a:pt x="24" y="61"/>
                  </a:cubicBezTo>
                  <a:cubicBezTo>
                    <a:pt x="31" y="61"/>
                    <a:pt x="36" y="59"/>
                    <a:pt x="40" y="56"/>
                  </a:cubicBezTo>
                  <a:cubicBezTo>
                    <a:pt x="43" y="53"/>
                    <a:pt x="45" y="48"/>
                    <a:pt x="45" y="42"/>
                  </a:cubicBezTo>
                  <a:cubicBezTo>
                    <a:pt x="45" y="37"/>
                    <a:pt x="43" y="32"/>
                    <a:pt x="40" y="29"/>
                  </a:cubicBezTo>
                  <a:close/>
                  <a:moveTo>
                    <a:pt x="21" y="51"/>
                  </a:moveTo>
                  <a:cubicBezTo>
                    <a:pt x="13" y="51"/>
                    <a:pt x="13" y="51"/>
                    <a:pt x="13" y="51"/>
                  </a:cubicBezTo>
                  <a:cubicBezTo>
                    <a:pt x="13" y="35"/>
                    <a:pt x="13" y="35"/>
                    <a:pt x="13" y="35"/>
                  </a:cubicBezTo>
                  <a:cubicBezTo>
                    <a:pt x="22" y="35"/>
                    <a:pt x="22" y="35"/>
                    <a:pt x="22" y="35"/>
                  </a:cubicBezTo>
                  <a:cubicBezTo>
                    <a:pt x="28" y="35"/>
                    <a:pt x="31" y="38"/>
                    <a:pt x="31" y="43"/>
                  </a:cubicBezTo>
                  <a:cubicBezTo>
                    <a:pt x="31" y="48"/>
                    <a:pt x="28" y="51"/>
                    <a:pt x="21" y="51"/>
                  </a:cubicBezTo>
                  <a:close/>
                  <a:moveTo>
                    <a:pt x="104" y="61"/>
                  </a:moveTo>
                  <a:cubicBezTo>
                    <a:pt x="91" y="61"/>
                    <a:pt x="91" y="61"/>
                    <a:pt x="91" y="61"/>
                  </a:cubicBezTo>
                  <a:cubicBezTo>
                    <a:pt x="91" y="12"/>
                    <a:pt x="91" y="12"/>
                    <a:pt x="91" y="12"/>
                  </a:cubicBezTo>
                  <a:cubicBezTo>
                    <a:pt x="79" y="12"/>
                    <a:pt x="79" y="12"/>
                    <a:pt x="79" y="12"/>
                  </a:cubicBezTo>
                  <a:cubicBezTo>
                    <a:pt x="75" y="35"/>
                    <a:pt x="72" y="49"/>
                    <a:pt x="70" y="54"/>
                  </a:cubicBezTo>
                  <a:cubicBezTo>
                    <a:pt x="67" y="59"/>
                    <a:pt x="62" y="62"/>
                    <a:pt x="57" y="62"/>
                  </a:cubicBezTo>
                  <a:cubicBezTo>
                    <a:pt x="54" y="62"/>
                    <a:pt x="52" y="62"/>
                    <a:pt x="49" y="61"/>
                  </a:cubicBezTo>
                  <a:cubicBezTo>
                    <a:pt x="49" y="50"/>
                    <a:pt x="49" y="50"/>
                    <a:pt x="49" y="50"/>
                  </a:cubicBezTo>
                  <a:cubicBezTo>
                    <a:pt x="51" y="50"/>
                    <a:pt x="52" y="51"/>
                    <a:pt x="53" y="51"/>
                  </a:cubicBezTo>
                  <a:cubicBezTo>
                    <a:pt x="55" y="51"/>
                    <a:pt x="56" y="50"/>
                    <a:pt x="56" y="50"/>
                  </a:cubicBezTo>
                  <a:cubicBezTo>
                    <a:pt x="57" y="49"/>
                    <a:pt x="58" y="47"/>
                    <a:pt x="59" y="44"/>
                  </a:cubicBezTo>
                  <a:cubicBezTo>
                    <a:pt x="60" y="41"/>
                    <a:pt x="62" y="35"/>
                    <a:pt x="63" y="28"/>
                  </a:cubicBezTo>
                  <a:cubicBezTo>
                    <a:pt x="65" y="20"/>
                    <a:pt x="66" y="11"/>
                    <a:pt x="68" y="1"/>
                  </a:cubicBezTo>
                  <a:cubicBezTo>
                    <a:pt x="104" y="1"/>
                    <a:pt x="104" y="1"/>
                    <a:pt x="104" y="1"/>
                  </a:cubicBezTo>
                  <a:lnTo>
                    <a:pt x="104" y="61"/>
                  </a:lnTo>
                  <a:close/>
                  <a:moveTo>
                    <a:pt x="150" y="1"/>
                  </a:moveTo>
                  <a:cubicBezTo>
                    <a:pt x="134" y="1"/>
                    <a:pt x="134" y="1"/>
                    <a:pt x="134" y="1"/>
                  </a:cubicBezTo>
                  <a:cubicBezTo>
                    <a:pt x="112" y="61"/>
                    <a:pt x="112" y="61"/>
                    <a:pt x="112" y="61"/>
                  </a:cubicBezTo>
                  <a:cubicBezTo>
                    <a:pt x="127" y="61"/>
                    <a:pt x="127" y="61"/>
                    <a:pt x="127" y="61"/>
                  </a:cubicBezTo>
                  <a:cubicBezTo>
                    <a:pt x="131" y="48"/>
                    <a:pt x="131" y="48"/>
                    <a:pt x="131" y="48"/>
                  </a:cubicBezTo>
                  <a:cubicBezTo>
                    <a:pt x="152" y="48"/>
                    <a:pt x="152" y="48"/>
                    <a:pt x="152" y="48"/>
                  </a:cubicBezTo>
                  <a:cubicBezTo>
                    <a:pt x="157" y="61"/>
                    <a:pt x="157" y="61"/>
                    <a:pt x="157" y="61"/>
                  </a:cubicBezTo>
                  <a:cubicBezTo>
                    <a:pt x="172" y="61"/>
                    <a:pt x="172" y="61"/>
                    <a:pt x="172" y="61"/>
                  </a:cubicBezTo>
                  <a:lnTo>
                    <a:pt x="150" y="1"/>
                  </a:lnTo>
                  <a:close/>
                  <a:moveTo>
                    <a:pt x="134" y="37"/>
                  </a:moveTo>
                  <a:cubicBezTo>
                    <a:pt x="140" y="17"/>
                    <a:pt x="140" y="17"/>
                    <a:pt x="140" y="17"/>
                  </a:cubicBezTo>
                  <a:cubicBezTo>
                    <a:pt x="141" y="15"/>
                    <a:pt x="141" y="13"/>
                    <a:pt x="141" y="11"/>
                  </a:cubicBezTo>
                  <a:cubicBezTo>
                    <a:pt x="142" y="11"/>
                    <a:pt x="142" y="11"/>
                    <a:pt x="142" y="11"/>
                  </a:cubicBezTo>
                  <a:cubicBezTo>
                    <a:pt x="142" y="13"/>
                    <a:pt x="142" y="15"/>
                    <a:pt x="143" y="17"/>
                  </a:cubicBezTo>
                  <a:cubicBezTo>
                    <a:pt x="149" y="37"/>
                    <a:pt x="149" y="37"/>
                    <a:pt x="149" y="37"/>
                  </a:cubicBezTo>
                  <a:lnTo>
                    <a:pt x="134" y="37"/>
                  </a:lnTo>
                  <a:close/>
                  <a:moveTo>
                    <a:pt x="215" y="12"/>
                  </a:moveTo>
                  <a:cubicBezTo>
                    <a:pt x="193" y="12"/>
                    <a:pt x="193" y="12"/>
                    <a:pt x="193" y="12"/>
                  </a:cubicBezTo>
                  <a:cubicBezTo>
                    <a:pt x="193" y="61"/>
                    <a:pt x="193" y="61"/>
                    <a:pt x="193" y="61"/>
                  </a:cubicBezTo>
                  <a:cubicBezTo>
                    <a:pt x="179" y="61"/>
                    <a:pt x="179" y="61"/>
                    <a:pt x="179" y="61"/>
                  </a:cubicBezTo>
                  <a:cubicBezTo>
                    <a:pt x="179" y="1"/>
                    <a:pt x="179" y="1"/>
                    <a:pt x="179" y="1"/>
                  </a:cubicBezTo>
                  <a:cubicBezTo>
                    <a:pt x="215" y="1"/>
                    <a:pt x="215" y="1"/>
                    <a:pt x="215" y="1"/>
                  </a:cubicBezTo>
                  <a:lnTo>
                    <a:pt x="215" y="12"/>
                  </a:lnTo>
                  <a:close/>
                  <a:moveTo>
                    <a:pt x="269" y="8"/>
                  </a:moveTo>
                  <a:cubicBezTo>
                    <a:pt x="264" y="2"/>
                    <a:pt x="257" y="0"/>
                    <a:pt x="248" y="0"/>
                  </a:cubicBezTo>
                  <a:cubicBezTo>
                    <a:pt x="239" y="0"/>
                    <a:pt x="232" y="3"/>
                    <a:pt x="226" y="8"/>
                  </a:cubicBezTo>
                  <a:cubicBezTo>
                    <a:pt x="221" y="14"/>
                    <a:pt x="218" y="22"/>
                    <a:pt x="218" y="32"/>
                  </a:cubicBezTo>
                  <a:cubicBezTo>
                    <a:pt x="218" y="41"/>
                    <a:pt x="221" y="48"/>
                    <a:pt x="226" y="54"/>
                  </a:cubicBezTo>
                  <a:cubicBezTo>
                    <a:pt x="232" y="59"/>
                    <a:pt x="239" y="62"/>
                    <a:pt x="247" y="62"/>
                  </a:cubicBezTo>
                  <a:cubicBezTo>
                    <a:pt x="256" y="62"/>
                    <a:pt x="264" y="59"/>
                    <a:pt x="269" y="53"/>
                  </a:cubicBezTo>
                  <a:cubicBezTo>
                    <a:pt x="275" y="48"/>
                    <a:pt x="277" y="40"/>
                    <a:pt x="277" y="30"/>
                  </a:cubicBezTo>
                  <a:cubicBezTo>
                    <a:pt x="277" y="21"/>
                    <a:pt x="275" y="14"/>
                    <a:pt x="269" y="8"/>
                  </a:cubicBezTo>
                  <a:close/>
                  <a:moveTo>
                    <a:pt x="259" y="45"/>
                  </a:moveTo>
                  <a:cubicBezTo>
                    <a:pt x="256" y="49"/>
                    <a:pt x="252" y="50"/>
                    <a:pt x="248" y="50"/>
                  </a:cubicBezTo>
                  <a:cubicBezTo>
                    <a:pt x="243" y="50"/>
                    <a:pt x="239" y="49"/>
                    <a:pt x="237" y="45"/>
                  </a:cubicBezTo>
                  <a:cubicBezTo>
                    <a:pt x="234" y="42"/>
                    <a:pt x="232" y="37"/>
                    <a:pt x="232" y="31"/>
                  </a:cubicBezTo>
                  <a:cubicBezTo>
                    <a:pt x="232" y="25"/>
                    <a:pt x="234" y="20"/>
                    <a:pt x="237" y="17"/>
                  </a:cubicBezTo>
                  <a:cubicBezTo>
                    <a:pt x="239" y="13"/>
                    <a:pt x="243" y="11"/>
                    <a:pt x="248" y="11"/>
                  </a:cubicBezTo>
                  <a:cubicBezTo>
                    <a:pt x="253" y="11"/>
                    <a:pt x="256" y="13"/>
                    <a:pt x="259" y="17"/>
                  </a:cubicBezTo>
                  <a:cubicBezTo>
                    <a:pt x="262" y="20"/>
                    <a:pt x="263" y="25"/>
                    <a:pt x="263" y="31"/>
                  </a:cubicBezTo>
                  <a:cubicBezTo>
                    <a:pt x="263" y="37"/>
                    <a:pt x="262" y="42"/>
                    <a:pt x="259" y="45"/>
                  </a:cubicBezTo>
                  <a:close/>
                  <a:moveTo>
                    <a:pt x="335" y="50"/>
                  </a:moveTo>
                  <a:cubicBezTo>
                    <a:pt x="335" y="1"/>
                    <a:pt x="335" y="1"/>
                    <a:pt x="335" y="1"/>
                  </a:cubicBezTo>
                  <a:cubicBezTo>
                    <a:pt x="300" y="1"/>
                    <a:pt x="300" y="1"/>
                    <a:pt x="300" y="1"/>
                  </a:cubicBezTo>
                  <a:cubicBezTo>
                    <a:pt x="300" y="19"/>
                    <a:pt x="295" y="36"/>
                    <a:pt x="287" y="50"/>
                  </a:cubicBezTo>
                  <a:cubicBezTo>
                    <a:pt x="282" y="50"/>
                    <a:pt x="282" y="50"/>
                    <a:pt x="282" y="50"/>
                  </a:cubicBezTo>
                  <a:cubicBezTo>
                    <a:pt x="282" y="78"/>
                    <a:pt x="282" y="78"/>
                    <a:pt x="282" y="78"/>
                  </a:cubicBezTo>
                  <a:cubicBezTo>
                    <a:pt x="294" y="78"/>
                    <a:pt x="294" y="78"/>
                    <a:pt x="294" y="78"/>
                  </a:cubicBezTo>
                  <a:cubicBezTo>
                    <a:pt x="294" y="61"/>
                    <a:pt x="294" y="61"/>
                    <a:pt x="294" y="61"/>
                  </a:cubicBezTo>
                  <a:cubicBezTo>
                    <a:pt x="332" y="61"/>
                    <a:pt x="332" y="61"/>
                    <a:pt x="332" y="61"/>
                  </a:cubicBezTo>
                  <a:cubicBezTo>
                    <a:pt x="332" y="78"/>
                    <a:pt x="332" y="78"/>
                    <a:pt x="332" y="78"/>
                  </a:cubicBezTo>
                  <a:cubicBezTo>
                    <a:pt x="344" y="78"/>
                    <a:pt x="344" y="78"/>
                    <a:pt x="344" y="78"/>
                  </a:cubicBezTo>
                  <a:cubicBezTo>
                    <a:pt x="344" y="50"/>
                    <a:pt x="344" y="50"/>
                    <a:pt x="344" y="50"/>
                  </a:cubicBezTo>
                  <a:lnTo>
                    <a:pt x="335" y="50"/>
                  </a:lnTo>
                  <a:close/>
                  <a:moveTo>
                    <a:pt x="322" y="50"/>
                  </a:moveTo>
                  <a:cubicBezTo>
                    <a:pt x="301" y="50"/>
                    <a:pt x="301" y="50"/>
                    <a:pt x="301" y="50"/>
                  </a:cubicBezTo>
                  <a:cubicBezTo>
                    <a:pt x="304" y="44"/>
                    <a:pt x="306" y="38"/>
                    <a:pt x="308" y="31"/>
                  </a:cubicBezTo>
                  <a:cubicBezTo>
                    <a:pt x="310" y="24"/>
                    <a:pt x="311" y="18"/>
                    <a:pt x="311" y="12"/>
                  </a:cubicBezTo>
                  <a:cubicBezTo>
                    <a:pt x="322" y="12"/>
                    <a:pt x="322" y="12"/>
                    <a:pt x="322" y="12"/>
                  </a:cubicBezTo>
                  <a:lnTo>
                    <a:pt x="322" y="50"/>
                  </a:lnTo>
                  <a:close/>
                  <a:moveTo>
                    <a:pt x="386" y="1"/>
                  </a:moveTo>
                  <a:cubicBezTo>
                    <a:pt x="370" y="1"/>
                    <a:pt x="370" y="1"/>
                    <a:pt x="370" y="1"/>
                  </a:cubicBezTo>
                  <a:cubicBezTo>
                    <a:pt x="348" y="61"/>
                    <a:pt x="348" y="61"/>
                    <a:pt x="348" y="61"/>
                  </a:cubicBezTo>
                  <a:cubicBezTo>
                    <a:pt x="362" y="61"/>
                    <a:pt x="362" y="61"/>
                    <a:pt x="362" y="61"/>
                  </a:cubicBezTo>
                  <a:cubicBezTo>
                    <a:pt x="367" y="48"/>
                    <a:pt x="367" y="48"/>
                    <a:pt x="367" y="48"/>
                  </a:cubicBezTo>
                  <a:cubicBezTo>
                    <a:pt x="388" y="48"/>
                    <a:pt x="388" y="48"/>
                    <a:pt x="388" y="48"/>
                  </a:cubicBezTo>
                  <a:cubicBezTo>
                    <a:pt x="393" y="61"/>
                    <a:pt x="393" y="61"/>
                    <a:pt x="393" y="61"/>
                  </a:cubicBezTo>
                  <a:cubicBezTo>
                    <a:pt x="407" y="61"/>
                    <a:pt x="407" y="61"/>
                    <a:pt x="407" y="61"/>
                  </a:cubicBezTo>
                  <a:lnTo>
                    <a:pt x="386" y="1"/>
                  </a:lnTo>
                  <a:close/>
                  <a:moveTo>
                    <a:pt x="370" y="37"/>
                  </a:moveTo>
                  <a:cubicBezTo>
                    <a:pt x="376" y="17"/>
                    <a:pt x="376" y="17"/>
                    <a:pt x="376" y="17"/>
                  </a:cubicBezTo>
                  <a:cubicBezTo>
                    <a:pt x="377" y="15"/>
                    <a:pt x="377" y="13"/>
                    <a:pt x="377" y="11"/>
                  </a:cubicBezTo>
                  <a:cubicBezTo>
                    <a:pt x="378" y="11"/>
                    <a:pt x="378" y="11"/>
                    <a:pt x="378" y="11"/>
                  </a:cubicBezTo>
                  <a:cubicBezTo>
                    <a:pt x="378" y="13"/>
                    <a:pt x="378" y="15"/>
                    <a:pt x="379" y="17"/>
                  </a:cubicBezTo>
                  <a:cubicBezTo>
                    <a:pt x="385" y="37"/>
                    <a:pt x="385" y="37"/>
                    <a:pt x="385" y="37"/>
                  </a:cubicBezTo>
                  <a:lnTo>
                    <a:pt x="370" y="37"/>
                  </a:lnTo>
                  <a:close/>
                  <a:moveTo>
                    <a:pt x="436" y="1"/>
                  </a:moveTo>
                  <a:cubicBezTo>
                    <a:pt x="415" y="1"/>
                    <a:pt x="415" y="1"/>
                    <a:pt x="415" y="1"/>
                  </a:cubicBezTo>
                  <a:cubicBezTo>
                    <a:pt x="415" y="61"/>
                    <a:pt x="415" y="61"/>
                    <a:pt x="415" y="61"/>
                  </a:cubicBezTo>
                  <a:cubicBezTo>
                    <a:pt x="429" y="61"/>
                    <a:pt x="429" y="61"/>
                    <a:pt x="429" y="61"/>
                  </a:cubicBezTo>
                  <a:cubicBezTo>
                    <a:pt x="429" y="40"/>
                    <a:pt x="429" y="40"/>
                    <a:pt x="429" y="40"/>
                  </a:cubicBezTo>
                  <a:cubicBezTo>
                    <a:pt x="435" y="40"/>
                    <a:pt x="435" y="40"/>
                    <a:pt x="435" y="40"/>
                  </a:cubicBezTo>
                  <a:cubicBezTo>
                    <a:pt x="442" y="40"/>
                    <a:pt x="448" y="38"/>
                    <a:pt x="453" y="35"/>
                  </a:cubicBezTo>
                  <a:cubicBezTo>
                    <a:pt x="457" y="31"/>
                    <a:pt x="459" y="26"/>
                    <a:pt x="459" y="20"/>
                  </a:cubicBezTo>
                  <a:cubicBezTo>
                    <a:pt x="459" y="7"/>
                    <a:pt x="452" y="1"/>
                    <a:pt x="436" y="1"/>
                  </a:cubicBezTo>
                  <a:close/>
                  <a:moveTo>
                    <a:pt x="434" y="30"/>
                  </a:moveTo>
                  <a:cubicBezTo>
                    <a:pt x="429" y="30"/>
                    <a:pt x="429" y="30"/>
                    <a:pt x="429" y="30"/>
                  </a:cubicBezTo>
                  <a:cubicBezTo>
                    <a:pt x="429" y="11"/>
                    <a:pt x="429" y="11"/>
                    <a:pt x="429" y="11"/>
                  </a:cubicBezTo>
                  <a:cubicBezTo>
                    <a:pt x="434" y="11"/>
                    <a:pt x="434" y="11"/>
                    <a:pt x="434" y="11"/>
                  </a:cubicBezTo>
                  <a:cubicBezTo>
                    <a:pt x="441" y="11"/>
                    <a:pt x="445" y="14"/>
                    <a:pt x="445" y="20"/>
                  </a:cubicBezTo>
                  <a:cubicBezTo>
                    <a:pt x="445" y="27"/>
                    <a:pt x="441" y="30"/>
                    <a:pt x="434" y="30"/>
                  </a:cubicBezTo>
                  <a:close/>
                  <a:moveTo>
                    <a:pt x="489" y="1"/>
                  </a:moveTo>
                  <a:cubicBezTo>
                    <a:pt x="482" y="1"/>
                    <a:pt x="476" y="2"/>
                    <a:pt x="472" y="5"/>
                  </a:cubicBezTo>
                  <a:cubicBezTo>
                    <a:pt x="468" y="8"/>
                    <a:pt x="466" y="12"/>
                    <a:pt x="466" y="18"/>
                  </a:cubicBezTo>
                  <a:cubicBezTo>
                    <a:pt x="466" y="26"/>
                    <a:pt x="471" y="31"/>
                    <a:pt x="480" y="33"/>
                  </a:cubicBezTo>
                  <a:cubicBezTo>
                    <a:pt x="480" y="34"/>
                    <a:pt x="480" y="34"/>
                    <a:pt x="480" y="34"/>
                  </a:cubicBezTo>
                  <a:cubicBezTo>
                    <a:pt x="476" y="35"/>
                    <a:pt x="473" y="38"/>
                    <a:pt x="470" y="43"/>
                  </a:cubicBezTo>
                  <a:cubicBezTo>
                    <a:pt x="462" y="61"/>
                    <a:pt x="462" y="61"/>
                    <a:pt x="462" y="61"/>
                  </a:cubicBezTo>
                  <a:cubicBezTo>
                    <a:pt x="477" y="61"/>
                    <a:pt x="477" y="61"/>
                    <a:pt x="477" y="61"/>
                  </a:cubicBezTo>
                  <a:cubicBezTo>
                    <a:pt x="484" y="45"/>
                    <a:pt x="484" y="45"/>
                    <a:pt x="484" y="45"/>
                  </a:cubicBezTo>
                  <a:cubicBezTo>
                    <a:pt x="486" y="40"/>
                    <a:pt x="489" y="38"/>
                    <a:pt x="492" y="38"/>
                  </a:cubicBezTo>
                  <a:cubicBezTo>
                    <a:pt x="496" y="38"/>
                    <a:pt x="496" y="38"/>
                    <a:pt x="496" y="38"/>
                  </a:cubicBezTo>
                  <a:cubicBezTo>
                    <a:pt x="496" y="61"/>
                    <a:pt x="496" y="61"/>
                    <a:pt x="496" y="61"/>
                  </a:cubicBezTo>
                  <a:cubicBezTo>
                    <a:pt x="510" y="61"/>
                    <a:pt x="510" y="61"/>
                    <a:pt x="510" y="61"/>
                  </a:cubicBezTo>
                  <a:cubicBezTo>
                    <a:pt x="510" y="1"/>
                    <a:pt x="510" y="1"/>
                    <a:pt x="510" y="1"/>
                  </a:cubicBezTo>
                  <a:lnTo>
                    <a:pt x="489" y="1"/>
                  </a:lnTo>
                  <a:close/>
                  <a:moveTo>
                    <a:pt x="496" y="27"/>
                  </a:moveTo>
                  <a:cubicBezTo>
                    <a:pt x="490" y="27"/>
                    <a:pt x="490" y="27"/>
                    <a:pt x="490" y="27"/>
                  </a:cubicBezTo>
                  <a:cubicBezTo>
                    <a:pt x="487" y="27"/>
                    <a:pt x="485" y="27"/>
                    <a:pt x="483" y="25"/>
                  </a:cubicBezTo>
                  <a:cubicBezTo>
                    <a:pt x="482" y="24"/>
                    <a:pt x="481" y="21"/>
                    <a:pt x="481" y="19"/>
                  </a:cubicBezTo>
                  <a:cubicBezTo>
                    <a:pt x="481" y="14"/>
                    <a:pt x="484" y="11"/>
                    <a:pt x="490" y="11"/>
                  </a:cubicBezTo>
                  <a:cubicBezTo>
                    <a:pt x="496" y="11"/>
                    <a:pt x="496" y="11"/>
                    <a:pt x="496" y="11"/>
                  </a:cubicBezTo>
                  <a:lnTo>
                    <a:pt x="496" y="27"/>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31" name="Freeform 242">
              <a:extLst>
                <a:ext uri="{FF2B5EF4-FFF2-40B4-BE49-F238E27FC236}">
                  <a16:creationId xmlns:a16="http://schemas.microsoft.com/office/drawing/2014/main" id="{0D514532-FFBF-1015-C5DE-A5517F566E2E}"/>
                </a:ext>
                <a:ext uri="{C183D7F6-B498-43B3-948B-1728B52AA6E4}">
                  <adec:decorative xmlns:adec="http://schemas.microsoft.com/office/drawing/2017/decorative" val="1"/>
                </a:ext>
              </a:extLst>
            </p:cNvPr>
            <p:cNvSpPr>
              <a:spLocks noEditPoints="1"/>
            </p:cNvSpPr>
            <p:nvPr/>
          </p:nvSpPr>
          <p:spPr bwMode="auto">
            <a:xfrm rot="16200000">
              <a:off x="10129465" y="3804099"/>
              <a:ext cx="319703" cy="1203703"/>
            </a:xfrm>
            <a:custGeom>
              <a:avLst/>
              <a:gdLst>
                <a:gd name="T0" fmla="*/ 21 w 70"/>
                <a:gd name="T1" fmla="*/ 4 h 264"/>
                <a:gd name="T2" fmla="*/ 0 w 70"/>
                <a:gd name="T3" fmla="*/ 0 h 264"/>
                <a:gd name="T4" fmla="*/ 15 w 70"/>
                <a:gd name="T5" fmla="*/ 6 h 264"/>
                <a:gd name="T6" fmla="*/ 0 w 70"/>
                <a:gd name="T7" fmla="*/ 45 h 264"/>
                <a:gd name="T8" fmla="*/ 21 w 70"/>
                <a:gd name="T9" fmla="*/ 51 h 264"/>
                <a:gd name="T10" fmla="*/ 70 w 70"/>
                <a:gd name="T11" fmla="*/ 43 h 264"/>
                <a:gd name="T12" fmla="*/ 44 w 70"/>
                <a:gd name="T13" fmla="*/ 13 h 264"/>
                <a:gd name="T14" fmla="*/ 21 w 70"/>
                <a:gd name="T15" fmla="*/ 37 h 264"/>
                <a:gd name="T16" fmla="*/ 42 w 70"/>
                <a:gd name="T17" fmla="*/ 19 h 264"/>
                <a:gd name="T18" fmla="*/ 64 w 70"/>
                <a:gd name="T19" fmla="*/ 37 h 264"/>
                <a:gd name="T20" fmla="*/ 54 w 70"/>
                <a:gd name="T21" fmla="*/ 59 h 264"/>
                <a:gd name="T22" fmla="*/ 40 w 70"/>
                <a:gd name="T23" fmla="*/ 70 h 264"/>
                <a:gd name="T24" fmla="*/ 37 w 70"/>
                <a:gd name="T25" fmla="*/ 66 h 264"/>
                <a:gd name="T26" fmla="*/ 15 w 70"/>
                <a:gd name="T27" fmla="*/ 55 h 264"/>
                <a:gd name="T28" fmla="*/ 31 w 70"/>
                <a:gd name="T29" fmla="*/ 70 h 264"/>
                <a:gd name="T30" fmla="*/ 38 w 70"/>
                <a:gd name="T31" fmla="*/ 78 h 264"/>
                <a:gd name="T32" fmla="*/ 15 w 70"/>
                <a:gd name="T33" fmla="*/ 86 h 264"/>
                <a:gd name="T34" fmla="*/ 70 w 70"/>
                <a:gd name="T35" fmla="*/ 92 h 264"/>
                <a:gd name="T36" fmla="*/ 65 w 70"/>
                <a:gd name="T37" fmla="*/ 63 h 264"/>
                <a:gd name="T38" fmla="*/ 44 w 70"/>
                <a:gd name="T39" fmla="*/ 86 h 264"/>
                <a:gd name="T40" fmla="*/ 47 w 70"/>
                <a:gd name="T41" fmla="*/ 68 h 264"/>
                <a:gd name="T42" fmla="*/ 61 w 70"/>
                <a:gd name="T43" fmla="*/ 68 h 264"/>
                <a:gd name="T44" fmla="*/ 64 w 70"/>
                <a:gd name="T45" fmla="*/ 86 h 264"/>
                <a:gd name="T46" fmla="*/ 15 w 70"/>
                <a:gd name="T47" fmla="*/ 135 h 264"/>
                <a:gd name="T48" fmla="*/ 42 w 70"/>
                <a:gd name="T49" fmla="*/ 113 h 264"/>
                <a:gd name="T50" fmla="*/ 15 w 70"/>
                <a:gd name="T51" fmla="*/ 113 h 264"/>
                <a:gd name="T52" fmla="*/ 70 w 70"/>
                <a:gd name="T53" fmla="*/ 106 h 264"/>
                <a:gd name="T54" fmla="*/ 44 w 70"/>
                <a:gd name="T55" fmla="*/ 113 h 264"/>
                <a:gd name="T56" fmla="*/ 46 w 70"/>
                <a:gd name="T57" fmla="*/ 114 h 264"/>
                <a:gd name="T58" fmla="*/ 70 w 70"/>
                <a:gd name="T59" fmla="*/ 143 h 264"/>
                <a:gd name="T60" fmla="*/ 15 w 70"/>
                <a:gd name="T61" fmla="*/ 144 h 264"/>
                <a:gd name="T62" fmla="*/ 31 w 70"/>
                <a:gd name="T63" fmla="*/ 172 h 264"/>
                <a:gd name="T64" fmla="*/ 14 w 70"/>
                <a:gd name="T65" fmla="*/ 154 h 264"/>
                <a:gd name="T66" fmla="*/ 22 w 70"/>
                <a:gd name="T67" fmla="*/ 147 h 264"/>
                <a:gd name="T68" fmla="*/ 22 w 70"/>
                <a:gd name="T69" fmla="*/ 159 h 264"/>
                <a:gd name="T70" fmla="*/ 70 w 70"/>
                <a:gd name="T71" fmla="*/ 147 h 264"/>
                <a:gd name="T72" fmla="*/ 40 w 70"/>
                <a:gd name="T73" fmla="*/ 167 h 264"/>
                <a:gd name="T74" fmla="*/ 37 w 70"/>
                <a:gd name="T75" fmla="*/ 168 h 264"/>
                <a:gd name="T76" fmla="*/ 70 w 70"/>
                <a:gd name="T77" fmla="*/ 182 h 264"/>
                <a:gd name="T78" fmla="*/ 64 w 70"/>
                <a:gd name="T79" fmla="*/ 223 h 264"/>
                <a:gd name="T80" fmla="*/ 46 w 70"/>
                <a:gd name="T81" fmla="*/ 202 h 264"/>
                <a:gd name="T82" fmla="*/ 70 w 70"/>
                <a:gd name="T83" fmla="*/ 196 h 264"/>
                <a:gd name="T84" fmla="*/ 15 w 70"/>
                <a:gd name="T85" fmla="*/ 202 h 264"/>
                <a:gd name="T86" fmla="*/ 40 w 70"/>
                <a:gd name="T87" fmla="*/ 215 h 264"/>
                <a:gd name="T88" fmla="*/ 14 w 70"/>
                <a:gd name="T89" fmla="*/ 239 h 264"/>
                <a:gd name="T90" fmla="*/ 43 w 70"/>
                <a:gd name="T91" fmla="*/ 264 h 264"/>
                <a:gd name="T92" fmla="*/ 70 w 70"/>
                <a:gd name="T93" fmla="*/ 240 h 264"/>
                <a:gd name="T94" fmla="*/ 59 w 70"/>
                <a:gd name="T95" fmla="*/ 253 h 264"/>
                <a:gd name="T96" fmla="*/ 26 w 70"/>
                <a:gd name="T97" fmla="*/ 253 h 264"/>
                <a:gd name="T98" fmla="*/ 26 w 70"/>
                <a:gd name="T99" fmla="*/ 226 h 264"/>
                <a:gd name="T100" fmla="*/ 59 w 70"/>
                <a:gd name="T101" fmla="*/ 226 h 264"/>
                <a:gd name="T102" fmla="*/ 59 w 70"/>
                <a:gd name="T103" fmla="*/ 25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264">
                  <a:moveTo>
                    <a:pt x="44" y="13"/>
                  </a:moveTo>
                  <a:cubicBezTo>
                    <a:pt x="35" y="11"/>
                    <a:pt x="27" y="8"/>
                    <a:pt x="21" y="4"/>
                  </a:cubicBezTo>
                  <a:cubicBezTo>
                    <a:pt x="21" y="0"/>
                    <a:pt x="21" y="0"/>
                    <a:pt x="21" y="0"/>
                  </a:cubicBezTo>
                  <a:cubicBezTo>
                    <a:pt x="0" y="0"/>
                    <a:pt x="0" y="0"/>
                    <a:pt x="0" y="0"/>
                  </a:cubicBezTo>
                  <a:cubicBezTo>
                    <a:pt x="0" y="6"/>
                    <a:pt x="0" y="6"/>
                    <a:pt x="0" y="6"/>
                  </a:cubicBezTo>
                  <a:cubicBezTo>
                    <a:pt x="15" y="6"/>
                    <a:pt x="15" y="6"/>
                    <a:pt x="15" y="6"/>
                  </a:cubicBezTo>
                  <a:cubicBezTo>
                    <a:pt x="15" y="45"/>
                    <a:pt x="15" y="45"/>
                    <a:pt x="15" y="45"/>
                  </a:cubicBezTo>
                  <a:cubicBezTo>
                    <a:pt x="0" y="45"/>
                    <a:pt x="0" y="45"/>
                    <a:pt x="0" y="45"/>
                  </a:cubicBezTo>
                  <a:cubicBezTo>
                    <a:pt x="0" y="51"/>
                    <a:pt x="0" y="51"/>
                    <a:pt x="0" y="51"/>
                  </a:cubicBezTo>
                  <a:cubicBezTo>
                    <a:pt x="21" y="51"/>
                    <a:pt x="21" y="51"/>
                    <a:pt x="21" y="51"/>
                  </a:cubicBezTo>
                  <a:cubicBezTo>
                    <a:pt x="21" y="43"/>
                    <a:pt x="21" y="43"/>
                    <a:pt x="21" y="43"/>
                  </a:cubicBezTo>
                  <a:cubicBezTo>
                    <a:pt x="70" y="43"/>
                    <a:pt x="70" y="43"/>
                    <a:pt x="70" y="43"/>
                  </a:cubicBezTo>
                  <a:cubicBezTo>
                    <a:pt x="70" y="18"/>
                    <a:pt x="70" y="18"/>
                    <a:pt x="70" y="18"/>
                  </a:cubicBezTo>
                  <a:cubicBezTo>
                    <a:pt x="62" y="17"/>
                    <a:pt x="53" y="16"/>
                    <a:pt x="44" y="13"/>
                  </a:cubicBezTo>
                  <a:close/>
                  <a:moveTo>
                    <a:pt x="64" y="37"/>
                  </a:moveTo>
                  <a:cubicBezTo>
                    <a:pt x="21" y="37"/>
                    <a:pt x="21" y="37"/>
                    <a:pt x="21" y="37"/>
                  </a:cubicBezTo>
                  <a:cubicBezTo>
                    <a:pt x="21" y="11"/>
                    <a:pt x="21" y="11"/>
                    <a:pt x="21" y="11"/>
                  </a:cubicBezTo>
                  <a:cubicBezTo>
                    <a:pt x="26" y="14"/>
                    <a:pt x="33" y="16"/>
                    <a:pt x="42" y="19"/>
                  </a:cubicBezTo>
                  <a:cubicBezTo>
                    <a:pt x="50" y="21"/>
                    <a:pt x="57" y="23"/>
                    <a:pt x="64" y="23"/>
                  </a:cubicBezTo>
                  <a:lnTo>
                    <a:pt x="64" y="37"/>
                  </a:lnTo>
                  <a:close/>
                  <a:moveTo>
                    <a:pt x="65" y="63"/>
                  </a:moveTo>
                  <a:cubicBezTo>
                    <a:pt x="63" y="60"/>
                    <a:pt x="59" y="59"/>
                    <a:pt x="54" y="59"/>
                  </a:cubicBezTo>
                  <a:cubicBezTo>
                    <a:pt x="51" y="59"/>
                    <a:pt x="47" y="60"/>
                    <a:pt x="45" y="62"/>
                  </a:cubicBezTo>
                  <a:cubicBezTo>
                    <a:pt x="42" y="64"/>
                    <a:pt x="41" y="66"/>
                    <a:pt x="40" y="70"/>
                  </a:cubicBezTo>
                  <a:cubicBezTo>
                    <a:pt x="40" y="70"/>
                    <a:pt x="40" y="70"/>
                    <a:pt x="40" y="70"/>
                  </a:cubicBezTo>
                  <a:cubicBezTo>
                    <a:pt x="39" y="69"/>
                    <a:pt x="38" y="67"/>
                    <a:pt x="37" y="66"/>
                  </a:cubicBezTo>
                  <a:cubicBezTo>
                    <a:pt x="36" y="65"/>
                    <a:pt x="34" y="64"/>
                    <a:pt x="33" y="64"/>
                  </a:cubicBezTo>
                  <a:cubicBezTo>
                    <a:pt x="15" y="55"/>
                    <a:pt x="15" y="55"/>
                    <a:pt x="15" y="55"/>
                  </a:cubicBezTo>
                  <a:cubicBezTo>
                    <a:pt x="15" y="63"/>
                    <a:pt x="15" y="63"/>
                    <a:pt x="15" y="63"/>
                  </a:cubicBezTo>
                  <a:cubicBezTo>
                    <a:pt x="31" y="70"/>
                    <a:pt x="31" y="70"/>
                    <a:pt x="31" y="70"/>
                  </a:cubicBezTo>
                  <a:cubicBezTo>
                    <a:pt x="34" y="71"/>
                    <a:pt x="36" y="72"/>
                    <a:pt x="37" y="74"/>
                  </a:cubicBezTo>
                  <a:cubicBezTo>
                    <a:pt x="38" y="75"/>
                    <a:pt x="38" y="76"/>
                    <a:pt x="38" y="78"/>
                  </a:cubicBezTo>
                  <a:cubicBezTo>
                    <a:pt x="38" y="86"/>
                    <a:pt x="38" y="86"/>
                    <a:pt x="38" y="86"/>
                  </a:cubicBezTo>
                  <a:cubicBezTo>
                    <a:pt x="15" y="86"/>
                    <a:pt x="15" y="86"/>
                    <a:pt x="15" y="86"/>
                  </a:cubicBezTo>
                  <a:cubicBezTo>
                    <a:pt x="15" y="92"/>
                    <a:pt x="15" y="92"/>
                    <a:pt x="15" y="92"/>
                  </a:cubicBezTo>
                  <a:cubicBezTo>
                    <a:pt x="70" y="92"/>
                    <a:pt x="70" y="92"/>
                    <a:pt x="70" y="92"/>
                  </a:cubicBezTo>
                  <a:cubicBezTo>
                    <a:pt x="70" y="76"/>
                    <a:pt x="70" y="76"/>
                    <a:pt x="70" y="76"/>
                  </a:cubicBezTo>
                  <a:cubicBezTo>
                    <a:pt x="70" y="71"/>
                    <a:pt x="68" y="67"/>
                    <a:pt x="65" y="63"/>
                  </a:cubicBezTo>
                  <a:close/>
                  <a:moveTo>
                    <a:pt x="64" y="86"/>
                  </a:moveTo>
                  <a:cubicBezTo>
                    <a:pt x="44" y="86"/>
                    <a:pt x="44" y="86"/>
                    <a:pt x="44" y="86"/>
                  </a:cubicBezTo>
                  <a:cubicBezTo>
                    <a:pt x="44" y="77"/>
                    <a:pt x="44" y="77"/>
                    <a:pt x="44" y="77"/>
                  </a:cubicBezTo>
                  <a:cubicBezTo>
                    <a:pt x="44" y="73"/>
                    <a:pt x="45" y="70"/>
                    <a:pt x="47" y="68"/>
                  </a:cubicBezTo>
                  <a:cubicBezTo>
                    <a:pt x="48" y="66"/>
                    <a:pt x="51" y="65"/>
                    <a:pt x="54" y="65"/>
                  </a:cubicBezTo>
                  <a:cubicBezTo>
                    <a:pt x="57" y="65"/>
                    <a:pt x="59" y="66"/>
                    <a:pt x="61" y="68"/>
                  </a:cubicBezTo>
                  <a:cubicBezTo>
                    <a:pt x="63" y="70"/>
                    <a:pt x="64" y="73"/>
                    <a:pt x="64" y="77"/>
                  </a:cubicBezTo>
                  <a:lnTo>
                    <a:pt x="64" y="86"/>
                  </a:lnTo>
                  <a:close/>
                  <a:moveTo>
                    <a:pt x="15" y="144"/>
                  </a:moveTo>
                  <a:cubicBezTo>
                    <a:pt x="15" y="135"/>
                    <a:pt x="15" y="135"/>
                    <a:pt x="15" y="135"/>
                  </a:cubicBezTo>
                  <a:cubicBezTo>
                    <a:pt x="40" y="114"/>
                    <a:pt x="40" y="114"/>
                    <a:pt x="40" y="114"/>
                  </a:cubicBezTo>
                  <a:cubicBezTo>
                    <a:pt x="41" y="114"/>
                    <a:pt x="42" y="113"/>
                    <a:pt x="42" y="113"/>
                  </a:cubicBezTo>
                  <a:cubicBezTo>
                    <a:pt x="42" y="113"/>
                    <a:pt x="42" y="113"/>
                    <a:pt x="42" y="113"/>
                  </a:cubicBezTo>
                  <a:cubicBezTo>
                    <a:pt x="15" y="113"/>
                    <a:pt x="15" y="113"/>
                    <a:pt x="15" y="113"/>
                  </a:cubicBezTo>
                  <a:cubicBezTo>
                    <a:pt x="15" y="106"/>
                    <a:pt x="15" y="106"/>
                    <a:pt x="15" y="106"/>
                  </a:cubicBezTo>
                  <a:cubicBezTo>
                    <a:pt x="70" y="106"/>
                    <a:pt x="70" y="106"/>
                    <a:pt x="70" y="106"/>
                  </a:cubicBezTo>
                  <a:cubicBezTo>
                    <a:pt x="70" y="113"/>
                    <a:pt x="70" y="113"/>
                    <a:pt x="70" y="113"/>
                  </a:cubicBezTo>
                  <a:cubicBezTo>
                    <a:pt x="44" y="113"/>
                    <a:pt x="44" y="113"/>
                    <a:pt x="44" y="113"/>
                  </a:cubicBezTo>
                  <a:cubicBezTo>
                    <a:pt x="44" y="113"/>
                    <a:pt x="44" y="113"/>
                    <a:pt x="44" y="113"/>
                  </a:cubicBezTo>
                  <a:cubicBezTo>
                    <a:pt x="44" y="113"/>
                    <a:pt x="45" y="114"/>
                    <a:pt x="46" y="114"/>
                  </a:cubicBezTo>
                  <a:cubicBezTo>
                    <a:pt x="70" y="135"/>
                    <a:pt x="70" y="135"/>
                    <a:pt x="70" y="135"/>
                  </a:cubicBezTo>
                  <a:cubicBezTo>
                    <a:pt x="70" y="143"/>
                    <a:pt x="70" y="143"/>
                    <a:pt x="70" y="143"/>
                  </a:cubicBezTo>
                  <a:cubicBezTo>
                    <a:pt x="43" y="119"/>
                    <a:pt x="43" y="119"/>
                    <a:pt x="43" y="119"/>
                  </a:cubicBezTo>
                  <a:lnTo>
                    <a:pt x="15" y="144"/>
                  </a:lnTo>
                  <a:close/>
                  <a:moveTo>
                    <a:pt x="70" y="189"/>
                  </a:moveTo>
                  <a:cubicBezTo>
                    <a:pt x="31" y="172"/>
                    <a:pt x="31" y="172"/>
                    <a:pt x="31" y="172"/>
                  </a:cubicBezTo>
                  <a:cubicBezTo>
                    <a:pt x="25" y="169"/>
                    <a:pt x="20" y="166"/>
                    <a:pt x="18" y="163"/>
                  </a:cubicBezTo>
                  <a:cubicBezTo>
                    <a:pt x="15" y="161"/>
                    <a:pt x="14" y="158"/>
                    <a:pt x="14" y="154"/>
                  </a:cubicBezTo>
                  <a:cubicBezTo>
                    <a:pt x="14" y="152"/>
                    <a:pt x="14" y="149"/>
                    <a:pt x="15" y="147"/>
                  </a:cubicBezTo>
                  <a:cubicBezTo>
                    <a:pt x="22" y="147"/>
                    <a:pt x="22" y="147"/>
                    <a:pt x="22" y="147"/>
                  </a:cubicBezTo>
                  <a:cubicBezTo>
                    <a:pt x="20" y="150"/>
                    <a:pt x="20" y="152"/>
                    <a:pt x="20" y="154"/>
                  </a:cubicBezTo>
                  <a:cubicBezTo>
                    <a:pt x="20" y="156"/>
                    <a:pt x="21" y="158"/>
                    <a:pt x="22" y="159"/>
                  </a:cubicBezTo>
                  <a:cubicBezTo>
                    <a:pt x="24" y="161"/>
                    <a:pt x="27" y="163"/>
                    <a:pt x="31" y="165"/>
                  </a:cubicBezTo>
                  <a:cubicBezTo>
                    <a:pt x="70" y="147"/>
                    <a:pt x="70" y="147"/>
                    <a:pt x="70" y="147"/>
                  </a:cubicBezTo>
                  <a:cubicBezTo>
                    <a:pt x="70" y="154"/>
                    <a:pt x="70" y="154"/>
                    <a:pt x="70" y="154"/>
                  </a:cubicBezTo>
                  <a:cubicBezTo>
                    <a:pt x="40" y="167"/>
                    <a:pt x="40" y="167"/>
                    <a:pt x="40" y="167"/>
                  </a:cubicBezTo>
                  <a:cubicBezTo>
                    <a:pt x="40" y="167"/>
                    <a:pt x="39" y="168"/>
                    <a:pt x="37" y="168"/>
                  </a:cubicBezTo>
                  <a:cubicBezTo>
                    <a:pt x="37" y="168"/>
                    <a:pt x="37" y="168"/>
                    <a:pt x="37" y="168"/>
                  </a:cubicBezTo>
                  <a:cubicBezTo>
                    <a:pt x="37" y="168"/>
                    <a:pt x="38" y="169"/>
                    <a:pt x="41" y="170"/>
                  </a:cubicBezTo>
                  <a:cubicBezTo>
                    <a:pt x="70" y="182"/>
                    <a:pt x="70" y="182"/>
                    <a:pt x="70" y="182"/>
                  </a:cubicBezTo>
                  <a:lnTo>
                    <a:pt x="70" y="189"/>
                  </a:lnTo>
                  <a:close/>
                  <a:moveTo>
                    <a:pt x="64" y="223"/>
                  </a:moveTo>
                  <a:cubicBezTo>
                    <a:pt x="60" y="218"/>
                    <a:pt x="54" y="216"/>
                    <a:pt x="46" y="215"/>
                  </a:cubicBezTo>
                  <a:cubicBezTo>
                    <a:pt x="46" y="202"/>
                    <a:pt x="46" y="202"/>
                    <a:pt x="46" y="202"/>
                  </a:cubicBezTo>
                  <a:cubicBezTo>
                    <a:pt x="70" y="202"/>
                    <a:pt x="70" y="202"/>
                    <a:pt x="70" y="202"/>
                  </a:cubicBezTo>
                  <a:cubicBezTo>
                    <a:pt x="70" y="196"/>
                    <a:pt x="70" y="196"/>
                    <a:pt x="70" y="196"/>
                  </a:cubicBezTo>
                  <a:cubicBezTo>
                    <a:pt x="15" y="196"/>
                    <a:pt x="15" y="196"/>
                    <a:pt x="15" y="196"/>
                  </a:cubicBezTo>
                  <a:cubicBezTo>
                    <a:pt x="15" y="202"/>
                    <a:pt x="15" y="202"/>
                    <a:pt x="15" y="202"/>
                  </a:cubicBezTo>
                  <a:cubicBezTo>
                    <a:pt x="40" y="202"/>
                    <a:pt x="40" y="202"/>
                    <a:pt x="40" y="202"/>
                  </a:cubicBezTo>
                  <a:cubicBezTo>
                    <a:pt x="40" y="215"/>
                    <a:pt x="40" y="215"/>
                    <a:pt x="40" y="215"/>
                  </a:cubicBezTo>
                  <a:cubicBezTo>
                    <a:pt x="33" y="215"/>
                    <a:pt x="26" y="217"/>
                    <a:pt x="21" y="222"/>
                  </a:cubicBezTo>
                  <a:cubicBezTo>
                    <a:pt x="17" y="226"/>
                    <a:pt x="14" y="232"/>
                    <a:pt x="14" y="239"/>
                  </a:cubicBezTo>
                  <a:cubicBezTo>
                    <a:pt x="14" y="247"/>
                    <a:pt x="17" y="253"/>
                    <a:pt x="22" y="257"/>
                  </a:cubicBezTo>
                  <a:cubicBezTo>
                    <a:pt x="27" y="262"/>
                    <a:pt x="34" y="264"/>
                    <a:pt x="43" y="264"/>
                  </a:cubicBezTo>
                  <a:cubicBezTo>
                    <a:pt x="51" y="264"/>
                    <a:pt x="58" y="262"/>
                    <a:pt x="63" y="258"/>
                  </a:cubicBezTo>
                  <a:cubicBezTo>
                    <a:pt x="68" y="253"/>
                    <a:pt x="70" y="247"/>
                    <a:pt x="70" y="240"/>
                  </a:cubicBezTo>
                  <a:cubicBezTo>
                    <a:pt x="70" y="233"/>
                    <a:pt x="68" y="227"/>
                    <a:pt x="64" y="223"/>
                  </a:cubicBezTo>
                  <a:close/>
                  <a:moveTo>
                    <a:pt x="59" y="253"/>
                  </a:moveTo>
                  <a:cubicBezTo>
                    <a:pt x="55" y="256"/>
                    <a:pt x="49" y="257"/>
                    <a:pt x="42" y="257"/>
                  </a:cubicBezTo>
                  <a:cubicBezTo>
                    <a:pt x="35" y="257"/>
                    <a:pt x="30" y="256"/>
                    <a:pt x="26" y="253"/>
                  </a:cubicBezTo>
                  <a:cubicBezTo>
                    <a:pt x="22" y="249"/>
                    <a:pt x="20" y="245"/>
                    <a:pt x="20" y="239"/>
                  </a:cubicBezTo>
                  <a:cubicBezTo>
                    <a:pt x="20" y="233"/>
                    <a:pt x="22" y="229"/>
                    <a:pt x="26" y="226"/>
                  </a:cubicBezTo>
                  <a:cubicBezTo>
                    <a:pt x="30" y="223"/>
                    <a:pt x="35" y="221"/>
                    <a:pt x="42" y="221"/>
                  </a:cubicBezTo>
                  <a:cubicBezTo>
                    <a:pt x="49" y="221"/>
                    <a:pt x="55" y="223"/>
                    <a:pt x="59" y="226"/>
                  </a:cubicBezTo>
                  <a:cubicBezTo>
                    <a:pt x="63" y="229"/>
                    <a:pt x="65" y="234"/>
                    <a:pt x="65" y="240"/>
                  </a:cubicBezTo>
                  <a:cubicBezTo>
                    <a:pt x="65" y="245"/>
                    <a:pt x="63" y="250"/>
                    <a:pt x="59" y="253"/>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2" name="Freeform 243">
              <a:extLst>
                <a:ext uri="{FF2B5EF4-FFF2-40B4-BE49-F238E27FC236}">
                  <a16:creationId xmlns:a16="http://schemas.microsoft.com/office/drawing/2014/main" id="{45E14718-0ECC-E921-8107-6DDAED7FFBEE}"/>
                </a:ext>
                <a:ext uri="{C183D7F6-B498-43B3-948B-1728B52AA6E4}">
                  <adec:decorative xmlns:adec="http://schemas.microsoft.com/office/drawing/2017/decorative" val="1"/>
                </a:ext>
              </a:extLst>
            </p:cNvPr>
            <p:cNvSpPr>
              <a:spLocks noEditPoints="1"/>
            </p:cNvSpPr>
            <p:nvPr/>
          </p:nvSpPr>
          <p:spPr bwMode="auto">
            <a:xfrm>
              <a:off x="1989316" y="3715352"/>
              <a:ext cx="1077609" cy="222200"/>
            </a:xfrm>
            <a:custGeom>
              <a:avLst/>
              <a:gdLst>
                <a:gd name="T0" fmla="*/ 0 w 355"/>
                <a:gd name="T1" fmla="*/ 56 h 73"/>
                <a:gd name="T2" fmla="*/ 50 w 355"/>
                <a:gd name="T3" fmla="*/ 27 h 73"/>
                <a:gd name="T4" fmla="*/ 19 w 355"/>
                <a:gd name="T5" fmla="*/ 46 h 73"/>
                <a:gd name="T6" fmla="*/ 19 w 355"/>
                <a:gd name="T7" fmla="*/ 10 h 73"/>
                <a:gd name="T8" fmla="*/ 32 w 355"/>
                <a:gd name="T9" fmla="*/ 41 h 73"/>
                <a:gd name="T10" fmla="*/ 53 w 355"/>
                <a:gd name="T11" fmla="*/ 49 h 73"/>
                <a:gd name="T12" fmla="*/ 55 w 355"/>
                <a:gd name="T13" fmla="*/ 0 h 73"/>
                <a:gd name="T14" fmla="*/ 70 w 355"/>
                <a:gd name="T15" fmla="*/ 46 h 73"/>
                <a:gd name="T16" fmla="*/ 120 w 355"/>
                <a:gd name="T17" fmla="*/ 56 h 73"/>
                <a:gd name="T18" fmla="*/ 120 w 355"/>
                <a:gd name="T19" fmla="*/ 0 h 73"/>
                <a:gd name="T20" fmla="*/ 133 w 355"/>
                <a:gd name="T21" fmla="*/ 56 h 73"/>
                <a:gd name="T22" fmla="*/ 165 w 355"/>
                <a:gd name="T23" fmla="*/ 10 h 73"/>
                <a:gd name="T24" fmla="*/ 164 w 355"/>
                <a:gd name="T25" fmla="*/ 23 h 73"/>
                <a:gd name="T26" fmla="*/ 145 w 355"/>
                <a:gd name="T27" fmla="*/ 46 h 73"/>
                <a:gd name="T28" fmla="*/ 162 w 355"/>
                <a:gd name="T29" fmla="*/ 72 h 73"/>
                <a:gd name="T30" fmla="*/ 152 w 355"/>
                <a:gd name="T31" fmla="*/ 71 h 73"/>
                <a:gd name="T32" fmla="*/ 152 w 355"/>
                <a:gd name="T33" fmla="*/ 61 h 73"/>
                <a:gd name="T34" fmla="*/ 163 w 355"/>
                <a:gd name="T35" fmla="*/ 56 h 73"/>
                <a:gd name="T36" fmla="*/ 157 w 355"/>
                <a:gd name="T37" fmla="*/ 67 h 73"/>
                <a:gd name="T38" fmla="*/ 162 w 355"/>
                <a:gd name="T39" fmla="*/ 67 h 73"/>
                <a:gd name="T40" fmla="*/ 206 w 355"/>
                <a:gd name="T41" fmla="*/ 56 h 73"/>
                <a:gd name="T42" fmla="*/ 188 w 355"/>
                <a:gd name="T43" fmla="*/ 29 h 73"/>
                <a:gd name="T44" fmla="*/ 176 w 355"/>
                <a:gd name="T45" fmla="*/ 0 h 73"/>
                <a:gd name="T46" fmla="*/ 189 w 355"/>
                <a:gd name="T47" fmla="*/ 27 h 73"/>
                <a:gd name="T48" fmla="*/ 221 w 355"/>
                <a:gd name="T49" fmla="*/ 0 h 73"/>
                <a:gd name="T50" fmla="*/ 274 w 355"/>
                <a:gd name="T51" fmla="*/ 32 h 73"/>
                <a:gd name="T52" fmla="*/ 227 w 355"/>
                <a:gd name="T53" fmla="*/ 0 h 73"/>
                <a:gd name="T54" fmla="*/ 251 w 355"/>
                <a:gd name="T55" fmla="*/ 46 h 73"/>
                <a:gd name="T56" fmla="*/ 274 w 355"/>
                <a:gd name="T57" fmla="*/ 0 h 73"/>
                <a:gd name="T58" fmla="*/ 303 w 355"/>
                <a:gd name="T59" fmla="*/ 51 h 73"/>
                <a:gd name="T60" fmla="*/ 280 w 355"/>
                <a:gd name="T61" fmla="*/ 44 h 73"/>
                <a:gd name="T62" fmla="*/ 296 w 355"/>
                <a:gd name="T63" fmla="*/ 0 h 73"/>
                <a:gd name="T64" fmla="*/ 355 w 355"/>
                <a:gd name="T65" fmla="*/ 56 h 73"/>
                <a:gd name="T66" fmla="*/ 354 w 355"/>
                <a:gd name="T67" fmla="*/ 0 h 73"/>
                <a:gd name="T68" fmla="*/ 334 w 355"/>
                <a:gd name="T69" fmla="*/ 23 h 73"/>
                <a:gd name="T70" fmla="*/ 334 w 355"/>
                <a:gd name="T71" fmla="*/ 33 h 73"/>
                <a:gd name="T72" fmla="*/ 355 w 355"/>
                <a:gd name="T73" fmla="*/ 56 h 73"/>
                <a:gd name="T74" fmla="*/ 346 w 355"/>
                <a:gd name="T75" fmla="*/ 73 h 73"/>
                <a:gd name="T76" fmla="*/ 339 w 355"/>
                <a:gd name="T77" fmla="*/ 64 h 73"/>
                <a:gd name="T78" fmla="*/ 345 w 355"/>
                <a:gd name="T79" fmla="*/ 56 h 73"/>
                <a:gd name="T80" fmla="*/ 345 w 355"/>
                <a:gd name="T81" fmla="*/ 65 h 73"/>
                <a:gd name="T82" fmla="*/ 349 w 355"/>
                <a:gd name="T83"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 h="73">
                  <a:moveTo>
                    <a:pt x="20" y="0"/>
                  </a:moveTo>
                  <a:cubicBezTo>
                    <a:pt x="0" y="0"/>
                    <a:pt x="0" y="0"/>
                    <a:pt x="0" y="0"/>
                  </a:cubicBezTo>
                  <a:cubicBezTo>
                    <a:pt x="0" y="56"/>
                    <a:pt x="0" y="56"/>
                    <a:pt x="0" y="56"/>
                  </a:cubicBezTo>
                  <a:cubicBezTo>
                    <a:pt x="20" y="56"/>
                    <a:pt x="20" y="56"/>
                    <a:pt x="20" y="56"/>
                  </a:cubicBezTo>
                  <a:cubicBezTo>
                    <a:pt x="29" y="56"/>
                    <a:pt x="36" y="54"/>
                    <a:pt x="42" y="48"/>
                  </a:cubicBezTo>
                  <a:cubicBezTo>
                    <a:pt x="47" y="43"/>
                    <a:pt x="50" y="36"/>
                    <a:pt x="50" y="27"/>
                  </a:cubicBezTo>
                  <a:cubicBezTo>
                    <a:pt x="50" y="9"/>
                    <a:pt x="40" y="0"/>
                    <a:pt x="20" y="0"/>
                  </a:cubicBezTo>
                  <a:close/>
                  <a:moveTo>
                    <a:pt x="32" y="41"/>
                  </a:moveTo>
                  <a:cubicBezTo>
                    <a:pt x="29" y="44"/>
                    <a:pt x="25" y="46"/>
                    <a:pt x="19" y="46"/>
                  </a:cubicBezTo>
                  <a:cubicBezTo>
                    <a:pt x="13" y="46"/>
                    <a:pt x="13" y="46"/>
                    <a:pt x="13" y="46"/>
                  </a:cubicBezTo>
                  <a:cubicBezTo>
                    <a:pt x="13" y="10"/>
                    <a:pt x="13" y="10"/>
                    <a:pt x="13" y="10"/>
                  </a:cubicBezTo>
                  <a:cubicBezTo>
                    <a:pt x="19" y="10"/>
                    <a:pt x="19" y="10"/>
                    <a:pt x="19" y="10"/>
                  </a:cubicBezTo>
                  <a:cubicBezTo>
                    <a:pt x="25" y="10"/>
                    <a:pt x="29" y="12"/>
                    <a:pt x="32" y="15"/>
                  </a:cubicBezTo>
                  <a:cubicBezTo>
                    <a:pt x="35" y="18"/>
                    <a:pt x="37" y="22"/>
                    <a:pt x="37" y="28"/>
                  </a:cubicBezTo>
                  <a:cubicBezTo>
                    <a:pt x="37" y="33"/>
                    <a:pt x="35" y="38"/>
                    <a:pt x="32" y="41"/>
                  </a:cubicBezTo>
                  <a:close/>
                  <a:moveTo>
                    <a:pt x="99" y="56"/>
                  </a:moveTo>
                  <a:cubicBezTo>
                    <a:pt x="53" y="56"/>
                    <a:pt x="53" y="56"/>
                    <a:pt x="53" y="56"/>
                  </a:cubicBezTo>
                  <a:cubicBezTo>
                    <a:pt x="53" y="49"/>
                    <a:pt x="53" y="49"/>
                    <a:pt x="53" y="49"/>
                  </a:cubicBezTo>
                  <a:cubicBezTo>
                    <a:pt x="82" y="10"/>
                    <a:pt x="82" y="10"/>
                    <a:pt x="82" y="10"/>
                  </a:cubicBezTo>
                  <a:cubicBezTo>
                    <a:pt x="55" y="10"/>
                    <a:pt x="55" y="10"/>
                    <a:pt x="55" y="10"/>
                  </a:cubicBezTo>
                  <a:cubicBezTo>
                    <a:pt x="55" y="0"/>
                    <a:pt x="55" y="0"/>
                    <a:pt x="55" y="0"/>
                  </a:cubicBezTo>
                  <a:cubicBezTo>
                    <a:pt x="99" y="0"/>
                    <a:pt x="99" y="0"/>
                    <a:pt x="99" y="0"/>
                  </a:cubicBezTo>
                  <a:cubicBezTo>
                    <a:pt x="99" y="7"/>
                    <a:pt x="99" y="7"/>
                    <a:pt x="99" y="7"/>
                  </a:cubicBezTo>
                  <a:cubicBezTo>
                    <a:pt x="70" y="46"/>
                    <a:pt x="70" y="46"/>
                    <a:pt x="70" y="46"/>
                  </a:cubicBezTo>
                  <a:cubicBezTo>
                    <a:pt x="99" y="46"/>
                    <a:pt x="99" y="46"/>
                    <a:pt x="99" y="46"/>
                  </a:cubicBezTo>
                  <a:lnTo>
                    <a:pt x="99" y="56"/>
                  </a:lnTo>
                  <a:close/>
                  <a:moveTo>
                    <a:pt x="120" y="56"/>
                  </a:moveTo>
                  <a:cubicBezTo>
                    <a:pt x="107" y="56"/>
                    <a:pt x="107" y="56"/>
                    <a:pt x="107" y="56"/>
                  </a:cubicBezTo>
                  <a:cubicBezTo>
                    <a:pt x="107" y="0"/>
                    <a:pt x="107" y="0"/>
                    <a:pt x="107" y="0"/>
                  </a:cubicBezTo>
                  <a:cubicBezTo>
                    <a:pt x="120" y="0"/>
                    <a:pt x="120" y="0"/>
                    <a:pt x="120" y="0"/>
                  </a:cubicBezTo>
                  <a:lnTo>
                    <a:pt x="120" y="56"/>
                  </a:lnTo>
                  <a:close/>
                  <a:moveTo>
                    <a:pt x="166" y="56"/>
                  </a:moveTo>
                  <a:cubicBezTo>
                    <a:pt x="133" y="56"/>
                    <a:pt x="133" y="56"/>
                    <a:pt x="133" y="56"/>
                  </a:cubicBezTo>
                  <a:cubicBezTo>
                    <a:pt x="133" y="0"/>
                    <a:pt x="133" y="0"/>
                    <a:pt x="133" y="0"/>
                  </a:cubicBezTo>
                  <a:cubicBezTo>
                    <a:pt x="165" y="0"/>
                    <a:pt x="165" y="0"/>
                    <a:pt x="165" y="0"/>
                  </a:cubicBezTo>
                  <a:cubicBezTo>
                    <a:pt x="165" y="10"/>
                    <a:pt x="165" y="10"/>
                    <a:pt x="165" y="10"/>
                  </a:cubicBezTo>
                  <a:cubicBezTo>
                    <a:pt x="145" y="10"/>
                    <a:pt x="145" y="10"/>
                    <a:pt x="145" y="10"/>
                  </a:cubicBezTo>
                  <a:cubicBezTo>
                    <a:pt x="145" y="23"/>
                    <a:pt x="145" y="23"/>
                    <a:pt x="145" y="23"/>
                  </a:cubicBezTo>
                  <a:cubicBezTo>
                    <a:pt x="164" y="23"/>
                    <a:pt x="164" y="23"/>
                    <a:pt x="164" y="23"/>
                  </a:cubicBezTo>
                  <a:cubicBezTo>
                    <a:pt x="164" y="33"/>
                    <a:pt x="164" y="33"/>
                    <a:pt x="164" y="33"/>
                  </a:cubicBezTo>
                  <a:cubicBezTo>
                    <a:pt x="145" y="33"/>
                    <a:pt x="145" y="33"/>
                    <a:pt x="145" y="33"/>
                  </a:cubicBezTo>
                  <a:cubicBezTo>
                    <a:pt x="145" y="46"/>
                    <a:pt x="145" y="46"/>
                    <a:pt x="145" y="46"/>
                  </a:cubicBezTo>
                  <a:cubicBezTo>
                    <a:pt x="166" y="46"/>
                    <a:pt x="166" y="46"/>
                    <a:pt x="166" y="46"/>
                  </a:cubicBezTo>
                  <a:lnTo>
                    <a:pt x="166" y="56"/>
                  </a:lnTo>
                  <a:close/>
                  <a:moveTo>
                    <a:pt x="162" y="72"/>
                  </a:moveTo>
                  <a:cubicBezTo>
                    <a:pt x="162" y="72"/>
                    <a:pt x="161" y="73"/>
                    <a:pt x="160" y="73"/>
                  </a:cubicBezTo>
                  <a:cubicBezTo>
                    <a:pt x="159" y="73"/>
                    <a:pt x="158" y="73"/>
                    <a:pt x="157" y="73"/>
                  </a:cubicBezTo>
                  <a:cubicBezTo>
                    <a:pt x="155" y="73"/>
                    <a:pt x="153" y="72"/>
                    <a:pt x="152" y="71"/>
                  </a:cubicBezTo>
                  <a:cubicBezTo>
                    <a:pt x="151" y="70"/>
                    <a:pt x="150" y="68"/>
                    <a:pt x="150" y="66"/>
                  </a:cubicBezTo>
                  <a:cubicBezTo>
                    <a:pt x="150" y="65"/>
                    <a:pt x="150" y="64"/>
                    <a:pt x="150" y="64"/>
                  </a:cubicBezTo>
                  <a:cubicBezTo>
                    <a:pt x="151" y="63"/>
                    <a:pt x="151" y="62"/>
                    <a:pt x="152" y="61"/>
                  </a:cubicBezTo>
                  <a:cubicBezTo>
                    <a:pt x="152" y="60"/>
                    <a:pt x="153" y="59"/>
                    <a:pt x="154" y="58"/>
                  </a:cubicBezTo>
                  <a:cubicBezTo>
                    <a:pt x="155" y="58"/>
                    <a:pt x="156" y="57"/>
                    <a:pt x="157" y="56"/>
                  </a:cubicBezTo>
                  <a:cubicBezTo>
                    <a:pt x="163" y="56"/>
                    <a:pt x="163" y="56"/>
                    <a:pt x="163" y="56"/>
                  </a:cubicBezTo>
                  <a:cubicBezTo>
                    <a:pt x="161" y="58"/>
                    <a:pt x="159" y="59"/>
                    <a:pt x="158" y="61"/>
                  </a:cubicBezTo>
                  <a:cubicBezTo>
                    <a:pt x="157" y="62"/>
                    <a:pt x="157" y="63"/>
                    <a:pt x="157" y="65"/>
                  </a:cubicBezTo>
                  <a:cubicBezTo>
                    <a:pt x="157" y="65"/>
                    <a:pt x="157" y="66"/>
                    <a:pt x="157" y="67"/>
                  </a:cubicBezTo>
                  <a:cubicBezTo>
                    <a:pt x="158" y="67"/>
                    <a:pt x="158" y="67"/>
                    <a:pt x="159" y="67"/>
                  </a:cubicBezTo>
                  <a:cubicBezTo>
                    <a:pt x="160" y="67"/>
                    <a:pt x="160" y="67"/>
                    <a:pt x="161" y="67"/>
                  </a:cubicBezTo>
                  <a:cubicBezTo>
                    <a:pt x="161" y="67"/>
                    <a:pt x="162" y="67"/>
                    <a:pt x="162" y="67"/>
                  </a:cubicBezTo>
                  <a:lnTo>
                    <a:pt x="162" y="72"/>
                  </a:lnTo>
                  <a:close/>
                  <a:moveTo>
                    <a:pt x="223" y="56"/>
                  </a:moveTo>
                  <a:cubicBezTo>
                    <a:pt x="206" y="56"/>
                    <a:pt x="206" y="56"/>
                    <a:pt x="206" y="56"/>
                  </a:cubicBezTo>
                  <a:cubicBezTo>
                    <a:pt x="190" y="32"/>
                    <a:pt x="190" y="32"/>
                    <a:pt x="190" y="32"/>
                  </a:cubicBezTo>
                  <a:cubicBezTo>
                    <a:pt x="190" y="31"/>
                    <a:pt x="189" y="30"/>
                    <a:pt x="189" y="29"/>
                  </a:cubicBezTo>
                  <a:cubicBezTo>
                    <a:pt x="188" y="29"/>
                    <a:pt x="188" y="29"/>
                    <a:pt x="188" y="29"/>
                  </a:cubicBezTo>
                  <a:cubicBezTo>
                    <a:pt x="188" y="56"/>
                    <a:pt x="188" y="56"/>
                    <a:pt x="188" y="56"/>
                  </a:cubicBezTo>
                  <a:cubicBezTo>
                    <a:pt x="176" y="56"/>
                    <a:pt x="176" y="56"/>
                    <a:pt x="176" y="56"/>
                  </a:cubicBezTo>
                  <a:cubicBezTo>
                    <a:pt x="176" y="0"/>
                    <a:pt x="176" y="0"/>
                    <a:pt x="176" y="0"/>
                  </a:cubicBezTo>
                  <a:cubicBezTo>
                    <a:pt x="188" y="0"/>
                    <a:pt x="188" y="0"/>
                    <a:pt x="188" y="0"/>
                  </a:cubicBezTo>
                  <a:cubicBezTo>
                    <a:pt x="188" y="27"/>
                    <a:pt x="188" y="27"/>
                    <a:pt x="188" y="27"/>
                  </a:cubicBezTo>
                  <a:cubicBezTo>
                    <a:pt x="189" y="27"/>
                    <a:pt x="189" y="27"/>
                    <a:pt x="189" y="27"/>
                  </a:cubicBezTo>
                  <a:cubicBezTo>
                    <a:pt x="189" y="26"/>
                    <a:pt x="189" y="25"/>
                    <a:pt x="190" y="23"/>
                  </a:cubicBezTo>
                  <a:cubicBezTo>
                    <a:pt x="206" y="0"/>
                    <a:pt x="206" y="0"/>
                    <a:pt x="206" y="0"/>
                  </a:cubicBezTo>
                  <a:cubicBezTo>
                    <a:pt x="221" y="0"/>
                    <a:pt x="221" y="0"/>
                    <a:pt x="221" y="0"/>
                  </a:cubicBezTo>
                  <a:cubicBezTo>
                    <a:pt x="201" y="27"/>
                    <a:pt x="201" y="27"/>
                    <a:pt x="201" y="27"/>
                  </a:cubicBezTo>
                  <a:lnTo>
                    <a:pt x="223" y="56"/>
                  </a:lnTo>
                  <a:close/>
                  <a:moveTo>
                    <a:pt x="274" y="32"/>
                  </a:moveTo>
                  <a:cubicBezTo>
                    <a:pt x="274" y="49"/>
                    <a:pt x="266" y="57"/>
                    <a:pt x="250" y="57"/>
                  </a:cubicBezTo>
                  <a:cubicBezTo>
                    <a:pt x="235" y="57"/>
                    <a:pt x="227" y="49"/>
                    <a:pt x="227" y="32"/>
                  </a:cubicBezTo>
                  <a:cubicBezTo>
                    <a:pt x="227" y="0"/>
                    <a:pt x="227" y="0"/>
                    <a:pt x="227" y="0"/>
                  </a:cubicBezTo>
                  <a:cubicBezTo>
                    <a:pt x="240" y="0"/>
                    <a:pt x="240" y="0"/>
                    <a:pt x="240" y="0"/>
                  </a:cubicBezTo>
                  <a:cubicBezTo>
                    <a:pt x="240" y="33"/>
                    <a:pt x="240" y="33"/>
                    <a:pt x="240" y="33"/>
                  </a:cubicBezTo>
                  <a:cubicBezTo>
                    <a:pt x="240" y="42"/>
                    <a:pt x="244" y="46"/>
                    <a:pt x="251" y="46"/>
                  </a:cubicBezTo>
                  <a:cubicBezTo>
                    <a:pt x="258" y="46"/>
                    <a:pt x="261" y="42"/>
                    <a:pt x="261" y="33"/>
                  </a:cubicBezTo>
                  <a:cubicBezTo>
                    <a:pt x="261" y="0"/>
                    <a:pt x="261" y="0"/>
                    <a:pt x="261" y="0"/>
                  </a:cubicBezTo>
                  <a:cubicBezTo>
                    <a:pt x="274" y="0"/>
                    <a:pt x="274" y="0"/>
                    <a:pt x="274" y="0"/>
                  </a:cubicBezTo>
                  <a:lnTo>
                    <a:pt x="274" y="32"/>
                  </a:lnTo>
                  <a:close/>
                  <a:moveTo>
                    <a:pt x="309" y="34"/>
                  </a:moveTo>
                  <a:cubicBezTo>
                    <a:pt x="309" y="42"/>
                    <a:pt x="307" y="47"/>
                    <a:pt x="303" y="51"/>
                  </a:cubicBezTo>
                  <a:cubicBezTo>
                    <a:pt x="300" y="55"/>
                    <a:pt x="295" y="57"/>
                    <a:pt x="288" y="57"/>
                  </a:cubicBezTo>
                  <a:cubicBezTo>
                    <a:pt x="285" y="57"/>
                    <a:pt x="282" y="57"/>
                    <a:pt x="280" y="56"/>
                  </a:cubicBezTo>
                  <a:cubicBezTo>
                    <a:pt x="280" y="44"/>
                    <a:pt x="280" y="44"/>
                    <a:pt x="280" y="44"/>
                  </a:cubicBezTo>
                  <a:cubicBezTo>
                    <a:pt x="282" y="46"/>
                    <a:pt x="284" y="46"/>
                    <a:pt x="287" y="46"/>
                  </a:cubicBezTo>
                  <a:cubicBezTo>
                    <a:pt x="293" y="46"/>
                    <a:pt x="296" y="42"/>
                    <a:pt x="296" y="33"/>
                  </a:cubicBezTo>
                  <a:cubicBezTo>
                    <a:pt x="296" y="0"/>
                    <a:pt x="296" y="0"/>
                    <a:pt x="296" y="0"/>
                  </a:cubicBezTo>
                  <a:cubicBezTo>
                    <a:pt x="309" y="0"/>
                    <a:pt x="309" y="0"/>
                    <a:pt x="309" y="0"/>
                  </a:cubicBezTo>
                  <a:lnTo>
                    <a:pt x="309" y="34"/>
                  </a:lnTo>
                  <a:close/>
                  <a:moveTo>
                    <a:pt x="355" y="56"/>
                  </a:moveTo>
                  <a:cubicBezTo>
                    <a:pt x="321" y="56"/>
                    <a:pt x="321" y="56"/>
                    <a:pt x="321" y="56"/>
                  </a:cubicBezTo>
                  <a:cubicBezTo>
                    <a:pt x="321" y="0"/>
                    <a:pt x="321" y="0"/>
                    <a:pt x="321" y="0"/>
                  </a:cubicBezTo>
                  <a:cubicBezTo>
                    <a:pt x="354" y="0"/>
                    <a:pt x="354" y="0"/>
                    <a:pt x="354" y="0"/>
                  </a:cubicBezTo>
                  <a:cubicBezTo>
                    <a:pt x="354" y="10"/>
                    <a:pt x="354" y="10"/>
                    <a:pt x="354" y="10"/>
                  </a:cubicBezTo>
                  <a:cubicBezTo>
                    <a:pt x="334" y="10"/>
                    <a:pt x="334" y="10"/>
                    <a:pt x="334" y="10"/>
                  </a:cubicBezTo>
                  <a:cubicBezTo>
                    <a:pt x="334" y="23"/>
                    <a:pt x="334" y="23"/>
                    <a:pt x="334" y="23"/>
                  </a:cubicBezTo>
                  <a:cubicBezTo>
                    <a:pt x="352" y="23"/>
                    <a:pt x="352" y="23"/>
                    <a:pt x="352" y="23"/>
                  </a:cubicBezTo>
                  <a:cubicBezTo>
                    <a:pt x="352" y="33"/>
                    <a:pt x="352" y="33"/>
                    <a:pt x="352" y="33"/>
                  </a:cubicBezTo>
                  <a:cubicBezTo>
                    <a:pt x="334" y="33"/>
                    <a:pt x="334" y="33"/>
                    <a:pt x="334" y="33"/>
                  </a:cubicBezTo>
                  <a:cubicBezTo>
                    <a:pt x="334" y="46"/>
                    <a:pt x="334" y="46"/>
                    <a:pt x="334" y="46"/>
                  </a:cubicBezTo>
                  <a:cubicBezTo>
                    <a:pt x="355" y="46"/>
                    <a:pt x="355" y="46"/>
                    <a:pt x="355" y="46"/>
                  </a:cubicBezTo>
                  <a:lnTo>
                    <a:pt x="355" y="56"/>
                  </a:lnTo>
                  <a:close/>
                  <a:moveTo>
                    <a:pt x="351" y="72"/>
                  </a:moveTo>
                  <a:cubicBezTo>
                    <a:pt x="350" y="72"/>
                    <a:pt x="349" y="73"/>
                    <a:pt x="348" y="73"/>
                  </a:cubicBezTo>
                  <a:cubicBezTo>
                    <a:pt x="348" y="73"/>
                    <a:pt x="347" y="73"/>
                    <a:pt x="346" y="73"/>
                  </a:cubicBezTo>
                  <a:cubicBezTo>
                    <a:pt x="344" y="73"/>
                    <a:pt x="342" y="72"/>
                    <a:pt x="340" y="71"/>
                  </a:cubicBezTo>
                  <a:cubicBezTo>
                    <a:pt x="339" y="70"/>
                    <a:pt x="338" y="68"/>
                    <a:pt x="338" y="66"/>
                  </a:cubicBezTo>
                  <a:cubicBezTo>
                    <a:pt x="338" y="65"/>
                    <a:pt x="339" y="64"/>
                    <a:pt x="339" y="64"/>
                  </a:cubicBezTo>
                  <a:cubicBezTo>
                    <a:pt x="339" y="63"/>
                    <a:pt x="340" y="62"/>
                    <a:pt x="340" y="61"/>
                  </a:cubicBezTo>
                  <a:cubicBezTo>
                    <a:pt x="341" y="60"/>
                    <a:pt x="341" y="59"/>
                    <a:pt x="342" y="58"/>
                  </a:cubicBezTo>
                  <a:cubicBezTo>
                    <a:pt x="343" y="58"/>
                    <a:pt x="344" y="57"/>
                    <a:pt x="345" y="56"/>
                  </a:cubicBezTo>
                  <a:cubicBezTo>
                    <a:pt x="351" y="56"/>
                    <a:pt x="351" y="56"/>
                    <a:pt x="351" y="56"/>
                  </a:cubicBezTo>
                  <a:cubicBezTo>
                    <a:pt x="349" y="58"/>
                    <a:pt x="348" y="59"/>
                    <a:pt x="347" y="61"/>
                  </a:cubicBezTo>
                  <a:cubicBezTo>
                    <a:pt x="346" y="62"/>
                    <a:pt x="345" y="63"/>
                    <a:pt x="345" y="65"/>
                  </a:cubicBezTo>
                  <a:cubicBezTo>
                    <a:pt x="345" y="65"/>
                    <a:pt x="345" y="66"/>
                    <a:pt x="346" y="67"/>
                  </a:cubicBezTo>
                  <a:cubicBezTo>
                    <a:pt x="346" y="67"/>
                    <a:pt x="347" y="67"/>
                    <a:pt x="348" y="67"/>
                  </a:cubicBezTo>
                  <a:cubicBezTo>
                    <a:pt x="348" y="67"/>
                    <a:pt x="349" y="67"/>
                    <a:pt x="349" y="67"/>
                  </a:cubicBezTo>
                  <a:cubicBezTo>
                    <a:pt x="350" y="67"/>
                    <a:pt x="350" y="67"/>
                    <a:pt x="351" y="67"/>
                  </a:cubicBezTo>
                  <a:lnTo>
                    <a:pt x="351" y="72"/>
                  </a:lnTo>
                  <a:close/>
                </a:path>
              </a:pathLst>
            </a:custGeom>
            <a:solidFill>
              <a:srgbClr val="95C7E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33" name="Freeform 245">
              <a:extLst>
                <a:ext uri="{FF2B5EF4-FFF2-40B4-BE49-F238E27FC236}">
                  <a16:creationId xmlns:a16="http://schemas.microsoft.com/office/drawing/2014/main" id="{F5E9C422-70CB-6749-7955-1C5BFCA78A77}"/>
                </a:ext>
                <a:ext uri="{C183D7F6-B498-43B3-948B-1728B52AA6E4}">
                  <adec:decorative xmlns:adec="http://schemas.microsoft.com/office/drawing/2017/decorative" val="1"/>
                </a:ext>
              </a:extLst>
            </p:cNvPr>
            <p:cNvSpPr>
              <a:spLocks noEditPoints="1"/>
            </p:cNvSpPr>
            <p:nvPr/>
          </p:nvSpPr>
          <p:spPr bwMode="auto">
            <a:xfrm rot="16200000">
              <a:off x="2206899" y="4938364"/>
              <a:ext cx="217637" cy="1139516"/>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solidFill>
              <a:srgbClr val="FBE49C"/>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34" name="Freeform 247">
              <a:extLst>
                <a:ext uri="{FF2B5EF4-FFF2-40B4-BE49-F238E27FC236}">
                  <a16:creationId xmlns:a16="http://schemas.microsoft.com/office/drawing/2014/main" id="{E43CCB38-8036-6C15-5F17-D213528A0EBD}"/>
                </a:ext>
                <a:ext uri="{C183D7F6-B498-43B3-948B-1728B52AA6E4}">
                  <adec:decorative xmlns:adec="http://schemas.microsoft.com/office/drawing/2017/decorative" val="1"/>
                </a:ext>
              </a:extLst>
            </p:cNvPr>
            <p:cNvSpPr>
              <a:spLocks noEditPoints="1"/>
            </p:cNvSpPr>
            <p:nvPr/>
          </p:nvSpPr>
          <p:spPr bwMode="auto">
            <a:xfrm rot="16200000">
              <a:off x="8406004" y="5108920"/>
              <a:ext cx="382750" cy="1049352"/>
            </a:xfrm>
            <a:custGeom>
              <a:avLst/>
              <a:gdLst>
                <a:gd name="T0" fmla="*/ 114 w 126"/>
                <a:gd name="T1" fmla="*/ 228 h 345"/>
                <a:gd name="T2" fmla="*/ 119 w 126"/>
                <a:gd name="T3" fmla="*/ 243 h 345"/>
                <a:gd name="T4" fmla="*/ 117 w 126"/>
                <a:gd name="T5" fmla="*/ 282 h 345"/>
                <a:gd name="T6" fmla="*/ 103 w 126"/>
                <a:gd name="T7" fmla="*/ 288 h 345"/>
                <a:gd name="T8" fmla="*/ 117 w 126"/>
                <a:gd name="T9" fmla="*/ 282 h 345"/>
                <a:gd name="T10" fmla="*/ 104 w 126"/>
                <a:gd name="T11" fmla="*/ 240 h 345"/>
                <a:gd name="T12" fmla="*/ 107 w 126"/>
                <a:gd name="T13" fmla="*/ 255 h 345"/>
                <a:gd name="T14" fmla="*/ 111 w 126"/>
                <a:gd name="T15" fmla="*/ 267 h 345"/>
                <a:gd name="T16" fmla="*/ 97 w 126"/>
                <a:gd name="T17" fmla="*/ 273 h 345"/>
                <a:gd name="T18" fmla="*/ 111 w 126"/>
                <a:gd name="T19" fmla="*/ 267 h 345"/>
                <a:gd name="T20" fmla="*/ 97 w 126"/>
                <a:gd name="T21" fmla="*/ 225 h 345"/>
                <a:gd name="T22" fmla="*/ 101 w 126"/>
                <a:gd name="T23" fmla="*/ 241 h 345"/>
                <a:gd name="T24" fmla="*/ 47 w 126"/>
                <a:gd name="T25" fmla="*/ 59 h 345"/>
                <a:gd name="T26" fmla="*/ 62 w 126"/>
                <a:gd name="T27" fmla="*/ 27 h 345"/>
                <a:gd name="T28" fmla="*/ 63 w 126"/>
                <a:gd name="T29" fmla="*/ 44 h 345"/>
                <a:gd name="T30" fmla="*/ 58 w 126"/>
                <a:gd name="T31" fmla="*/ 48 h 345"/>
                <a:gd name="T32" fmla="*/ 0 w 126"/>
                <a:gd name="T33" fmla="*/ 27 h 345"/>
                <a:gd name="T34" fmla="*/ 47 w 126"/>
                <a:gd name="T35" fmla="*/ 59 h 345"/>
                <a:gd name="T36" fmla="*/ 80 w 126"/>
                <a:gd name="T37" fmla="*/ 140 h 345"/>
                <a:gd name="T38" fmla="*/ 65 w 126"/>
                <a:gd name="T39" fmla="*/ 149 h 345"/>
                <a:gd name="T40" fmla="*/ 84 w 126"/>
                <a:gd name="T41" fmla="*/ 116 h 345"/>
                <a:gd name="T42" fmla="*/ 75 w 126"/>
                <a:gd name="T43" fmla="*/ 109 h 345"/>
                <a:gd name="T44" fmla="*/ 24 w 126"/>
                <a:gd name="T45" fmla="*/ 86 h 345"/>
                <a:gd name="T46" fmla="*/ 24 w 126"/>
                <a:gd name="T47" fmla="*/ 64 h 345"/>
                <a:gd name="T48" fmla="*/ 16 w 126"/>
                <a:gd name="T49" fmla="*/ 95 h 345"/>
                <a:gd name="T50" fmla="*/ 72 w 126"/>
                <a:gd name="T51" fmla="*/ 155 h 345"/>
                <a:gd name="T52" fmla="*/ 51 w 126"/>
                <a:gd name="T53" fmla="*/ 213 h 345"/>
                <a:gd name="T54" fmla="*/ 52 w 126"/>
                <a:gd name="T55" fmla="*/ 244 h 345"/>
                <a:gd name="T56" fmla="*/ 55 w 126"/>
                <a:gd name="T57" fmla="*/ 317 h 345"/>
                <a:gd name="T58" fmla="*/ 83 w 126"/>
                <a:gd name="T59" fmla="*/ 335 h 345"/>
                <a:gd name="T60" fmla="*/ 88 w 126"/>
                <a:gd name="T61" fmla="*/ 286 h 345"/>
                <a:gd name="T62" fmla="*/ 59 w 126"/>
                <a:gd name="T63" fmla="*/ 288 h 345"/>
                <a:gd name="T64" fmla="*/ 82 w 126"/>
                <a:gd name="T65" fmla="*/ 257 h 345"/>
                <a:gd name="T66" fmla="*/ 74 w 126"/>
                <a:gd name="T67" fmla="*/ 252 h 345"/>
                <a:gd name="T68" fmla="*/ 77 w 126"/>
                <a:gd name="T69" fmla="*/ 243 h 345"/>
                <a:gd name="T70" fmla="*/ 60 w 126"/>
                <a:gd name="T71" fmla="*/ 239 h 345"/>
                <a:gd name="T72" fmla="*/ 77 w 126"/>
                <a:gd name="T73" fmla="*/ 212 h 345"/>
                <a:gd name="T74" fmla="*/ 60 w 126"/>
                <a:gd name="T75" fmla="*/ 207 h 345"/>
                <a:gd name="T76" fmla="*/ 91 w 126"/>
                <a:gd name="T77" fmla="*/ 148 h 345"/>
                <a:gd name="T78" fmla="*/ 115 w 126"/>
                <a:gd name="T79" fmla="*/ 169 h 345"/>
                <a:gd name="T80" fmla="*/ 90 w 126"/>
                <a:gd name="T81" fmla="*/ 128 h 345"/>
                <a:gd name="T82" fmla="*/ 74 w 126"/>
                <a:gd name="T83" fmla="*/ 331 h 345"/>
                <a:gd name="T84" fmla="*/ 66 w 126"/>
                <a:gd name="T85" fmla="*/ 32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345">
                  <a:moveTo>
                    <a:pt x="124" y="232"/>
                  </a:moveTo>
                  <a:cubicBezTo>
                    <a:pt x="121" y="231"/>
                    <a:pt x="117" y="229"/>
                    <a:pt x="114" y="228"/>
                  </a:cubicBezTo>
                  <a:cubicBezTo>
                    <a:pt x="113" y="231"/>
                    <a:pt x="111" y="235"/>
                    <a:pt x="109" y="238"/>
                  </a:cubicBezTo>
                  <a:cubicBezTo>
                    <a:pt x="112" y="240"/>
                    <a:pt x="116" y="241"/>
                    <a:pt x="119" y="243"/>
                  </a:cubicBezTo>
                  <a:cubicBezTo>
                    <a:pt x="121" y="240"/>
                    <a:pt x="122" y="236"/>
                    <a:pt x="124" y="232"/>
                  </a:cubicBezTo>
                  <a:close/>
                  <a:moveTo>
                    <a:pt x="117" y="282"/>
                  </a:moveTo>
                  <a:cubicBezTo>
                    <a:pt x="114" y="281"/>
                    <a:pt x="111" y="279"/>
                    <a:pt x="109" y="278"/>
                  </a:cubicBezTo>
                  <a:cubicBezTo>
                    <a:pt x="106" y="281"/>
                    <a:pt x="104" y="284"/>
                    <a:pt x="103" y="288"/>
                  </a:cubicBezTo>
                  <a:cubicBezTo>
                    <a:pt x="106" y="290"/>
                    <a:pt x="109" y="291"/>
                    <a:pt x="112" y="293"/>
                  </a:cubicBezTo>
                  <a:cubicBezTo>
                    <a:pt x="114" y="289"/>
                    <a:pt x="116" y="286"/>
                    <a:pt x="117" y="282"/>
                  </a:cubicBezTo>
                  <a:close/>
                  <a:moveTo>
                    <a:pt x="112" y="245"/>
                  </a:moveTo>
                  <a:cubicBezTo>
                    <a:pt x="109" y="243"/>
                    <a:pt x="106" y="242"/>
                    <a:pt x="104" y="240"/>
                  </a:cubicBezTo>
                  <a:cubicBezTo>
                    <a:pt x="102" y="244"/>
                    <a:pt x="100" y="247"/>
                    <a:pt x="98" y="250"/>
                  </a:cubicBezTo>
                  <a:cubicBezTo>
                    <a:pt x="101" y="252"/>
                    <a:pt x="104" y="254"/>
                    <a:pt x="107" y="255"/>
                  </a:cubicBezTo>
                  <a:cubicBezTo>
                    <a:pt x="109" y="252"/>
                    <a:pt x="111" y="248"/>
                    <a:pt x="112" y="245"/>
                  </a:cubicBezTo>
                  <a:close/>
                  <a:moveTo>
                    <a:pt x="111" y="267"/>
                  </a:moveTo>
                  <a:cubicBezTo>
                    <a:pt x="108" y="266"/>
                    <a:pt x="105" y="264"/>
                    <a:pt x="102" y="263"/>
                  </a:cubicBezTo>
                  <a:cubicBezTo>
                    <a:pt x="100" y="266"/>
                    <a:pt x="98" y="269"/>
                    <a:pt x="97" y="273"/>
                  </a:cubicBezTo>
                  <a:cubicBezTo>
                    <a:pt x="100" y="275"/>
                    <a:pt x="103" y="276"/>
                    <a:pt x="106" y="278"/>
                  </a:cubicBezTo>
                  <a:cubicBezTo>
                    <a:pt x="108" y="274"/>
                    <a:pt x="110" y="271"/>
                    <a:pt x="111" y="267"/>
                  </a:cubicBezTo>
                  <a:close/>
                  <a:moveTo>
                    <a:pt x="106" y="230"/>
                  </a:moveTo>
                  <a:cubicBezTo>
                    <a:pt x="103" y="228"/>
                    <a:pt x="100" y="227"/>
                    <a:pt x="97" y="225"/>
                  </a:cubicBezTo>
                  <a:cubicBezTo>
                    <a:pt x="95" y="229"/>
                    <a:pt x="93" y="232"/>
                    <a:pt x="92" y="236"/>
                  </a:cubicBezTo>
                  <a:cubicBezTo>
                    <a:pt x="95" y="237"/>
                    <a:pt x="98" y="239"/>
                    <a:pt x="101" y="241"/>
                  </a:cubicBezTo>
                  <a:cubicBezTo>
                    <a:pt x="103" y="237"/>
                    <a:pt x="105" y="233"/>
                    <a:pt x="106" y="230"/>
                  </a:cubicBezTo>
                  <a:close/>
                  <a:moveTo>
                    <a:pt x="47" y="59"/>
                  </a:moveTo>
                  <a:cubicBezTo>
                    <a:pt x="73" y="60"/>
                    <a:pt x="87" y="36"/>
                    <a:pt x="63" y="26"/>
                  </a:cubicBezTo>
                  <a:cubicBezTo>
                    <a:pt x="63" y="26"/>
                    <a:pt x="62" y="27"/>
                    <a:pt x="62" y="27"/>
                  </a:cubicBezTo>
                  <a:cubicBezTo>
                    <a:pt x="61" y="29"/>
                    <a:pt x="65" y="32"/>
                    <a:pt x="66" y="34"/>
                  </a:cubicBezTo>
                  <a:cubicBezTo>
                    <a:pt x="66" y="40"/>
                    <a:pt x="64" y="41"/>
                    <a:pt x="63" y="44"/>
                  </a:cubicBezTo>
                  <a:cubicBezTo>
                    <a:pt x="62" y="45"/>
                    <a:pt x="60" y="47"/>
                    <a:pt x="59" y="48"/>
                  </a:cubicBezTo>
                  <a:cubicBezTo>
                    <a:pt x="59" y="48"/>
                    <a:pt x="59" y="48"/>
                    <a:pt x="58" y="48"/>
                  </a:cubicBezTo>
                  <a:cubicBezTo>
                    <a:pt x="58" y="0"/>
                    <a:pt x="27" y="22"/>
                    <a:pt x="0" y="26"/>
                  </a:cubicBezTo>
                  <a:cubicBezTo>
                    <a:pt x="0" y="26"/>
                    <a:pt x="0" y="27"/>
                    <a:pt x="0" y="27"/>
                  </a:cubicBezTo>
                  <a:cubicBezTo>
                    <a:pt x="12" y="33"/>
                    <a:pt x="26" y="23"/>
                    <a:pt x="39" y="23"/>
                  </a:cubicBezTo>
                  <a:cubicBezTo>
                    <a:pt x="47" y="30"/>
                    <a:pt x="48" y="45"/>
                    <a:pt x="47" y="59"/>
                  </a:cubicBezTo>
                  <a:close/>
                  <a:moveTo>
                    <a:pt x="90" y="128"/>
                  </a:moveTo>
                  <a:cubicBezTo>
                    <a:pt x="86" y="131"/>
                    <a:pt x="82" y="135"/>
                    <a:pt x="80" y="140"/>
                  </a:cubicBezTo>
                  <a:cubicBezTo>
                    <a:pt x="80" y="140"/>
                    <a:pt x="81" y="141"/>
                    <a:pt x="82" y="141"/>
                  </a:cubicBezTo>
                  <a:cubicBezTo>
                    <a:pt x="80" y="147"/>
                    <a:pt x="72" y="155"/>
                    <a:pt x="65" y="149"/>
                  </a:cubicBezTo>
                  <a:cubicBezTo>
                    <a:pt x="60" y="145"/>
                    <a:pt x="58" y="134"/>
                    <a:pt x="59" y="124"/>
                  </a:cubicBezTo>
                  <a:cubicBezTo>
                    <a:pt x="72" y="124"/>
                    <a:pt x="76" y="119"/>
                    <a:pt x="84" y="116"/>
                  </a:cubicBezTo>
                  <a:cubicBezTo>
                    <a:pt x="84" y="115"/>
                    <a:pt x="85" y="114"/>
                    <a:pt x="85" y="113"/>
                  </a:cubicBezTo>
                  <a:cubicBezTo>
                    <a:pt x="82" y="112"/>
                    <a:pt x="79" y="111"/>
                    <a:pt x="75" y="109"/>
                  </a:cubicBezTo>
                  <a:cubicBezTo>
                    <a:pt x="71" y="113"/>
                    <a:pt x="66" y="118"/>
                    <a:pt x="60" y="119"/>
                  </a:cubicBezTo>
                  <a:cubicBezTo>
                    <a:pt x="42" y="122"/>
                    <a:pt x="27" y="100"/>
                    <a:pt x="24" y="86"/>
                  </a:cubicBezTo>
                  <a:cubicBezTo>
                    <a:pt x="22" y="79"/>
                    <a:pt x="25" y="70"/>
                    <a:pt x="27" y="64"/>
                  </a:cubicBezTo>
                  <a:cubicBezTo>
                    <a:pt x="26" y="64"/>
                    <a:pt x="25" y="64"/>
                    <a:pt x="24" y="64"/>
                  </a:cubicBezTo>
                  <a:cubicBezTo>
                    <a:pt x="23" y="67"/>
                    <a:pt x="21" y="71"/>
                    <a:pt x="20" y="74"/>
                  </a:cubicBezTo>
                  <a:cubicBezTo>
                    <a:pt x="18" y="79"/>
                    <a:pt x="14" y="87"/>
                    <a:pt x="16" y="95"/>
                  </a:cubicBezTo>
                  <a:cubicBezTo>
                    <a:pt x="18" y="106"/>
                    <a:pt x="34" y="124"/>
                    <a:pt x="47" y="124"/>
                  </a:cubicBezTo>
                  <a:cubicBezTo>
                    <a:pt x="47" y="142"/>
                    <a:pt x="54" y="155"/>
                    <a:pt x="72" y="155"/>
                  </a:cubicBezTo>
                  <a:cubicBezTo>
                    <a:pt x="61" y="170"/>
                    <a:pt x="47" y="166"/>
                    <a:pt x="47" y="194"/>
                  </a:cubicBezTo>
                  <a:cubicBezTo>
                    <a:pt x="47" y="203"/>
                    <a:pt x="48" y="208"/>
                    <a:pt x="51" y="213"/>
                  </a:cubicBezTo>
                  <a:cubicBezTo>
                    <a:pt x="49" y="218"/>
                    <a:pt x="45" y="226"/>
                    <a:pt x="47" y="235"/>
                  </a:cubicBezTo>
                  <a:cubicBezTo>
                    <a:pt x="48" y="239"/>
                    <a:pt x="50" y="242"/>
                    <a:pt x="52" y="244"/>
                  </a:cubicBezTo>
                  <a:cubicBezTo>
                    <a:pt x="47" y="247"/>
                    <a:pt x="47" y="257"/>
                    <a:pt x="47" y="266"/>
                  </a:cubicBezTo>
                  <a:cubicBezTo>
                    <a:pt x="47" y="285"/>
                    <a:pt x="44" y="309"/>
                    <a:pt x="55" y="317"/>
                  </a:cubicBezTo>
                  <a:cubicBezTo>
                    <a:pt x="52" y="327"/>
                    <a:pt x="47" y="329"/>
                    <a:pt x="47" y="345"/>
                  </a:cubicBezTo>
                  <a:cubicBezTo>
                    <a:pt x="69" y="345"/>
                    <a:pt x="69" y="340"/>
                    <a:pt x="83" y="335"/>
                  </a:cubicBezTo>
                  <a:cubicBezTo>
                    <a:pt x="80" y="315"/>
                    <a:pt x="59" y="318"/>
                    <a:pt x="59" y="293"/>
                  </a:cubicBezTo>
                  <a:cubicBezTo>
                    <a:pt x="72" y="293"/>
                    <a:pt x="82" y="293"/>
                    <a:pt x="88" y="286"/>
                  </a:cubicBezTo>
                  <a:cubicBezTo>
                    <a:pt x="89" y="286"/>
                    <a:pt x="89" y="286"/>
                    <a:pt x="89" y="286"/>
                  </a:cubicBezTo>
                  <a:cubicBezTo>
                    <a:pt x="78" y="275"/>
                    <a:pt x="74" y="288"/>
                    <a:pt x="59" y="288"/>
                  </a:cubicBezTo>
                  <a:cubicBezTo>
                    <a:pt x="59" y="262"/>
                    <a:pt x="59" y="262"/>
                    <a:pt x="59" y="262"/>
                  </a:cubicBezTo>
                  <a:cubicBezTo>
                    <a:pt x="70" y="262"/>
                    <a:pt x="75" y="260"/>
                    <a:pt x="82" y="257"/>
                  </a:cubicBezTo>
                  <a:cubicBezTo>
                    <a:pt x="82" y="257"/>
                    <a:pt x="82" y="257"/>
                    <a:pt x="82" y="257"/>
                  </a:cubicBezTo>
                  <a:cubicBezTo>
                    <a:pt x="79" y="255"/>
                    <a:pt x="77" y="254"/>
                    <a:pt x="74" y="252"/>
                  </a:cubicBezTo>
                  <a:cubicBezTo>
                    <a:pt x="72" y="255"/>
                    <a:pt x="62" y="262"/>
                    <a:pt x="59" y="256"/>
                  </a:cubicBezTo>
                  <a:cubicBezTo>
                    <a:pt x="55" y="246"/>
                    <a:pt x="71" y="245"/>
                    <a:pt x="77" y="243"/>
                  </a:cubicBezTo>
                  <a:cubicBezTo>
                    <a:pt x="77" y="243"/>
                    <a:pt x="77" y="242"/>
                    <a:pt x="77" y="242"/>
                  </a:cubicBezTo>
                  <a:cubicBezTo>
                    <a:pt x="73" y="241"/>
                    <a:pt x="62" y="242"/>
                    <a:pt x="60" y="239"/>
                  </a:cubicBezTo>
                  <a:cubicBezTo>
                    <a:pt x="59" y="237"/>
                    <a:pt x="59" y="234"/>
                    <a:pt x="59" y="230"/>
                  </a:cubicBezTo>
                  <a:cubicBezTo>
                    <a:pt x="59" y="218"/>
                    <a:pt x="67" y="214"/>
                    <a:pt x="77" y="212"/>
                  </a:cubicBezTo>
                  <a:cubicBezTo>
                    <a:pt x="77" y="212"/>
                    <a:pt x="77" y="212"/>
                    <a:pt x="77" y="211"/>
                  </a:cubicBezTo>
                  <a:cubicBezTo>
                    <a:pt x="73" y="210"/>
                    <a:pt x="62" y="211"/>
                    <a:pt x="60" y="207"/>
                  </a:cubicBezTo>
                  <a:cubicBezTo>
                    <a:pt x="58" y="205"/>
                    <a:pt x="58" y="185"/>
                    <a:pt x="59" y="181"/>
                  </a:cubicBezTo>
                  <a:cubicBezTo>
                    <a:pt x="61" y="174"/>
                    <a:pt x="84" y="157"/>
                    <a:pt x="91" y="148"/>
                  </a:cubicBezTo>
                  <a:cubicBezTo>
                    <a:pt x="94" y="145"/>
                    <a:pt x="97" y="137"/>
                    <a:pt x="102" y="136"/>
                  </a:cubicBezTo>
                  <a:cubicBezTo>
                    <a:pt x="107" y="141"/>
                    <a:pt x="113" y="161"/>
                    <a:pt x="115" y="169"/>
                  </a:cubicBezTo>
                  <a:cubicBezTo>
                    <a:pt x="126" y="169"/>
                    <a:pt x="126" y="169"/>
                    <a:pt x="126" y="169"/>
                  </a:cubicBezTo>
                  <a:cubicBezTo>
                    <a:pt x="121" y="150"/>
                    <a:pt x="114" y="128"/>
                    <a:pt x="90" y="128"/>
                  </a:cubicBezTo>
                  <a:close/>
                  <a:moveTo>
                    <a:pt x="66" y="323"/>
                  </a:moveTo>
                  <a:cubicBezTo>
                    <a:pt x="67" y="321"/>
                    <a:pt x="73" y="328"/>
                    <a:pt x="74" y="331"/>
                  </a:cubicBezTo>
                  <a:cubicBezTo>
                    <a:pt x="71" y="334"/>
                    <a:pt x="65" y="338"/>
                    <a:pt x="60" y="338"/>
                  </a:cubicBezTo>
                  <a:cubicBezTo>
                    <a:pt x="60" y="332"/>
                    <a:pt x="62" y="326"/>
                    <a:pt x="66" y="323"/>
                  </a:cubicBezTo>
                  <a:close/>
                </a:path>
              </a:pathLst>
            </a:custGeom>
            <a:solidFill>
              <a:schemeClr val="tx1">
                <a:lumMod val="50000"/>
                <a:lumOff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5" name="Freeform 248">
              <a:extLst>
                <a:ext uri="{FF2B5EF4-FFF2-40B4-BE49-F238E27FC236}">
                  <a16:creationId xmlns:a16="http://schemas.microsoft.com/office/drawing/2014/main" id="{740F5865-2E2F-B851-A26F-24E9DE8F3622}"/>
                </a:ext>
                <a:ext uri="{C183D7F6-B498-43B3-948B-1728B52AA6E4}">
                  <adec:decorative xmlns:adec="http://schemas.microsoft.com/office/drawing/2017/decorative" val="1"/>
                </a:ext>
              </a:extLst>
            </p:cNvPr>
            <p:cNvSpPr>
              <a:spLocks noEditPoints="1"/>
            </p:cNvSpPr>
            <p:nvPr/>
          </p:nvSpPr>
          <p:spPr bwMode="auto">
            <a:xfrm>
              <a:off x="5044752" y="1098787"/>
              <a:ext cx="1128984" cy="453392"/>
            </a:xfrm>
            <a:custGeom>
              <a:avLst/>
              <a:gdLst>
                <a:gd name="T0" fmla="*/ 323 w 372"/>
                <a:gd name="T1" fmla="*/ 16 h 149"/>
                <a:gd name="T2" fmla="*/ 347 w 372"/>
                <a:gd name="T3" fmla="*/ 7 h 149"/>
                <a:gd name="T4" fmla="*/ 297 w 372"/>
                <a:gd name="T5" fmla="*/ 61 h 149"/>
                <a:gd name="T6" fmla="*/ 255 w 372"/>
                <a:gd name="T7" fmla="*/ 85 h 149"/>
                <a:gd name="T8" fmla="*/ 208 w 372"/>
                <a:gd name="T9" fmla="*/ 43 h 149"/>
                <a:gd name="T10" fmla="*/ 242 w 372"/>
                <a:gd name="T11" fmla="*/ 10 h 149"/>
                <a:gd name="T12" fmla="*/ 206 w 372"/>
                <a:gd name="T13" fmla="*/ 65 h 149"/>
                <a:gd name="T14" fmla="*/ 214 w 372"/>
                <a:gd name="T15" fmla="*/ 80 h 149"/>
                <a:gd name="T16" fmla="*/ 169 w 372"/>
                <a:gd name="T17" fmla="*/ 55 h 149"/>
                <a:gd name="T18" fmla="*/ 163 w 372"/>
                <a:gd name="T19" fmla="*/ 76 h 149"/>
                <a:gd name="T20" fmla="*/ 136 w 372"/>
                <a:gd name="T21" fmla="*/ 129 h 149"/>
                <a:gd name="T22" fmla="*/ 108 w 372"/>
                <a:gd name="T23" fmla="*/ 125 h 149"/>
                <a:gd name="T24" fmla="*/ 138 w 372"/>
                <a:gd name="T25" fmla="*/ 144 h 149"/>
                <a:gd name="T26" fmla="*/ 223 w 372"/>
                <a:gd name="T27" fmla="*/ 80 h 149"/>
                <a:gd name="T28" fmla="*/ 285 w 372"/>
                <a:gd name="T29" fmla="*/ 106 h 149"/>
                <a:gd name="T30" fmla="*/ 303 w 372"/>
                <a:gd name="T31" fmla="*/ 105 h 149"/>
                <a:gd name="T32" fmla="*/ 372 w 372"/>
                <a:gd name="T33" fmla="*/ 107 h 149"/>
                <a:gd name="T34" fmla="*/ 367 w 372"/>
                <a:gd name="T35" fmla="*/ 57 h 149"/>
                <a:gd name="T36" fmla="*/ 363 w 372"/>
                <a:gd name="T37" fmla="*/ 82 h 149"/>
                <a:gd name="T38" fmla="*/ 349 w 372"/>
                <a:gd name="T39" fmla="*/ 81 h 149"/>
                <a:gd name="T40" fmla="*/ 337 w 372"/>
                <a:gd name="T41" fmla="*/ 82 h 149"/>
                <a:gd name="T42" fmla="*/ 302 w 372"/>
                <a:gd name="T43" fmla="*/ 62 h 149"/>
                <a:gd name="T44" fmla="*/ 347 w 372"/>
                <a:gd name="T45" fmla="*/ 20 h 149"/>
                <a:gd name="T46" fmla="*/ 329 w 372"/>
                <a:gd name="T47" fmla="*/ 27 h 149"/>
                <a:gd name="T48" fmla="*/ 334 w 372"/>
                <a:gd name="T49" fmla="*/ 51 h 149"/>
                <a:gd name="T50" fmla="*/ 353 w 372"/>
                <a:gd name="T51" fmla="*/ 45 h 149"/>
                <a:gd name="T52" fmla="*/ 347 w 372"/>
                <a:gd name="T53" fmla="*/ 20 h 149"/>
                <a:gd name="T54" fmla="*/ 104 w 372"/>
                <a:gd name="T55" fmla="*/ 60 h 149"/>
                <a:gd name="T56" fmla="*/ 96 w 372"/>
                <a:gd name="T57" fmla="*/ 49 h 149"/>
                <a:gd name="T58" fmla="*/ 99 w 372"/>
                <a:gd name="T59" fmla="*/ 85 h 149"/>
                <a:gd name="T60" fmla="*/ 35 w 372"/>
                <a:gd name="T61" fmla="*/ 68 h 149"/>
                <a:gd name="T62" fmla="*/ 4 w 372"/>
                <a:gd name="T63" fmla="*/ 120 h 149"/>
                <a:gd name="T64" fmla="*/ 51 w 372"/>
                <a:gd name="T65" fmla="*/ 107 h 149"/>
                <a:gd name="T66" fmla="*/ 90 w 372"/>
                <a:gd name="T67" fmla="*/ 114 h 149"/>
                <a:gd name="T68" fmla="*/ 72 w 372"/>
                <a:gd name="T69" fmla="*/ 122 h 149"/>
                <a:gd name="T70" fmla="*/ 78 w 372"/>
                <a:gd name="T71" fmla="*/ 146 h 149"/>
                <a:gd name="T72" fmla="*/ 96 w 372"/>
                <a:gd name="T73" fmla="*/ 139 h 149"/>
                <a:gd name="T74" fmla="*/ 90 w 372"/>
                <a:gd name="T75"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149">
                  <a:moveTo>
                    <a:pt x="331" y="0"/>
                  </a:moveTo>
                  <a:cubicBezTo>
                    <a:pt x="328" y="6"/>
                    <a:pt x="326" y="11"/>
                    <a:pt x="323" y="16"/>
                  </a:cubicBezTo>
                  <a:cubicBezTo>
                    <a:pt x="328" y="19"/>
                    <a:pt x="333" y="22"/>
                    <a:pt x="338" y="25"/>
                  </a:cubicBezTo>
                  <a:cubicBezTo>
                    <a:pt x="341" y="19"/>
                    <a:pt x="344" y="13"/>
                    <a:pt x="347" y="7"/>
                  </a:cubicBezTo>
                  <a:cubicBezTo>
                    <a:pt x="341" y="5"/>
                    <a:pt x="336" y="2"/>
                    <a:pt x="331" y="0"/>
                  </a:cubicBezTo>
                  <a:close/>
                  <a:moveTo>
                    <a:pt x="297" y="61"/>
                  </a:moveTo>
                  <a:cubicBezTo>
                    <a:pt x="297" y="80"/>
                    <a:pt x="287" y="85"/>
                    <a:pt x="268" y="85"/>
                  </a:cubicBezTo>
                  <a:cubicBezTo>
                    <a:pt x="264" y="85"/>
                    <a:pt x="259" y="85"/>
                    <a:pt x="255" y="85"/>
                  </a:cubicBezTo>
                  <a:cubicBezTo>
                    <a:pt x="248" y="83"/>
                    <a:pt x="211" y="52"/>
                    <a:pt x="209" y="47"/>
                  </a:cubicBezTo>
                  <a:cubicBezTo>
                    <a:pt x="209" y="45"/>
                    <a:pt x="209" y="44"/>
                    <a:pt x="208" y="43"/>
                  </a:cubicBezTo>
                  <a:cubicBezTo>
                    <a:pt x="214" y="37"/>
                    <a:pt x="232" y="31"/>
                    <a:pt x="242" y="30"/>
                  </a:cubicBezTo>
                  <a:cubicBezTo>
                    <a:pt x="242" y="23"/>
                    <a:pt x="242" y="16"/>
                    <a:pt x="242" y="10"/>
                  </a:cubicBezTo>
                  <a:cubicBezTo>
                    <a:pt x="228" y="13"/>
                    <a:pt x="197" y="25"/>
                    <a:pt x="192" y="36"/>
                  </a:cubicBezTo>
                  <a:cubicBezTo>
                    <a:pt x="186" y="50"/>
                    <a:pt x="198" y="71"/>
                    <a:pt x="206" y="65"/>
                  </a:cubicBezTo>
                  <a:cubicBezTo>
                    <a:pt x="210" y="67"/>
                    <a:pt x="213" y="70"/>
                    <a:pt x="215" y="74"/>
                  </a:cubicBezTo>
                  <a:cubicBezTo>
                    <a:pt x="215" y="76"/>
                    <a:pt x="214" y="78"/>
                    <a:pt x="214" y="80"/>
                  </a:cubicBezTo>
                  <a:cubicBezTo>
                    <a:pt x="206" y="85"/>
                    <a:pt x="193" y="85"/>
                    <a:pt x="179" y="85"/>
                  </a:cubicBezTo>
                  <a:cubicBezTo>
                    <a:pt x="179" y="70"/>
                    <a:pt x="173" y="64"/>
                    <a:pt x="169" y="55"/>
                  </a:cubicBezTo>
                  <a:cubicBezTo>
                    <a:pt x="168" y="55"/>
                    <a:pt x="168" y="54"/>
                    <a:pt x="168" y="54"/>
                  </a:cubicBezTo>
                  <a:cubicBezTo>
                    <a:pt x="166" y="62"/>
                    <a:pt x="164" y="69"/>
                    <a:pt x="163" y="76"/>
                  </a:cubicBezTo>
                  <a:cubicBezTo>
                    <a:pt x="167" y="81"/>
                    <a:pt x="175" y="89"/>
                    <a:pt x="172" y="99"/>
                  </a:cubicBezTo>
                  <a:cubicBezTo>
                    <a:pt x="169" y="108"/>
                    <a:pt x="146" y="127"/>
                    <a:pt x="136" y="129"/>
                  </a:cubicBezTo>
                  <a:cubicBezTo>
                    <a:pt x="123" y="132"/>
                    <a:pt x="117" y="124"/>
                    <a:pt x="109" y="121"/>
                  </a:cubicBezTo>
                  <a:cubicBezTo>
                    <a:pt x="109" y="122"/>
                    <a:pt x="108" y="124"/>
                    <a:pt x="108" y="125"/>
                  </a:cubicBezTo>
                  <a:cubicBezTo>
                    <a:pt x="108" y="125"/>
                    <a:pt x="107" y="126"/>
                    <a:pt x="107" y="127"/>
                  </a:cubicBezTo>
                  <a:cubicBezTo>
                    <a:pt x="118" y="131"/>
                    <a:pt x="126" y="140"/>
                    <a:pt x="138" y="144"/>
                  </a:cubicBezTo>
                  <a:cubicBezTo>
                    <a:pt x="157" y="149"/>
                    <a:pt x="180" y="123"/>
                    <a:pt x="179" y="107"/>
                  </a:cubicBezTo>
                  <a:cubicBezTo>
                    <a:pt x="203" y="108"/>
                    <a:pt x="223" y="103"/>
                    <a:pt x="223" y="80"/>
                  </a:cubicBezTo>
                  <a:cubicBezTo>
                    <a:pt x="223" y="80"/>
                    <a:pt x="223" y="80"/>
                    <a:pt x="223" y="80"/>
                  </a:cubicBezTo>
                  <a:cubicBezTo>
                    <a:pt x="230" y="94"/>
                    <a:pt x="257" y="117"/>
                    <a:pt x="285" y="106"/>
                  </a:cubicBezTo>
                  <a:cubicBezTo>
                    <a:pt x="290" y="104"/>
                    <a:pt x="293" y="99"/>
                    <a:pt x="297" y="96"/>
                  </a:cubicBezTo>
                  <a:cubicBezTo>
                    <a:pt x="299" y="99"/>
                    <a:pt x="301" y="102"/>
                    <a:pt x="303" y="105"/>
                  </a:cubicBezTo>
                  <a:cubicBezTo>
                    <a:pt x="313" y="113"/>
                    <a:pt x="339" y="106"/>
                    <a:pt x="345" y="102"/>
                  </a:cubicBezTo>
                  <a:cubicBezTo>
                    <a:pt x="353" y="106"/>
                    <a:pt x="361" y="108"/>
                    <a:pt x="372" y="107"/>
                  </a:cubicBezTo>
                  <a:cubicBezTo>
                    <a:pt x="372" y="89"/>
                    <a:pt x="372" y="71"/>
                    <a:pt x="369" y="57"/>
                  </a:cubicBezTo>
                  <a:cubicBezTo>
                    <a:pt x="368" y="57"/>
                    <a:pt x="368" y="57"/>
                    <a:pt x="367" y="57"/>
                  </a:cubicBezTo>
                  <a:cubicBezTo>
                    <a:pt x="365" y="61"/>
                    <a:pt x="362" y="65"/>
                    <a:pt x="359" y="69"/>
                  </a:cubicBezTo>
                  <a:cubicBezTo>
                    <a:pt x="359" y="75"/>
                    <a:pt x="361" y="78"/>
                    <a:pt x="363" y="82"/>
                  </a:cubicBezTo>
                  <a:cubicBezTo>
                    <a:pt x="363" y="83"/>
                    <a:pt x="363" y="84"/>
                    <a:pt x="363" y="85"/>
                  </a:cubicBezTo>
                  <a:cubicBezTo>
                    <a:pt x="358" y="84"/>
                    <a:pt x="353" y="83"/>
                    <a:pt x="349" y="81"/>
                  </a:cubicBezTo>
                  <a:cubicBezTo>
                    <a:pt x="349" y="75"/>
                    <a:pt x="349" y="68"/>
                    <a:pt x="349" y="61"/>
                  </a:cubicBezTo>
                  <a:cubicBezTo>
                    <a:pt x="340" y="68"/>
                    <a:pt x="344" y="77"/>
                    <a:pt x="337" y="82"/>
                  </a:cubicBezTo>
                  <a:cubicBezTo>
                    <a:pt x="333" y="85"/>
                    <a:pt x="328" y="85"/>
                    <a:pt x="321" y="85"/>
                  </a:cubicBezTo>
                  <a:cubicBezTo>
                    <a:pt x="302" y="85"/>
                    <a:pt x="302" y="80"/>
                    <a:pt x="302" y="62"/>
                  </a:cubicBezTo>
                  <a:cubicBezTo>
                    <a:pt x="300" y="62"/>
                    <a:pt x="299" y="61"/>
                    <a:pt x="297" y="61"/>
                  </a:cubicBezTo>
                  <a:close/>
                  <a:moveTo>
                    <a:pt x="347" y="20"/>
                  </a:moveTo>
                  <a:cubicBezTo>
                    <a:pt x="345" y="24"/>
                    <a:pt x="343" y="28"/>
                    <a:pt x="341" y="32"/>
                  </a:cubicBezTo>
                  <a:cubicBezTo>
                    <a:pt x="338" y="33"/>
                    <a:pt x="332" y="28"/>
                    <a:pt x="329" y="27"/>
                  </a:cubicBezTo>
                  <a:cubicBezTo>
                    <a:pt x="325" y="30"/>
                    <a:pt x="321" y="39"/>
                    <a:pt x="320" y="44"/>
                  </a:cubicBezTo>
                  <a:cubicBezTo>
                    <a:pt x="325" y="46"/>
                    <a:pt x="329" y="49"/>
                    <a:pt x="334" y="51"/>
                  </a:cubicBezTo>
                  <a:cubicBezTo>
                    <a:pt x="336" y="47"/>
                    <a:pt x="339" y="43"/>
                    <a:pt x="341" y="39"/>
                  </a:cubicBezTo>
                  <a:cubicBezTo>
                    <a:pt x="345" y="39"/>
                    <a:pt x="349" y="43"/>
                    <a:pt x="353" y="45"/>
                  </a:cubicBezTo>
                  <a:cubicBezTo>
                    <a:pt x="356" y="40"/>
                    <a:pt x="359" y="34"/>
                    <a:pt x="363" y="29"/>
                  </a:cubicBezTo>
                  <a:cubicBezTo>
                    <a:pt x="357" y="26"/>
                    <a:pt x="352" y="23"/>
                    <a:pt x="347" y="20"/>
                  </a:cubicBezTo>
                  <a:close/>
                  <a:moveTo>
                    <a:pt x="107" y="107"/>
                  </a:moveTo>
                  <a:cubicBezTo>
                    <a:pt x="107" y="91"/>
                    <a:pt x="109" y="72"/>
                    <a:pt x="104" y="60"/>
                  </a:cubicBezTo>
                  <a:cubicBezTo>
                    <a:pt x="102" y="57"/>
                    <a:pt x="100" y="53"/>
                    <a:pt x="97" y="50"/>
                  </a:cubicBezTo>
                  <a:cubicBezTo>
                    <a:pt x="97" y="49"/>
                    <a:pt x="97" y="49"/>
                    <a:pt x="96" y="49"/>
                  </a:cubicBezTo>
                  <a:cubicBezTo>
                    <a:pt x="94" y="55"/>
                    <a:pt x="92" y="62"/>
                    <a:pt x="90" y="68"/>
                  </a:cubicBezTo>
                  <a:cubicBezTo>
                    <a:pt x="93" y="73"/>
                    <a:pt x="98" y="77"/>
                    <a:pt x="99" y="85"/>
                  </a:cubicBezTo>
                  <a:cubicBezTo>
                    <a:pt x="85" y="85"/>
                    <a:pt x="70" y="85"/>
                    <a:pt x="56" y="85"/>
                  </a:cubicBezTo>
                  <a:cubicBezTo>
                    <a:pt x="47" y="82"/>
                    <a:pt x="43" y="72"/>
                    <a:pt x="35" y="68"/>
                  </a:cubicBezTo>
                  <a:cubicBezTo>
                    <a:pt x="20" y="68"/>
                    <a:pt x="2" y="104"/>
                    <a:pt x="0" y="118"/>
                  </a:cubicBezTo>
                  <a:cubicBezTo>
                    <a:pt x="1" y="119"/>
                    <a:pt x="3" y="119"/>
                    <a:pt x="4" y="120"/>
                  </a:cubicBezTo>
                  <a:cubicBezTo>
                    <a:pt x="10" y="112"/>
                    <a:pt x="17" y="87"/>
                    <a:pt x="31" y="90"/>
                  </a:cubicBezTo>
                  <a:cubicBezTo>
                    <a:pt x="39" y="94"/>
                    <a:pt x="42" y="104"/>
                    <a:pt x="51" y="107"/>
                  </a:cubicBezTo>
                  <a:cubicBezTo>
                    <a:pt x="70" y="107"/>
                    <a:pt x="89" y="107"/>
                    <a:pt x="107" y="107"/>
                  </a:cubicBezTo>
                  <a:close/>
                  <a:moveTo>
                    <a:pt x="90" y="114"/>
                  </a:moveTo>
                  <a:cubicBezTo>
                    <a:pt x="88" y="119"/>
                    <a:pt x="86" y="123"/>
                    <a:pt x="84" y="127"/>
                  </a:cubicBezTo>
                  <a:cubicBezTo>
                    <a:pt x="80" y="125"/>
                    <a:pt x="76" y="123"/>
                    <a:pt x="72" y="122"/>
                  </a:cubicBezTo>
                  <a:cubicBezTo>
                    <a:pt x="69" y="127"/>
                    <a:pt x="66" y="132"/>
                    <a:pt x="63" y="137"/>
                  </a:cubicBezTo>
                  <a:cubicBezTo>
                    <a:pt x="68" y="140"/>
                    <a:pt x="73" y="143"/>
                    <a:pt x="78" y="146"/>
                  </a:cubicBezTo>
                  <a:cubicBezTo>
                    <a:pt x="80" y="141"/>
                    <a:pt x="82" y="137"/>
                    <a:pt x="84" y="132"/>
                  </a:cubicBezTo>
                  <a:cubicBezTo>
                    <a:pt x="89" y="134"/>
                    <a:pt x="92" y="137"/>
                    <a:pt x="96" y="139"/>
                  </a:cubicBezTo>
                  <a:cubicBezTo>
                    <a:pt x="100" y="133"/>
                    <a:pt x="103" y="128"/>
                    <a:pt x="106" y="123"/>
                  </a:cubicBezTo>
                  <a:cubicBezTo>
                    <a:pt x="101" y="120"/>
                    <a:pt x="95" y="117"/>
                    <a:pt x="90" y="114"/>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4364C"/>
                </a:solidFill>
                <a:effectLst/>
                <a:uLnTx/>
                <a:uFillTx/>
                <a:latin typeface="Segoe UI Semilight"/>
                <a:ea typeface="+mn-ea"/>
                <a:cs typeface="+mn-cs"/>
              </a:endParaRPr>
            </a:p>
          </p:txBody>
        </p:sp>
        <p:sp>
          <p:nvSpPr>
            <p:cNvPr id="36" name="Freeform 249">
              <a:extLst>
                <a:ext uri="{FF2B5EF4-FFF2-40B4-BE49-F238E27FC236}">
                  <a16:creationId xmlns:a16="http://schemas.microsoft.com/office/drawing/2014/main" id="{C1C840F7-786D-CCAB-948E-49848CF1AD7D}"/>
                </a:ext>
                <a:ext uri="{C183D7F6-B498-43B3-948B-1728B52AA6E4}">
                  <adec:decorative xmlns:adec="http://schemas.microsoft.com/office/drawing/2017/decorative" val="1"/>
                </a:ext>
              </a:extLst>
            </p:cNvPr>
            <p:cNvSpPr>
              <a:spLocks noEditPoints="1"/>
            </p:cNvSpPr>
            <p:nvPr/>
          </p:nvSpPr>
          <p:spPr bwMode="auto">
            <a:xfrm>
              <a:off x="3194833" y="4302119"/>
              <a:ext cx="669171" cy="431557"/>
            </a:xfrm>
            <a:custGeom>
              <a:avLst/>
              <a:gdLst>
                <a:gd name="T0" fmla="*/ 0 w 220"/>
                <a:gd name="T1" fmla="*/ 13 h 142"/>
                <a:gd name="T2" fmla="*/ 22 w 220"/>
                <a:gd name="T3" fmla="*/ 0 h 142"/>
                <a:gd name="T4" fmla="*/ 0 w 220"/>
                <a:gd name="T5" fmla="*/ 23 h 142"/>
                <a:gd name="T6" fmla="*/ 22 w 220"/>
                <a:gd name="T7" fmla="*/ 10 h 142"/>
                <a:gd name="T8" fmla="*/ 8 w 220"/>
                <a:gd name="T9" fmla="*/ 39 h 142"/>
                <a:gd name="T10" fmla="*/ 13 w 220"/>
                <a:gd name="T11" fmla="*/ 110 h 142"/>
                <a:gd name="T12" fmla="*/ 20 w 220"/>
                <a:gd name="T13" fmla="*/ 96 h 142"/>
                <a:gd name="T14" fmla="*/ 14 w 220"/>
                <a:gd name="T15" fmla="*/ 27 h 142"/>
                <a:gd name="T16" fmla="*/ 217 w 220"/>
                <a:gd name="T17" fmla="*/ 80 h 142"/>
                <a:gd name="T18" fmla="*/ 213 w 220"/>
                <a:gd name="T19" fmla="*/ 73 h 142"/>
                <a:gd name="T20" fmla="*/ 213 w 220"/>
                <a:gd name="T21" fmla="*/ 96 h 142"/>
                <a:gd name="T22" fmla="*/ 198 w 220"/>
                <a:gd name="T23" fmla="*/ 78 h 142"/>
                <a:gd name="T24" fmla="*/ 186 w 220"/>
                <a:gd name="T25" fmla="*/ 97 h 142"/>
                <a:gd name="T26" fmla="*/ 167 w 220"/>
                <a:gd name="T27" fmla="*/ 78 h 142"/>
                <a:gd name="T28" fmla="*/ 140 w 220"/>
                <a:gd name="T29" fmla="*/ 86 h 142"/>
                <a:gd name="T30" fmla="*/ 106 w 220"/>
                <a:gd name="T31" fmla="*/ 53 h 142"/>
                <a:gd name="T32" fmla="*/ 139 w 220"/>
                <a:gd name="T33" fmla="*/ 28 h 142"/>
                <a:gd name="T34" fmla="*/ 108 w 220"/>
                <a:gd name="T35" fmla="*/ 74 h 142"/>
                <a:gd name="T36" fmla="*/ 138 w 220"/>
                <a:gd name="T37" fmla="*/ 95 h 142"/>
                <a:gd name="T38" fmla="*/ 92 w 220"/>
                <a:gd name="T39" fmla="*/ 97 h 142"/>
                <a:gd name="T40" fmla="*/ 81 w 220"/>
                <a:gd name="T41" fmla="*/ 69 h 142"/>
                <a:gd name="T42" fmla="*/ 87 w 220"/>
                <a:gd name="T43" fmla="*/ 104 h 142"/>
                <a:gd name="T44" fmla="*/ 31 w 220"/>
                <a:gd name="T45" fmla="*/ 132 h 142"/>
                <a:gd name="T46" fmla="*/ 63 w 220"/>
                <a:gd name="T47" fmla="*/ 140 h 142"/>
                <a:gd name="T48" fmla="*/ 168 w 220"/>
                <a:gd name="T49" fmla="*/ 104 h 142"/>
                <a:gd name="T50" fmla="*/ 218 w 220"/>
                <a:gd name="T51" fmla="*/ 108 h 142"/>
                <a:gd name="T52" fmla="*/ 184 w 220"/>
                <a:gd name="T53" fmla="*/ 40 h 142"/>
                <a:gd name="T54" fmla="*/ 199 w 220"/>
                <a:gd name="T55" fmla="*/ 36 h 142"/>
                <a:gd name="T56" fmla="*/ 201 w 220"/>
                <a:gd name="T57" fmla="*/ 42 h 142"/>
                <a:gd name="T58" fmla="*/ 207 w 220"/>
                <a:gd name="T59" fmla="*/ 57 h 142"/>
                <a:gd name="T60" fmla="*/ 201 w 220"/>
                <a:gd name="T61" fmla="*/ 42 h 142"/>
                <a:gd name="T62" fmla="*/ 181 w 220"/>
                <a:gd name="T63" fmla="*/ 58 h 142"/>
                <a:gd name="T64" fmla="*/ 197 w 220"/>
                <a:gd name="T65" fmla="*/ 5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0" h="142">
                  <a:moveTo>
                    <a:pt x="22" y="0"/>
                  </a:moveTo>
                  <a:cubicBezTo>
                    <a:pt x="15" y="4"/>
                    <a:pt x="2" y="4"/>
                    <a:pt x="0" y="13"/>
                  </a:cubicBezTo>
                  <a:cubicBezTo>
                    <a:pt x="8" y="11"/>
                    <a:pt x="18" y="7"/>
                    <a:pt x="23" y="2"/>
                  </a:cubicBezTo>
                  <a:cubicBezTo>
                    <a:pt x="22" y="0"/>
                    <a:pt x="23" y="1"/>
                    <a:pt x="22" y="0"/>
                  </a:cubicBezTo>
                  <a:close/>
                  <a:moveTo>
                    <a:pt x="22" y="10"/>
                  </a:moveTo>
                  <a:cubicBezTo>
                    <a:pt x="15" y="14"/>
                    <a:pt x="2" y="14"/>
                    <a:pt x="0" y="23"/>
                  </a:cubicBezTo>
                  <a:cubicBezTo>
                    <a:pt x="6" y="22"/>
                    <a:pt x="19" y="18"/>
                    <a:pt x="22" y="13"/>
                  </a:cubicBezTo>
                  <a:cubicBezTo>
                    <a:pt x="23" y="12"/>
                    <a:pt x="23" y="11"/>
                    <a:pt x="22" y="10"/>
                  </a:cubicBezTo>
                  <a:close/>
                  <a:moveTo>
                    <a:pt x="14" y="27"/>
                  </a:moveTo>
                  <a:cubicBezTo>
                    <a:pt x="11" y="31"/>
                    <a:pt x="10" y="35"/>
                    <a:pt x="8" y="39"/>
                  </a:cubicBezTo>
                  <a:cubicBezTo>
                    <a:pt x="9" y="46"/>
                    <a:pt x="9" y="54"/>
                    <a:pt x="10" y="61"/>
                  </a:cubicBezTo>
                  <a:cubicBezTo>
                    <a:pt x="13" y="77"/>
                    <a:pt x="14" y="93"/>
                    <a:pt x="13" y="110"/>
                  </a:cubicBezTo>
                  <a:cubicBezTo>
                    <a:pt x="13" y="110"/>
                    <a:pt x="14" y="110"/>
                    <a:pt x="14" y="110"/>
                  </a:cubicBezTo>
                  <a:cubicBezTo>
                    <a:pt x="16" y="105"/>
                    <a:pt x="19" y="102"/>
                    <a:pt x="20" y="96"/>
                  </a:cubicBezTo>
                  <a:cubicBezTo>
                    <a:pt x="23" y="83"/>
                    <a:pt x="18" y="58"/>
                    <a:pt x="16" y="46"/>
                  </a:cubicBezTo>
                  <a:cubicBezTo>
                    <a:pt x="15" y="40"/>
                    <a:pt x="14" y="34"/>
                    <a:pt x="14" y="27"/>
                  </a:cubicBezTo>
                  <a:close/>
                  <a:moveTo>
                    <a:pt x="218" y="108"/>
                  </a:moveTo>
                  <a:cubicBezTo>
                    <a:pt x="218" y="99"/>
                    <a:pt x="220" y="87"/>
                    <a:pt x="217" y="80"/>
                  </a:cubicBezTo>
                  <a:cubicBezTo>
                    <a:pt x="216" y="78"/>
                    <a:pt x="215" y="76"/>
                    <a:pt x="213" y="73"/>
                  </a:cubicBezTo>
                  <a:cubicBezTo>
                    <a:pt x="213" y="73"/>
                    <a:pt x="213" y="73"/>
                    <a:pt x="213" y="73"/>
                  </a:cubicBezTo>
                  <a:cubicBezTo>
                    <a:pt x="212" y="76"/>
                    <a:pt x="210" y="78"/>
                    <a:pt x="209" y="81"/>
                  </a:cubicBezTo>
                  <a:cubicBezTo>
                    <a:pt x="211" y="83"/>
                    <a:pt x="219" y="93"/>
                    <a:pt x="213" y="96"/>
                  </a:cubicBezTo>
                  <a:cubicBezTo>
                    <a:pt x="202" y="101"/>
                    <a:pt x="202" y="84"/>
                    <a:pt x="199" y="78"/>
                  </a:cubicBezTo>
                  <a:cubicBezTo>
                    <a:pt x="199" y="78"/>
                    <a:pt x="199" y="78"/>
                    <a:pt x="198" y="78"/>
                  </a:cubicBezTo>
                  <a:cubicBezTo>
                    <a:pt x="197" y="82"/>
                    <a:pt x="198" y="93"/>
                    <a:pt x="195" y="95"/>
                  </a:cubicBezTo>
                  <a:cubicBezTo>
                    <a:pt x="193" y="97"/>
                    <a:pt x="189" y="97"/>
                    <a:pt x="186" y="97"/>
                  </a:cubicBezTo>
                  <a:cubicBezTo>
                    <a:pt x="174" y="97"/>
                    <a:pt x="169" y="88"/>
                    <a:pt x="168" y="78"/>
                  </a:cubicBezTo>
                  <a:cubicBezTo>
                    <a:pt x="167" y="78"/>
                    <a:pt x="167" y="78"/>
                    <a:pt x="167" y="78"/>
                  </a:cubicBezTo>
                  <a:cubicBezTo>
                    <a:pt x="161" y="93"/>
                    <a:pt x="171" y="97"/>
                    <a:pt x="146" y="97"/>
                  </a:cubicBezTo>
                  <a:cubicBezTo>
                    <a:pt x="144" y="93"/>
                    <a:pt x="142" y="90"/>
                    <a:pt x="140" y="86"/>
                  </a:cubicBezTo>
                  <a:cubicBezTo>
                    <a:pt x="134" y="78"/>
                    <a:pt x="127" y="71"/>
                    <a:pt x="119" y="65"/>
                  </a:cubicBezTo>
                  <a:cubicBezTo>
                    <a:pt x="115" y="62"/>
                    <a:pt x="107" y="58"/>
                    <a:pt x="106" y="53"/>
                  </a:cubicBezTo>
                  <a:cubicBezTo>
                    <a:pt x="110" y="47"/>
                    <a:pt x="131" y="41"/>
                    <a:pt x="139" y="39"/>
                  </a:cubicBezTo>
                  <a:cubicBezTo>
                    <a:pt x="139" y="35"/>
                    <a:pt x="139" y="32"/>
                    <a:pt x="139" y="28"/>
                  </a:cubicBezTo>
                  <a:cubicBezTo>
                    <a:pt x="120" y="33"/>
                    <a:pt x="97" y="40"/>
                    <a:pt x="98" y="65"/>
                  </a:cubicBezTo>
                  <a:cubicBezTo>
                    <a:pt x="100" y="68"/>
                    <a:pt x="104" y="72"/>
                    <a:pt x="108" y="74"/>
                  </a:cubicBezTo>
                  <a:cubicBezTo>
                    <a:pt x="110" y="75"/>
                    <a:pt x="110" y="75"/>
                    <a:pt x="111" y="73"/>
                  </a:cubicBezTo>
                  <a:cubicBezTo>
                    <a:pt x="123" y="77"/>
                    <a:pt x="129" y="88"/>
                    <a:pt x="138" y="95"/>
                  </a:cubicBezTo>
                  <a:cubicBezTo>
                    <a:pt x="138" y="96"/>
                    <a:pt x="138" y="96"/>
                    <a:pt x="138" y="97"/>
                  </a:cubicBezTo>
                  <a:cubicBezTo>
                    <a:pt x="123" y="97"/>
                    <a:pt x="107" y="97"/>
                    <a:pt x="92" y="97"/>
                  </a:cubicBezTo>
                  <a:cubicBezTo>
                    <a:pt x="92" y="83"/>
                    <a:pt x="88" y="79"/>
                    <a:pt x="84" y="71"/>
                  </a:cubicBezTo>
                  <a:cubicBezTo>
                    <a:pt x="83" y="71"/>
                    <a:pt x="82" y="70"/>
                    <a:pt x="81" y="69"/>
                  </a:cubicBezTo>
                  <a:cubicBezTo>
                    <a:pt x="80" y="73"/>
                    <a:pt x="79" y="76"/>
                    <a:pt x="77" y="80"/>
                  </a:cubicBezTo>
                  <a:cubicBezTo>
                    <a:pt x="81" y="85"/>
                    <a:pt x="90" y="93"/>
                    <a:pt x="87" y="104"/>
                  </a:cubicBezTo>
                  <a:cubicBezTo>
                    <a:pt x="83" y="123"/>
                    <a:pt x="56" y="138"/>
                    <a:pt x="32" y="129"/>
                  </a:cubicBezTo>
                  <a:cubicBezTo>
                    <a:pt x="31" y="130"/>
                    <a:pt x="31" y="131"/>
                    <a:pt x="31" y="132"/>
                  </a:cubicBezTo>
                  <a:cubicBezTo>
                    <a:pt x="35" y="133"/>
                    <a:pt x="38" y="135"/>
                    <a:pt x="42" y="136"/>
                  </a:cubicBezTo>
                  <a:cubicBezTo>
                    <a:pt x="47" y="138"/>
                    <a:pt x="55" y="142"/>
                    <a:pt x="63" y="140"/>
                  </a:cubicBezTo>
                  <a:cubicBezTo>
                    <a:pt x="74" y="138"/>
                    <a:pt x="92" y="122"/>
                    <a:pt x="92" y="108"/>
                  </a:cubicBezTo>
                  <a:cubicBezTo>
                    <a:pt x="113" y="108"/>
                    <a:pt x="156" y="112"/>
                    <a:pt x="168" y="104"/>
                  </a:cubicBezTo>
                  <a:cubicBezTo>
                    <a:pt x="176" y="108"/>
                    <a:pt x="194" y="111"/>
                    <a:pt x="200" y="104"/>
                  </a:cubicBezTo>
                  <a:cubicBezTo>
                    <a:pt x="203" y="108"/>
                    <a:pt x="211" y="108"/>
                    <a:pt x="218" y="108"/>
                  </a:cubicBezTo>
                  <a:close/>
                  <a:moveTo>
                    <a:pt x="188" y="31"/>
                  </a:moveTo>
                  <a:cubicBezTo>
                    <a:pt x="187" y="34"/>
                    <a:pt x="185" y="37"/>
                    <a:pt x="184" y="40"/>
                  </a:cubicBezTo>
                  <a:cubicBezTo>
                    <a:pt x="187" y="42"/>
                    <a:pt x="191" y="44"/>
                    <a:pt x="194" y="46"/>
                  </a:cubicBezTo>
                  <a:cubicBezTo>
                    <a:pt x="196" y="42"/>
                    <a:pt x="198" y="39"/>
                    <a:pt x="199" y="36"/>
                  </a:cubicBezTo>
                  <a:cubicBezTo>
                    <a:pt x="195" y="34"/>
                    <a:pt x="192" y="32"/>
                    <a:pt x="188" y="31"/>
                  </a:cubicBezTo>
                  <a:close/>
                  <a:moveTo>
                    <a:pt x="201" y="42"/>
                  </a:moveTo>
                  <a:cubicBezTo>
                    <a:pt x="199" y="45"/>
                    <a:pt x="198" y="48"/>
                    <a:pt x="196" y="51"/>
                  </a:cubicBezTo>
                  <a:cubicBezTo>
                    <a:pt x="200" y="53"/>
                    <a:pt x="203" y="55"/>
                    <a:pt x="207" y="57"/>
                  </a:cubicBezTo>
                  <a:cubicBezTo>
                    <a:pt x="208" y="54"/>
                    <a:pt x="210" y="51"/>
                    <a:pt x="212" y="47"/>
                  </a:cubicBezTo>
                  <a:cubicBezTo>
                    <a:pt x="208" y="46"/>
                    <a:pt x="204" y="44"/>
                    <a:pt x="201" y="42"/>
                  </a:cubicBezTo>
                  <a:close/>
                  <a:moveTo>
                    <a:pt x="186" y="48"/>
                  </a:moveTo>
                  <a:cubicBezTo>
                    <a:pt x="184" y="52"/>
                    <a:pt x="183" y="55"/>
                    <a:pt x="181" y="58"/>
                  </a:cubicBezTo>
                  <a:cubicBezTo>
                    <a:pt x="185" y="60"/>
                    <a:pt x="188" y="62"/>
                    <a:pt x="192" y="63"/>
                  </a:cubicBezTo>
                  <a:cubicBezTo>
                    <a:pt x="193" y="60"/>
                    <a:pt x="195" y="57"/>
                    <a:pt x="197" y="53"/>
                  </a:cubicBezTo>
                  <a:cubicBezTo>
                    <a:pt x="193" y="52"/>
                    <a:pt x="189" y="50"/>
                    <a:pt x="186" y="48"/>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7" name="Freeform 250">
              <a:extLst>
                <a:ext uri="{FF2B5EF4-FFF2-40B4-BE49-F238E27FC236}">
                  <a16:creationId xmlns:a16="http://schemas.microsoft.com/office/drawing/2014/main" id="{1CD79BAB-AEB4-F238-84ED-93AA58F88131}"/>
                </a:ext>
                <a:ext uri="{C183D7F6-B498-43B3-948B-1728B52AA6E4}">
                  <adec:decorative xmlns:adec="http://schemas.microsoft.com/office/drawing/2017/decorative" val="1"/>
                </a:ext>
              </a:extLst>
            </p:cNvPr>
            <p:cNvSpPr>
              <a:spLocks noEditPoints="1"/>
            </p:cNvSpPr>
            <p:nvPr/>
          </p:nvSpPr>
          <p:spPr bwMode="auto">
            <a:xfrm>
              <a:off x="6286327" y="4213039"/>
              <a:ext cx="883665" cy="288989"/>
            </a:xfrm>
            <a:custGeom>
              <a:avLst/>
              <a:gdLst>
                <a:gd name="T0" fmla="*/ 42 w 291"/>
                <a:gd name="T1" fmla="*/ 54 h 95"/>
                <a:gd name="T2" fmla="*/ 80 w 291"/>
                <a:gd name="T3" fmla="*/ 59 h 95"/>
                <a:gd name="T4" fmla="*/ 41 w 291"/>
                <a:gd name="T5" fmla="*/ 82 h 95"/>
                <a:gd name="T6" fmla="*/ 6 w 291"/>
                <a:gd name="T7" fmla="*/ 72 h 95"/>
                <a:gd name="T8" fmla="*/ 31 w 291"/>
                <a:gd name="T9" fmla="*/ 20 h 95"/>
                <a:gd name="T10" fmla="*/ 30 w 291"/>
                <a:gd name="T11" fmla="*/ 21 h 95"/>
                <a:gd name="T12" fmla="*/ 28 w 291"/>
                <a:gd name="T13" fmla="*/ 16 h 95"/>
                <a:gd name="T14" fmla="*/ 38 w 291"/>
                <a:gd name="T15" fmla="*/ 15 h 95"/>
                <a:gd name="T16" fmla="*/ 76 w 291"/>
                <a:gd name="T17" fmla="*/ 19 h 95"/>
                <a:gd name="T18" fmla="*/ 37 w 291"/>
                <a:gd name="T19" fmla="*/ 40 h 95"/>
                <a:gd name="T20" fmla="*/ 34 w 291"/>
                <a:gd name="T21" fmla="*/ 62 h 95"/>
                <a:gd name="T22" fmla="*/ 32 w 291"/>
                <a:gd name="T23" fmla="*/ 63 h 95"/>
                <a:gd name="T24" fmla="*/ 106 w 291"/>
                <a:gd name="T25" fmla="*/ 3 h 95"/>
                <a:gd name="T26" fmla="*/ 125 w 291"/>
                <a:gd name="T27" fmla="*/ 14 h 95"/>
                <a:gd name="T28" fmla="*/ 96 w 291"/>
                <a:gd name="T29" fmla="*/ 18 h 95"/>
                <a:gd name="T30" fmla="*/ 100 w 291"/>
                <a:gd name="T31" fmla="*/ 31 h 95"/>
                <a:gd name="T32" fmla="*/ 111 w 291"/>
                <a:gd name="T33" fmla="*/ 34 h 95"/>
                <a:gd name="T34" fmla="*/ 101 w 291"/>
                <a:gd name="T35" fmla="*/ 46 h 95"/>
                <a:gd name="T36" fmla="*/ 112 w 291"/>
                <a:gd name="T37" fmla="*/ 49 h 95"/>
                <a:gd name="T38" fmla="*/ 127 w 291"/>
                <a:gd name="T39" fmla="*/ 61 h 95"/>
                <a:gd name="T40" fmla="*/ 102 w 291"/>
                <a:gd name="T41" fmla="*/ 57 h 95"/>
                <a:gd name="T42" fmla="*/ 107 w 291"/>
                <a:gd name="T43" fmla="*/ 82 h 95"/>
                <a:gd name="T44" fmla="*/ 125 w 291"/>
                <a:gd name="T45" fmla="*/ 64 h 95"/>
                <a:gd name="T46" fmla="*/ 107 w 291"/>
                <a:gd name="T47" fmla="*/ 63 h 95"/>
                <a:gd name="T48" fmla="*/ 160 w 291"/>
                <a:gd name="T49" fmla="*/ 16 h 95"/>
                <a:gd name="T50" fmla="*/ 147 w 291"/>
                <a:gd name="T51" fmla="*/ 9 h 95"/>
                <a:gd name="T52" fmla="*/ 138 w 291"/>
                <a:gd name="T53" fmla="*/ 16 h 95"/>
                <a:gd name="T54" fmla="*/ 130 w 291"/>
                <a:gd name="T55" fmla="*/ 59 h 95"/>
                <a:gd name="T56" fmla="*/ 121 w 291"/>
                <a:gd name="T57" fmla="*/ 92 h 95"/>
                <a:gd name="T58" fmla="*/ 141 w 291"/>
                <a:gd name="T59" fmla="*/ 85 h 95"/>
                <a:gd name="T60" fmla="*/ 157 w 291"/>
                <a:gd name="T61" fmla="*/ 19 h 95"/>
                <a:gd name="T62" fmla="*/ 138 w 291"/>
                <a:gd name="T63" fmla="*/ 29 h 95"/>
                <a:gd name="T64" fmla="*/ 138 w 291"/>
                <a:gd name="T65" fmla="*/ 42 h 95"/>
                <a:gd name="T66" fmla="*/ 138 w 291"/>
                <a:gd name="T67" fmla="*/ 44 h 95"/>
                <a:gd name="T68" fmla="*/ 181 w 291"/>
                <a:gd name="T69" fmla="*/ 29 h 95"/>
                <a:gd name="T70" fmla="*/ 181 w 291"/>
                <a:gd name="T71" fmla="*/ 85 h 95"/>
                <a:gd name="T72" fmla="*/ 174 w 291"/>
                <a:gd name="T73" fmla="*/ 85 h 95"/>
                <a:gd name="T74" fmla="*/ 162 w 291"/>
                <a:gd name="T75" fmla="*/ 33 h 95"/>
                <a:gd name="T76" fmla="*/ 184 w 291"/>
                <a:gd name="T77" fmla="*/ 6 h 95"/>
                <a:gd name="T78" fmla="*/ 161 w 291"/>
                <a:gd name="T79" fmla="*/ 41 h 95"/>
                <a:gd name="T80" fmla="*/ 167 w 291"/>
                <a:gd name="T81" fmla="*/ 56 h 95"/>
                <a:gd name="T82" fmla="*/ 232 w 291"/>
                <a:gd name="T83" fmla="*/ 15 h 95"/>
                <a:gd name="T84" fmla="*/ 201 w 291"/>
                <a:gd name="T85" fmla="*/ 10 h 95"/>
                <a:gd name="T86" fmla="*/ 206 w 291"/>
                <a:gd name="T87" fmla="*/ 72 h 95"/>
                <a:gd name="T88" fmla="*/ 228 w 291"/>
                <a:gd name="T89" fmla="*/ 17 h 95"/>
                <a:gd name="T90" fmla="*/ 223 w 291"/>
                <a:gd name="T91" fmla="*/ 41 h 95"/>
                <a:gd name="T92" fmla="*/ 206 w 291"/>
                <a:gd name="T93" fmla="*/ 44 h 95"/>
                <a:gd name="T94" fmla="*/ 282 w 291"/>
                <a:gd name="T95" fmla="*/ 26 h 95"/>
                <a:gd name="T96" fmla="*/ 291 w 291"/>
                <a:gd name="T97" fmla="*/ 12 h 95"/>
                <a:gd name="T98" fmla="*/ 233 w 291"/>
                <a:gd name="T99" fmla="*/ 12 h 95"/>
                <a:gd name="T100" fmla="*/ 240 w 291"/>
                <a:gd name="T101" fmla="*/ 30 h 95"/>
                <a:gd name="T102" fmla="*/ 240 w 291"/>
                <a:gd name="T103" fmla="*/ 90 h 95"/>
                <a:gd name="T104" fmla="*/ 285 w 291"/>
                <a:gd name="T105" fmla="*/ 89 h 95"/>
                <a:gd name="T106" fmla="*/ 255 w 291"/>
                <a:gd name="T107" fmla="*/ 12 h 95"/>
                <a:gd name="T108" fmla="*/ 255 w 291"/>
                <a:gd name="T109" fmla="*/ 12 h 95"/>
                <a:gd name="T110" fmla="*/ 240 w 291"/>
                <a:gd name="T111" fmla="*/ 69 h 95"/>
                <a:gd name="T112" fmla="*/ 252 w 291"/>
                <a:gd name="T113" fmla="*/ 55 h 95"/>
                <a:gd name="T114" fmla="*/ 269 w 291"/>
                <a:gd name="T115" fmla="*/ 64 h 95"/>
                <a:gd name="T116" fmla="*/ 271 w 291"/>
                <a:gd name="T117" fmla="*/ 59 h 95"/>
                <a:gd name="T118" fmla="*/ 279 w 291"/>
                <a:gd name="T119"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95">
                  <a:moveTo>
                    <a:pt x="46" y="41"/>
                  </a:moveTo>
                  <a:cubicBezTo>
                    <a:pt x="53" y="48"/>
                    <a:pt x="53" y="48"/>
                    <a:pt x="53" y="48"/>
                  </a:cubicBezTo>
                  <a:cubicBezTo>
                    <a:pt x="49" y="49"/>
                    <a:pt x="49" y="49"/>
                    <a:pt x="49" y="49"/>
                  </a:cubicBezTo>
                  <a:cubicBezTo>
                    <a:pt x="48" y="49"/>
                    <a:pt x="46" y="51"/>
                    <a:pt x="42" y="54"/>
                  </a:cubicBezTo>
                  <a:cubicBezTo>
                    <a:pt x="74" y="54"/>
                    <a:pt x="74" y="54"/>
                    <a:pt x="74" y="54"/>
                  </a:cubicBezTo>
                  <a:cubicBezTo>
                    <a:pt x="78" y="50"/>
                    <a:pt x="78" y="50"/>
                    <a:pt x="78" y="50"/>
                  </a:cubicBezTo>
                  <a:cubicBezTo>
                    <a:pt x="85" y="56"/>
                    <a:pt x="85" y="56"/>
                    <a:pt x="85" y="56"/>
                  </a:cubicBezTo>
                  <a:cubicBezTo>
                    <a:pt x="80" y="59"/>
                    <a:pt x="80" y="59"/>
                    <a:pt x="80" y="59"/>
                  </a:cubicBezTo>
                  <a:cubicBezTo>
                    <a:pt x="67" y="73"/>
                    <a:pt x="54" y="82"/>
                    <a:pt x="41" y="86"/>
                  </a:cubicBezTo>
                  <a:cubicBezTo>
                    <a:pt x="27" y="91"/>
                    <a:pt x="14" y="94"/>
                    <a:pt x="0" y="95"/>
                  </a:cubicBezTo>
                  <a:cubicBezTo>
                    <a:pt x="0" y="93"/>
                    <a:pt x="0" y="93"/>
                    <a:pt x="0" y="93"/>
                  </a:cubicBezTo>
                  <a:cubicBezTo>
                    <a:pt x="15" y="91"/>
                    <a:pt x="29" y="87"/>
                    <a:pt x="41" y="82"/>
                  </a:cubicBezTo>
                  <a:cubicBezTo>
                    <a:pt x="53" y="76"/>
                    <a:pt x="64" y="68"/>
                    <a:pt x="74" y="56"/>
                  </a:cubicBezTo>
                  <a:cubicBezTo>
                    <a:pt x="41" y="56"/>
                    <a:pt x="41" y="56"/>
                    <a:pt x="41" y="56"/>
                  </a:cubicBezTo>
                  <a:cubicBezTo>
                    <a:pt x="31" y="63"/>
                    <a:pt x="20" y="69"/>
                    <a:pt x="7" y="74"/>
                  </a:cubicBezTo>
                  <a:cubicBezTo>
                    <a:pt x="6" y="72"/>
                    <a:pt x="6" y="72"/>
                    <a:pt x="6" y="72"/>
                  </a:cubicBezTo>
                  <a:cubicBezTo>
                    <a:pt x="15" y="68"/>
                    <a:pt x="22" y="64"/>
                    <a:pt x="28" y="59"/>
                  </a:cubicBezTo>
                  <a:cubicBezTo>
                    <a:pt x="35" y="54"/>
                    <a:pt x="41" y="48"/>
                    <a:pt x="46" y="41"/>
                  </a:cubicBezTo>
                  <a:close/>
                  <a:moveTo>
                    <a:pt x="36" y="17"/>
                  </a:moveTo>
                  <a:cubicBezTo>
                    <a:pt x="31" y="20"/>
                    <a:pt x="31" y="20"/>
                    <a:pt x="31" y="20"/>
                  </a:cubicBezTo>
                  <a:cubicBezTo>
                    <a:pt x="36" y="23"/>
                    <a:pt x="40" y="26"/>
                    <a:pt x="41" y="28"/>
                  </a:cubicBezTo>
                  <a:cubicBezTo>
                    <a:pt x="42" y="30"/>
                    <a:pt x="42" y="32"/>
                    <a:pt x="40" y="34"/>
                  </a:cubicBezTo>
                  <a:cubicBezTo>
                    <a:pt x="38" y="37"/>
                    <a:pt x="37" y="36"/>
                    <a:pt x="36" y="33"/>
                  </a:cubicBezTo>
                  <a:cubicBezTo>
                    <a:pt x="35" y="30"/>
                    <a:pt x="33" y="26"/>
                    <a:pt x="30" y="21"/>
                  </a:cubicBezTo>
                  <a:cubicBezTo>
                    <a:pt x="26" y="23"/>
                    <a:pt x="22" y="25"/>
                    <a:pt x="18" y="27"/>
                  </a:cubicBezTo>
                  <a:cubicBezTo>
                    <a:pt x="14" y="29"/>
                    <a:pt x="9" y="32"/>
                    <a:pt x="4" y="34"/>
                  </a:cubicBezTo>
                  <a:cubicBezTo>
                    <a:pt x="3" y="32"/>
                    <a:pt x="3" y="32"/>
                    <a:pt x="3" y="32"/>
                  </a:cubicBezTo>
                  <a:cubicBezTo>
                    <a:pt x="14" y="27"/>
                    <a:pt x="22" y="22"/>
                    <a:pt x="28" y="16"/>
                  </a:cubicBezTo>
                  <a:cubicBezTo>
                    <a:pt x="35" y="10"/>
                    <a:pt x="40" y="5"/>
                    <a:pt x="42" y="1"/>
                  </a:cubicBezTo>
                  <a:cubicBezTo>
                    <a:pt x="49" y="7"/>
                    <a:pt x="49" y="7"/>
                    <a:pt x="49" y="7"/>
                  </a:cubicBezTo>
                  <a:cubicBezTo>
                    <a:pt x="45" y="9"/>
                    <a:pt x="45" y="9"/>
                    <a:pt x="45" y="9"/>
                  </a:cubicBezTo>
                  <a:cubicBezTo>
                    <a:pt x="38" y="15"/>
                    <a:pt x="38" y="15"/>
                    <a:pt x="38" y="15"/>
                  </a:cubicBezTo>
                  <a:cubicBezTo>
                    <a:pt x="68" y="15"/>
                    <a:pt x="68" y="15"/>
                    <a:pt x="68" y="15"/>
                  </a:cubicBezTo>
                  <a:cubicBezTo>
                    <a:pt x="73" y="10"/>
                    <a:pt x="73" y="10"/>
                    <a:pt x="73" y="10"/>
                  </a:cubicBezTo>
                  <a:cubicBezTo>
                    <a:pt x="80" y="18"/>
                    <a:pt x="80" y="18"/>
                    <a:pt x="80" y="18"/>
                  </a:cubicBezTo>
                  <a:cubicBezTo>
                    <a:pt x="76" y="19"/>
                    <a:pt x="76" y="19"/>
                    <a:pt x="76" y="19"/>
                  </a:cubicBezTo>
                  <a:cubicBezTo>
                    <a:pt x="68" y="26"/>
                    <a:pt x="58" y="33"/>
                    <a:pt x="47" y="40"/>
                  </a:cubicBezTo>
                  <a:cubicBezTo>
                    <a:pt x="36" y="46"/>
                    <a:pt x="21" y="50"/>
                    <a:pt x="1" y="53"/>
                  </a:cubicBezTo>
                  <a:cubicBezTo>
                    <a:pt x="1" y="52"/>
                    <a:pt x="1" y="52"/>
                    <a:pt x="1" y="52"/>
                  </a:cubicBezTo>
                  <a:cubicBezTo>
                    <a:pt x="14" y="49"/>
                    <a:pt x="26" y="45"/>
                    <a:pt x="37" y="40"/>
                  </a:cubicBezTo>
                  <a:cubicBezTo>
                    <a:pt x="48" y="35"/>
                    <a:pt x="59" y="28"/>
                    <a:pt x="68" y="17"/>
                  </a:cubicBezTo>
                  <a:cubicBezTo>
                    <a:pt x="36" y="17"/>
                    <a:pt x="36" y="17"/>
                    <a:pt x="36" y="17"/>
                  </a:cubicBezTo>
                  <a:cubicBezTo>
                    <a:pt x="36" y="17"/>
                    <a:pt x="36" y="17"/>
                    <a:pt x="36" y="17"/>
                  </a:cubicBezTo>
                  <a:close/>
                  <a:moveTo>
                    <a:pt x="34" y="62"/>
                  </a:moveTo>
                  <a:cubicBezTo>
                    <a:pt x="39" y="65"/>
                    <a:pt x="41" y="68"/>
                    <a:pt x="43" y="71"/>
                  </a:cubicBezTo>
                  <a:cubicBezTo>
                    <a:pt x="44" y="73"/>
                    <a:pt x="44" y="76"/>
                    <a:pt x="41" y="78"/>
                  </a:cubicBezTo>
                  <a:cubicBezTo>
                    <a:pt x="39" y="80"/>
                    <a:pt x="37" y="80"/>
                    <a:pt x="37" y="76"/>
                  </a:cubicBezTo>
                  <a:cubicBezTo>
                    <a:pt x="36" y="72"/>
                    <a:pt x="35" y="68"/>
                    <a:pt x="32" y="63"/>
                  </a:cubicBezTo>
                  <a:cubicBezTo>
                    <a:pt x="34" y="62"/>
                    <a:pt x="34" y="62"/>
                    <a:pt x="34" y="62"/>
                  </a:cubicBezTo>
                  <a:cubicBezTo>
                    <a:pt x="34" y="62"/>
                    <a:pt x="34" y="62"/>
                    <a:pt x="34" y="62"/>
                  </a:cubicBezTo>
                  <a:close/>
                  <a:moveTo>
                    <a:pt x="105" y="4"/>
                  </a:moveTo>
                  <a:cubicBezTo>
                    <a:pt x="106" y="3"/>
                    <a:pt x="106" y="3"/>
                    <a:pt x="106" y="3"/>
                  </a:cubicBezTo>
                  <a:cubicBezTo>
                    <a:pt x="112" y="6"/>
                    <a:pt x="116" y="9"/>
                    <a:pt x="117" y="11"/>
                  </a:cubicBezTo>
                  <a:cubicBezTo>
                    <a:pt x="118" y="13"/>
                    <a:pt x="117" y="16"/>
                    <a:pt x="114" y="18"/>
                  </a:cubicBezTo>
                  <a:cubicBezTo>
                    <a:pt x="121" y="18"/>
                    <a:pt x="121" y="18"/>
                    <a:pt x="121" y="18"/>
                  </a:cubicBezTo>
                  <a:cubicBezTo>
                    <a:pt x="125" y="14"/>
                    <a:pt x="125" y="14"/>
                    <a:pt x="125" y="14"/>
                  </a:cubicBezTo>
                  <a:cubicBezTo>
                    <a:pt x="131" y="20"/>
                    <a:pt x="131" y="20"/>
                    <a:pt x="131" y="20"/>
                  </a:cubicBezTo>
                  <a:cubicBezTo>
                    <a:pt x="107" y="20"/>
                    <a:pt x="107" y="20"/>
                    <a:pt x="107" y="20"/>
                  </a:cubicBezTo>
                  <a:cubicBezTo>
                    <a:pt x="105" y="20"/>
                    <a:pt x="103" y="21"/>
                    <a:pt x="99" y="22"/>
                  </a:cubicBezTo>
                  <a:cubicBezTo>
                    <a:pt x="96" y="18"/>
                    <a:pt x="96" y="18"/>
                    <a:pt x="96" y="18"/>
                  </a:cubicBezTo>
                  <a:cubicBezTo>
                    <a:pt x="112" y="18"/>
                    <a:pt x="112" y="18"/>
                    <a:pt x="112" y="18"/>
                  </a:cubicBezTo>
                  <a:cubicBezTo>
                    <a:pt x="112" y="16"/>
                    <a:pt x="112" y="15"/>
                    <a:pt x="111" y="13"/>
                  </a:cubicBezTo>
                  <a:cubicBezTo>
                    <a:pt x="110" y="10"/>
                    <a:pt x="108" y="8"/>
                    <a:pt x="105" y="4"/>
                  </a:cubicBezTo>
                  <a:close/>
                  <a:moveTo>
                    <a:pt x="100" y="31"/>
                  </a:moveTo>
                  <a:cubicBezTo>
                    <a:pt x="118" y="31"/>
                    <a:pt x="118" y="31"/>
                    <a:pt x="118" y="31"/>
                  </a:cubicBezTo>
                  <a:cubicBezTo>
                    <a:pt x="122" y="28"/>
                    <a:pt x="122" y="28"/>
                    <a:pt x="122" y="28"/>
                  </a:cubicBezTo>
                  <a:cubicBezTo>
                    <a:pt x="128" y="34"/>
                    <a:pt x="128" y="34"/>
                    <a:pt x="128" y="34"/>
                  </a:cubicBezTo>
                  <a:cubicBezTo>
                    <a:pt x="111" y="34"/>
                    <a:pt x="111" y="34"/>
                    <a:pt x="111" y="34"/>
                  </a:cubicBezTo>
                  <a:cubicBezTo>
                    <a:pt x="109" y="34"/>
                    <a:pt x="106" y="34"/>
                    <a:pt x="103" y="35"/>
                  </a:cubicBezTo>
                  <a:cubicBezTo>
                    <a:pt x="100" y="31"/>
                    <a:pt x="100" y="31"/>
                    <a:pt x="100" y="31"/>
                  </a:cubicBezTo>
                  <a:cubicBezTo>
                    <a:pt x="100" y="31"/>
                    <a:pt x="100" y="31"/>
                    <a:pt x="100" y="31"/>
                  </a:cubicBezTo>
                  <a:close/>
                  <a:moveTo>
                    <a:pt x="101" y="46"/>
                  </a:moveTo>
                  <a:cubicBezTo>
                    <a:pt x="118" y="46"/>
                    <a:pt x="118" y="46"/>
                    <a:pt x="118" y="46"/>
                  </a:cubicBezTo>
                  <a:cubicBezTo>
                    <a:pt x="122" y="42"/>
                    <a:pt x="122" y="42"/>
                    <a:pt x="122" y="42"/>
                  </a:cubicBezTo>
                  <a:cubicBezTo>
                    <a:pt x="128" y="49"/>
                    <a:pt x="128" y="49"/>
                    <a:pt x="128" y="49"/>
                  </a:cubicBezTo>
                  <a:cubicBezTo>
                    <a:pt x="112" y="49"/>
                    <a:pt x="112" y="49"/>
                    <a:pt x="112" y="49"/>
                  </a:cubicBezTo>
                  <a:cubicBezTo>
                    <a:pt x="110" y="49"/>
                    <a:pt x="107" y="49"/>
                    <a:pt x="104" y="50"/>
                  </a:cubicBezTo>
                  <a:cubicBezTo>
                    <a:pt x="101" y="46"/>
                    <a:pt x="101" y="46"/>
                    <a:pt x="101" y="46"/>
                  </a:cubicBezTo>
                  <a:cubicBezTo>
                    <a:pt x="101" y="46"/>
                    <a:pt x="101" y="46"/>
                    <a:pt x="101" y="46"/>
                  </a:cubicBezTo>
                  <a:close/>
                  <a:moveTo>
                    <a:pt x="127" y="61"/>
                  </a:moveTo>
                  <a:cubicBezTo>
                    <a:pt x="127" y="61"/>
                    <a:pt x="127" y="61"/>
                    <a:pt x="122" y="56"/>
                  </a:cubicBezTo>
                  <a:cubicBezTo>
                    <a:pt x="122" y="56"/>
                    <a:pt x="122" y="56"/>
                    <a:pt x="120" y="60"/>
                  </a:cubicBezTo>
                  <a:cubicBezTo>
                    <a:pt x="120" y="60"/>
                    <a:pt x="120" y="60"/>
                    <a:pt x="108" y="60"/>
                  </a:cubicBezTo>
                  <a:cubicBezTo>
                    <a:pt x="108" y="60"/>
                    <a:pt x="108" y="60"/>
                    <a:pt x="102" y="57"/>
                  </a:cubicBezTo>
                  <a:cubicBezTo>
                    <a:pt x="102" y="60"/>
                    <a:pt x="102" y="66"/>
                    <a:pt x="102" y="74"/>
                  </a:cubicBezTo>
                  <a:cubicBezTo>
                    <a:pt x="102" y="82"/>
                    <a:pt x="102" y="88"/>
                    <a:pt x="102" y="90"/>
                  </a:cubicBezTo>
                  <a:cubicBezTo>
                    <a:pt x="102" y="90"/>
                    <a:pt x="102" y="90"/>
                    <a:pt x="107" y="88"/>
                  </a:cubicBezTo>
                  <a:cubicBezTo>
                    <a:pt x="107" y="88"/>
                    <a:pt x="107" y="88"/>
                    <a:pt x="107" y="82"/>
                  </a:cubicBezTo>
                  <a:cubicBezTo>
                    <a:pt x="107" y="82"/>
                    <a:pt x="107" y="82"/>
                    <a:pt x="120" y="82"/>
                  </a:cubicBezTo>
                  <a:cubicBezTo>
                    <a:pt x="120" y="82"/>
                    <a:pt x="120" y="82"/>
                    <a:pt x="120" y="87"/>
                  </a:cubicBezTo>
                  <a:cubicBezTo>
                    <a:pt x="120" y="87"/>
                    <a:pt x="120" y="87"/>
                    <a:pt x="125" y="84"/>
                  </a:cubicBezTo>
                  <a:cubicBezTo>
                    <a:pt x="125" y="79"/>
                    <a:pt x="125" y="73"/>
                    <a:pt x="125" y="64"/>
                  </a:cubicBezTo>
                  <a:cubicBezTo>
                    <a:pt x="125" y="64"/>
                    <a:pt x="125" y="64"/>
                    <a:pt x="127" y="61"/>
                  </a:cubicBezTo>
                  <a:close/>
                  <a:moveTo>
                    <a:pt x="120" y="80"/>
                  </a:moveTo>
                  <a:cubicBezTo>
                    <a:pt x="120" y="80"/>
                    <a:pt x="120" y="80"/>
                    <a:pt x="107" y="80"/>
                  </a:cubicBezTo>
                  <a:cubicBezTo>
                    <a:pt x="107" y="80"/>
                    <a:pt x="107" y="80"/>
                    <a:pt x="107" y="63"/>
                  </a:cubicBezTo>
                  <a:cubicBezTo>
                    <a:pt x="120" y="63"/>
                    <a:pt x="120" y="63"/>
                    <a:pt x="120" y="63"/>
                  </a:cubicBezTo>
                  <a:cubicBezTo>
                    <a:pt x="120" y="63"/>
                    <a:pt x="120" y="63"/>
                    <a:pt x="120" y="80"/>
                  </a:cubicBezTo>
                  <a:close/>
                  <a:moveTo>
                    <a:pt x="157" y="19"/>
                  </a:moveTo>
                  <a:cubicBezTo>
                    <a:pt x="157" y="19"/>
                    <a:pt x="157" y="19"/>
                    <a:pt x="160" y="16"/>
                  </a:cubicBezTo>
                  <a:cubicBezTo>
                    <a:pt x="160" y="16"/>
                    <a:pt x="160" y="16"/>
                    <a:pt x="154" y="12"/>
                  </a:cubicBezTo>
                  <a:cubicBezTo>
                    <a:pt x="154" y="12"/>
                    <a:pt x="154" y="12"/>
                    <a:pt x="152" y="16"/>
                  </a:cubicBezTo>
                  <a:cubicBezTo>
                    <a:pt x="152" y="16"/>
                    <a:pt x="152" y="16"/>
                    <a:pt x="143" y="16"/>
                  </a:cubicBezTo>
                  <a:cubicBezTo>
                    <a:pt x="144" y="13"/>
                    <a:pt x="146" y="11"/>
                    <a:pt x="147" y="9"/>
                  </a:cubicBezTo>
                  <a:cubicBezTo>
                    <a:pt x="149" y="6"/>
                    <a:pt x="150" y="5"/>
                    <a:pt x="151" y="4"/>
                  </a:cubicBezTo>
                  <a:cubicBezTo>
                    <a:pt x="151" y="4"/>
                    <a:pt x="151" y="4"/>
                    <a:pt x="144" y="0"/>
                  </a:cubicBezTo>
                  <a:cubicBezTo>
                    <a:pt x="144" y="4"/>
                    <a:pt x="143" y="9"/>
                    <a:pt x="141" y="16"/>
                  </a:cubicBezTo>
                  <a:cubicBezTo>
                    <a:pt x="141" y="16"/>
                    <a:pt x="141" y="16"/>
                    <a:pt x="138" y="16"/>
                  </a:cubicBezTo>
                  <a:cubicBezTo>
                    <a:pt x="138" y="16"/>
                    <a:pt x="138" y="16"/>
                    <a:pt x="133" y="13"/>
                  </a:cubicBezTo>
                  <a:cubicBezTo>
                    <a:pt x="133" y="13"/>
                    <a:pt x="133" y="13"/>
                    <a:pt x="133" y="55"/>
                  </a:cubicBezTo>
                  <a:cubicBezTo>
                    <a:pt x="126" y="55"/>
                    <a:pt x="126" y="55"/>
                    <a:pt x="126" y="55"/>
                  </a:cubicBezTo>
                  <a:cubicBezTo>
                    <a:pt x="126" y="55"/>
                    <a:pt x="126" y="55"/>
                    <a:pt x="130" y="59"/>
                  </a:cubicBezTo>
                  <a:cubicBezTo>
                    <a:pt x="133" y="58"/>
                    <a:pt x="135" y="58"/>
                    <a:pt x="137" y="58"/>
                  </a:cubicBezTo>
                  <a:cubicBezTo>
                    <a:pt x="137" y="58"/>
                    <a:pt x="137" y="58"/>
                    <a:pt x="147" y="58"/>
                  </a:cubicBezTo>
                  <a:cubicBezTo>
                    <a:pt x="141" y="71"/>
                    <a:pt x="132" y="82"/>
                    <a:pt x="120" y="91"/>
                  </a:cubicBezTo>
                  <a:cubicBezTo>
                    <a:pt x="120" y="91"/>
                    <a:pt x="120" y="91"/>
                    <a:pt x="121" y="92"/>
                  </a:cubicBezTo>
                  <a:cubicBezTo>
                    <a:pt x="135" y="85"/>
                    <a:pt x="145" y="74"/>
                    <a:pt x="153" y="58"/>
                  </a:cubicBezTo>
                  <a:cubicBezTo>
                    <a:pt x="153" y="58"/>
                    <a:pt x="153" y="58"/>
                    <a:pt x="153" y="82"/>
                  </a:cubicBezTo>
                  <a:cubicBezTo>
                    <a:pt x="153" y="84"/>
                    <a:pt x="152" y="85"/>
                    <a:pt x="150" y="85"/>
                  </a:cubicBezTo>
                  <a:cubicBezTo>
                    <a:pt x="148" y="85"/>
                    <a:pt x="146" y="85"/>
                    <a:pt x="141" y="85"/>
                  </a:cubicBezTo>
                  <a:cubicBezTo>
                    <a:pt x="141" y="85"/>
                    <a:pt x="141" y="85"/>
                    <a:pt x="141" y="86"/>
                  </a:cubicBezTo>
                  <a:cubicBezTo>
                    <a:pt x="146" y="88"/>
                    <a:pt x="150" y="90"/>
                    <a:pt x="150" y="94"/>
                  </a:cubicBezTo>
                  <a:cubicBezTo>
                    <a:pt x="155" y="92"/>
                    <a:pt x="158" y="89"/>
                    <a:pt x="157" y="85"/>
                  </a:cubicBezTo>
                  <a:cubicBezTo>
                    <a:pt x="157" y="85"/>
                    <a:pt x="157" y="85"/>
                    <a:pt x="157" y="19"/>
                  </a:cubicBezTo>
                  <a:close/>
                  <a:moveTo>
                    <a:pt x="138" y="18"/>
                  </a:moveTo>
                  <a:cubicBezTo>
                    <a:pt x="153" y="18"/>
                    <a:pt x="153" y="18"/>
                    <a:pt x="153" y="18"/>
                  </a:cubicBezTo>
                  <a:cubicBezTo>
                    <a:pt x="153" y="18"/>
                    <a:pt x="153" y="18"/>
                    <a:pt x="153" y="29"/>
                  </a:cubicBezTo>
                  <a:cubicBezTo>
                    <a:pt x="153" y="29"/>
                    <a:pt x="153" y="29"/>
                    <a:pt x="138" y="29"/>
                  </a:cubicBezTo>
                  <a:cubicBezTo>
                    <a:pt x="138" y="29"/>
                    <a:pt x="138" y="29"/>
                    <a:pt x="138" y="18"/>
                  </a:cubicBezTo>
                  <a:close/>
                  <a:moveTo>
                    <a:pt x="153" y="31"/>
                  </a:moveTo>
                  <a:cubicBezTo>
                    <a:pt x="153" y="31"/>
                    <a:pt x="153" y="31"/>
                    <a:pt x="153" y="42"/>
                  </a:cubicBezTo>
                  <a:cubicBezTo>
                    <a:pt x="153" y="42"/>
                    <a:pt x="153" y="42"/>
                    <a:pt x="138" y="42"/>
                  </a:cubicBezTo>
                  <a:cubicBezTo>
                    <a:pt x="138" y="42"/>
                    <a:pt x="138" y="42"/>
                    <a:pt x="138" y="31"/>
                  </a:cubicBezTo>
                  <a:lnTo>
                    <a:pt x="153" y="31"/>
                  </a:lnTo>
                  <a:close/>
                  <a:moveTo>
                    <a:pt x="138" y="55"/>
                  </a:moveTo>
                  <a:cubicBezTo>
                    <a:pt x="138" y="55"/>
                    <a:pt x="138" y="55"/>
                    <a:pt x="138" y="44"/>
                  </a:cubicBezTo>
                  <a:cubicBezTo>
                    <a:pt x="153" y="44"/>
                    <a:pt x="153" y="44"/>
                    <a:pt x="153" y="44"/>
                  </a:cubicBezTo>
                  <a:cubicBezTo>
                    <a:pt x="153" y="44"/>
                    <a:pt x="153" y="44"/>
                    <a:pt x="153" y="55"/>
                  </a:cubicBezTo>
                  <a:cubicBezTo>
                    <a:pt x="153" y="55"/>
                    <a:pt x="153" y="55"/>
                    <a:pt x="138" y="55"/>
                  </a:cubicBezTo>
                  <a:close/>
                  <a:moveTo>
                    <a:pt x="181" y="29"/>
                  </a:moveTo>
                  <a:cubicBezTo>
                    <a:pt x="185" y="25"/>
                    <a:pt x="185" y="25"/>
                    <a:pt x="185" y="25"/>
                  </a:cubicBezTo>
                  <a:cubicBezTo>
                    <a:pt x="191" y="31"/>
                    <a:pt x="191" y="31"/>
                    <a:pt x="191" y="31"/>
                  </a:cubicBezTo>
                  <a:cubicBezTo>
                    <a:pt x="181" y="31"/>
                    <a:pt x="181" y="31"/>
                    <a:pt x="181" y="31"/>
                  </a:cubicBezTo>
                  <a:cubicBezTo>
                    <a:pt x="181" y="85"/>
                    <a:pt x="181" y="85"/>
                    <a:pt x="181" y="85"/>
                  </a:cubicBezTo>
                  <a:cubicBezTo>
                    <a:pt x="181" y="89"/>
                    <a:pt x="178" y="91"/>
                    <a:pt x="173" y="94"/>
                  </a:cubicBezTo>
                  <a:cubicBezTo>
                    <a:pt x="173" y="90"/>
                    <a:pt x="170" y="87"/>
                    <a:pt x="163" y="85"/>
                  </a:cubicBezTo>
                  <a:cubicBezTo>
                    <a:pt x="163" y="84"/>
                    <a:pt x="163" y="84"/>
                    <a:pt x="163" y="84"/>
                  </a:cubicBezTo>
                  <a:cubicBezTo>
                    <a:pt x="169" y="85"/>
                    <a:pt x="172" y="85"/>
                    <a:pt x="174" y="85"/>
                  </a:cubicBezTo>
                  <a:cubicBezTo>
                    <a:pt x="175" y="85"/>
                    <a:pt x="176" y="84"/>
                    <a:pt x="176" y="82"/>
                  </a:cubicBezTo>
                  <a:cubicBezTo>
                    <a:pt x="176" y="31"/>
                    <a:pt x="176" y="31"/>
                    <a:pt x="176" y="31"/>
                  </a:cubicBezTo>
                  <a:cubicBezTo>
                    <a:pt x="170" y="31"/>
                    <a:pt x="170" y="31"/>
                    <a:pt x="170" y="31"/>
                  </a:cubicBezTo>
                  <a:cubicBezTo>
                    <a:pt x="168" y="31"/>
                    <a:pt x="165" y="32"/>
                    <a:pt x="162" y="33"/>
                  </a:cubicBezTo>
                  <a:cubicBezTo>
                    <a:pt x="159" y="29"/>
                    <a:pt x="159" y="29"/>
                    <a:pt x="159" y="29"/>
                  </a:cubicBezTo>
                  <a:cubicBezTo>
                    <a:pt x="176" y="29"/>
                    <a:pt x="176" y="29"/>
                    <a:pt x="176" y="29"/>
                  </a:cubicBezTo>
                  <a:cubicBezTo>
                    <a:pt x="176" y="16"/>
                    <a:pt x="176" y="7"/>
                    <a:pt x="176" y="3"/>
                  </a:cubicBezTo>
                  <a:cubicBezTo>
                    <a:pt x="184" y="6"/>
                    <a:pt x="184" y="6"/>
                    <a:pt x="184" y="6"/>
                  </a:cubicBezTo>
                  <a:cubicBezTo>
                    <a:pt x="181" y="9"/>
                    <a:pt x="181" y="9"/>
                    <a:pt x="181" y="9"/>
                  </a:cubicBezTo>
                  <a:cubicBezTo>
                    <a:pt x="181" y="29"/>
                    <a:pt x="181" y="29"/>
                    <a:pt x="181" y="29"/>
                  </a:cubicBezTo>
                  <a:cubicBezTo>
                    <a:pt x="181" y="29"/>
                    <a:pt x="181" y="29"/>
                    <a:pt x="181" y="29"/>
                  </a:cubicBezTo>
                  <a:close/>
                  <a:moveTo>
                    <a:pt x="161" y="41"/>
                  </a:moveTo>
                  <a:cubicBezTo>
                    <a:pt x="167" y="45"/>
                    <a:pt x="171" y="48"/>
                    <a:pt x="172" y="50"/>
                  </a:cubicBezTo>
                  <a:cubicBezTo>
                    <a:pt x="173" y="53"/>
                    <a:pt x="173" y="54"/>
                    <a:pt x="172" y="56"/>
                  </a:cubicBezTo>
                  <a:cubicBezTo>
                    <a:pt x="171" y="57"/>
                    <a:pt x="171" y="59"/>
                    <a:pt x="169" y="60"/>
                  </a:cubicBezTo>
                  <a:cubicBezTo>
                    <a:pt x="168" y="60"/>
                    <a:pt x="167" y="59"/>
                    <a:pt x="167" y="56"/>
                  </a:cubicBezTo>
                  <a:cubicBezTo>
                    <a:pt x="166" y="52"/>
                    <a:pt x="163" y="48"/>
                    <a:pt x="160" y="43"/>
                  </a:cubicBezTo>
                  <a:cubicBezTo>
                    <a:pt x="161" y="41"/>
                    <a:pt x="161" y="41"/>
                    <a:pt x="161" y="41"/>
                  </a:cubicBezTo>
                  <a:cubicBezTo>
                    <a:pt x="161" y="41"/>
                    <a:pt x="161" y="41"/>
                    <a:pt x="161" y="41"/>
                  </a:cubicBezTo>
                  <a:close/>
                  <a:moveTo>
                    <a:pt x="232" y="15"/>
                  </a:moveTo>
                  <a:cubicBezTo>
                    <a:pt x="232" y="15"/>
                    <a:pt x="232" y="15"/>
                    <a:pt x="225" y="10"/>
                  </a:cubicBezTo>
                  <a:cubicBezTo>
                    <a:pt x="225" y="10"/>
                    <a:pt x="225" y="10"/>
                    <a:pt x="222" y="13"/>
                  </a:cubicBezTo>
                  <a:cubicBezTo>
                    <a:pt x="222" y="13"/>
                    <a:pt x="222" y="13"/>
                    <a:pt x="206" y="13"/>
                  </a:cubicBezTo>
                  <a:cubicBezTo>
                    <a:pt x="206" y="13"/>
                    <a:pt x="206" y="13"/>
                    <a:pt x="201" y="10"/>
                  </a:cubicBezTo>
                  <a:cubicBezTo>
                    <a:pt x="201" y="16"/>
                    <a:pt x="201" y="28"/>
                    <a:pt x="201" y="47"/>
                  </a:cubicBezTo>
                  <a:cubicBezTo>
                    <a:pt x="201" y="66"/>
                    <a:pt x="201" y="78"/>
                    <a:pt x="201" y="83"/>
                  </a:cubicBezTo>
                  <a:cubicBezTo>
                    <a:pt x="206" y="80"/>
                    <a:pt x="206" y="80"/>
                    <a:pt x="206" y="80"/>
                  </a:cubicBezTo>
                  <a:cubicBezTo>
                    <a:pt x="206" y="80"/>
                    <a:pt x="206" y="80"/>
                    <a:pt x="206" y="72"/>
                  </a:cubicBezTo>
                  <a:cubicBezTo>
                    <a:pt x="206" y="72"/>
                    <a:pt x="206" y="72"/>
                    <a:pt x="223" y="72"/>
                  </a:cubicBezTo>
                  <a:cubicBezTo>
                    <a:pt x="223" y="72"/>
                    <a:pt x="223" y="72"/>
                    <a:pt x="223" y="79"/>
                  </a:cubicBezTo>
                  <a:cubicBezTo>
                    <a:pt x="223" y="79"/>
                    <a:pt x="223" y="79"/>
                    <a:pt x="229" y="77"/>
                  </a:cubicBezTo>
                  <a:cubicBezTo>
                    <a:pt x="228" y="73"/>
                    <a:pt x="228" y="54"/>
                    <a:pt x="228" y="17"/>
                  </a:cubicBezTo>
                  <a:cubicBezTo>
                    <a:pt x="228" y="17"/>
                    <a:pt x="228" y="17"/>
                    <a:pt x="232" y="15"/>
                  </a:cubicBezTo>
                  <a:close/>
                  <a:moveTo>
                    <a:pt x="206" y="16"/>
                  </a:moveTo>
                  <a:cubicBezTo>
                    <a:pt x="223" y="16"/>
                    <a:pt x="223" y="16"/>
                    <a:pt x="223" y="16"/>
                  </a:cubicBezTo>
                  <a:cubicBezTo>
                    <a:pt x="223" y="16"/>
                    <a:pt x="223" y="16"/>
                    <a:pt x="223" y="41"/>
                  </a:cubicBezTo>
                  <a:cubicBezTo>
                    <a:pt x="223" y="41"/>
                    <a:pt x="223" y="41"/>
                    <a:pt x="206" y="41"/>
                  </a:cubicBezTo>
                  <a:cubicBezTo>
                    <a:pt x="206" y="41"/>
                    <a:pt x="206" y="41"/>
                    <a:pt x="206" y="16"/>
                  </a:cubicBezTo>
                  <a:close/>
                  <a:moveTo>
                    <a:pt x="206" y="69"/>
                  </a:moveTo>
                  <a:cubicBezTo>
                    <a:pt x="206" y="69"/>
                    <a:pt x="206" y="69"/>
                    <a:pt x="206" y="44"/>
                  </a:cubicBezTo>
                  <a:cubicBezTo>
                    <a:pt x="223" y="43"/>
                    <a:pt x="223" y="43"/>
                    <a:pt x="223" y="43"/>
                  </a:cubicBezTo>
                  <a:cubicBezTo>
                    <a:pt x="223" y="43"/>
                    <a:pt x="223" y="43"/>
                    <a:pt x="223" y="69"/>
                  </a:cubicBezTo>
                  <a:cubicBezTo>
                    <a:pt x="223" y="69"/>
                    <a:pt x="223" y="69"/>
                    <a:pt x="206" y="69"/>
                  </a:cubicBezTo>
                  <a:close/>
                  <a:moveTo>
                    <a:pt x="282" y="26"/>
                  </a:moveTo>
                  <a:cubicBezTo>
                    <a:pt x="282" y="26"/>
                    <a:pt x="282" y="26"/>
                    <a:pt x="279" y="29"/>
                  </a:cubicBezTo>
                  <a:cubicBezTo>
                    <a:pt x="279" y="29"/>
                    <a:pt x="279" y="29"/>
                    <a:pt x="268" y="30"/>
                  </a:cubicBezTo>
                  <a:cubicBezTo>
                    <a:pt x="268" y="30"/>
                    <a:pt x="268" y="30"/>
                    <a:pt x="268" y="12"/>
                  </a:cubicBezTo>
                  <a:cubicBezTo>
                    <a:pt x="268" y="12"/>
                    <a:pt x="268" y="12"/>
                    <a:pt x="291" y="12"/>
                  </a:cubicBezTo>
                  <a:cubicBezTo>
                    <a:pt x="291" y="12"/>
                    <a:pt x="291" y="12"/>
                    <a:pt x="284" y="4"/>
                  </a:cubicBezTo>
                  <a:cubicBezTo>
                    <a:pt x="284" y="4"/>
                    <a:pt x="284" y="4"/>
                    <a:pt x="278" y="9"/>
                  </a:cubicBezTo>
                  <a:cubicBezTo>
                    <a:pt x="278" y="9"/>
                    <a:pt x="278" y="9"/>
                    <a:pt x="229" y="9"/>
                  </a:cubicBezTo>
                  <a:cubicBezTo>
                    <a:pt x="229" y="9"/>
                    <a:pt x="229" y="9"/>
                    <a:pt x="233" y="12"/>
                  </a:cubicBezTo>
                  <a:cubicBezTo>
                    <a:pt x="233" y="12"/>
                    <a:pt x="233" y="12"/>
                    <a:pt x="238" y="12"/>
                  </a:cubicBezTo>
                  <a:cubicBezTo>
                    <a:pt x="238" y="12"/>
                    <a:pt x="238" y="12"/>
                    <a:pt x="250" y="12"/>
                  </a:cubicBezTo>
                  <a:cubicBezTo>
                    <a:pt x="250" y="12"/>
                    <a:pt x="250" y="12"/>
                    <a:pt x="250" y="30"/>
                  </a:cubicBezTo>
                  <a:cubicBezTo>
                    <a:pt x="250" y="30"/>
                    <a:pt x="250" y="30"/>
                    <a:pt x="240" y="30"/>
                  </a:cubicBezTo>
                  <a:cubicBezTo>
                    <a:pt x="240" y="30"/>
                    <a:pt x="240" y="30"/>
                    <a:pt x="234" y="26"/>
                  </a:cubicBezTo>
                  <a:cubicBezTo>
                    <a:pt x="234" y="37"/>
                    <a:pt x="235" y="48"/>
                    <a:pt x="235" y="61"/>
                  </a:cubicBezTo>
                  <a:cubicBezTo>
                    <a:pt x="235" y="73"/>
                    <a:pt x="234" y="84"/>
                    <a:pt x="234" y="93"/>
                  </a:cubicBezTo>
                  <a:cubicBezTo>
                    <a:pt x="240" y="90"/>
                    <a:pt x="240" y="90"/>
                    <a:pt x="240" y="90"/>
                  </a:cubicBezTo>
                  <a:cubicBezTo>
                    <a:pt x="240" y="90"/>
                    <a:pt x="240" y="90"/>
                    <a:pt x="240" y="84"/>
                  </a:cubicBezTo>
                  <a:cubicBezTo>
                    <a:pt x="240" y="84"/>
                    <a:pt x="240" y="84"/>
                    <a:pt x="279" y="84"/>
                  </a:cubicBezTo>
                  <a:cubicBezTo>
                    <a:pt x="279" y="84"/>
                    <a:pt x="279" y="84"/>
                    <a:pt x="279" y="91"/>
                  </a:cubicBezTo>
                  <a:cubicBezTo>
                    <a:pt x="279" y="91"/>
                    <a:pt x="279" y="91"/>
                    <a:pt x="285" y="89"/>
                  </a:cubicBezTo>
                  <a:cubicBezTo>
                    <a:pt x="285" y="79"/>
                    <a:pt x="285" y="61"/>
                    <a:pt x="285" y="33"/>
                  </a:cubicBezTo>
                  <a:cubicBezTo>
                    <a:pt x="285" y="33"/>
                    <a:pt x="285" y="33"/>
                    <a:pt x="288" y="31"/>
                  </a:cubicBezTo>
                  <a:cubicBezTo>
                    <a:pt x="288" y="31"/>
                    <a:pt x="288" y="31"/>
                    <a:pt x="282" y="26"/>
                  </a:cubicBezTo>
                  <a:close/>
                  <a:moveTo>
                    <a:pt x="255" y="12"/>
                  </a:moveTo>
                  <a:cubicBezTo>
                    <a:pt x="263" y="12"/>
                    <a:pt x="263" y="12"/>
                    <a:pt x="263" y="12"/>
                  </a:cubicBezTo>
                  <a:cubicBezTo>
                    <a:pt x="263" y="12"/>
                    <a:pt x="263" y="12"/>
                    <a:pt x="263" y="30"/>
                  </a:cubicBezTo>
                  <a:cubicBezTo>
                    <a:pt x="263" y="30"/>
                    <a:pt x="263" y="30"/>
                    <a:pt x="255" y="30"/>
                  </a:cubicBezTo>
                  <a:cubicBezTo>
                    <a:pt x="255" y="30"/>
                    <a:pt x="255" y="30"/>
                    <a:pt x="255" y="12"/>
                  </a:cubicBezTo>
                  <a:close/>
                  <a:moveTo>
                    <a:pt x="240" y="32"/>
                  </a:moveTo>
                  <a:cubicBezTo>
                    <a:pt x="250" y="32"/>
                    <a:pt x="250" y="32"/>
                    <a:pt x="250" y="32"/>
                  </a:cubicBezTo>
                  <a:cubicBezTo>
                    <a:pt x="250" y="40"/>
                    <a:pt x="249" y="47"/>
                    <a:pt x="248" y="53"/>
                  </a:cubicBezTo>
                  <a:cubicBezTo>
                    <a:pt x="247" y="58"/>
                    <a:pt x="244" y="63"/>
                    <a:pt x="240" y="69"/>
                  </a:cubicBezTo>
                  <a:cubicBezTo>
                    <a:pt x="240" y="69"/>
                    <a:pt x="240" y="69"/>
                    <a:pt x="240" y="32"/>
                  </a:cubicBezTo>
                  <a:close/>
                  <a:moveTo>
                    <a:pt x="240" y="81"/>
                  </a:moveTo>
                  <a:cubicBezTo>
                    <a:pt x="240" y="81"/>
                    <a:pt x="240" y="81"/>
                    <a:pt x="240" y="71"/>
                  </a:cubicBezTo>
                  <a:cubicBezTo>
                    <a:pt x="246" y="66"/>
                    <a:pt x="250" y="61"/>
                    <a:pt x="252" y="55"/>
                  </a:cubicBezTo>
                  <a:cubicBezTo>
                    <a:pt x="254" y="49"/>
                    <a:pt x="255" y="41"/>
                    <a:pt x="255" y="32"/>
                  </a:cubicBezTo>
                  <a:cubicBezTo>
                    <a:pt x="263" y="32"/>
                    <a:pt x="263" y="32"/>
                    <a:pt x="263" y="32"/>
                  </a:cubicBezTo>
                  <a:cubicBezTo>
                    <a:pt x="263" y="32"/>
                    <a:pt x="263" y="32"/>
                    <a:pt x="263" y="58"/>
                  </a:cubicBezTo>
                  <a:cubicBezTo>
                    <a:pt x="263" y="62"/>
                    <a:pt x="265" y="64"/>
                    <a:pt x="269" y="64"/>
                  </a:cubicBezTo>
                  <a:cubicBezTo>
                    <a:pt x="269" y="64"/>
                    <a:pt x="269" y="64"/>
                    <a:pt x="273" y="64"/>
                  </a:cubicBezTo>
                  <a:cubicBezTo>
                    <a:pt x="278" y="64"/>
                    <a:pt x="280" y="63"/>
                    <a:pt x="279" y="61"/>
                  </a:cubicBezTo>
                  <a:cubicBezTo>
                    <a:pt x="278" y="58"/>
                    <a:pt x="277" y="57"/>
                    <a:pt x="276" y="58"/>
                  </a:cubicBezTo>
                  <a:cubicBezTo>
                    <a:pt x="274" y="58"/>
                    <a:pt x="273" y="59"/>
                    <a:pt x="271" y="59"/>
                  </a:cubicBezTo>
                  <a:cubicBezTo>
                    <a:pt x="269" y="59"/>
                    <a:pt x="268" y="58"/>
                    <a:pt x="268" y="55"/>
                  </a:cubicBezTo>
                  <a:cubicBezTo>
                    <a:pt x="268" y="55"/>
                    <a:pt x="268" y="55"/>
                    <a:pt x="268" y="32"/>
                  </a:cubicBezTo>
                  <a:cubicBezTo>
                    <a:pt x="268" y="32"/>
                    <a:pt x="268" y="32"/>
                    <a:pt x="279" y="32"/>
                  </a:cubicBezTo>
                  <a:cubicBezTo>
                    <a:pt x="279" y="32"/>
                    <a:pt x="279" y="32"/>
                    <a:pt x="279" y="81"/>
                  </a:cubicBezTo>
                  <a:cubicBezTo>
                    <a:pt x="279" y="81"/>
                    <a:pt x="279" y="81"/>
                    <a:pt x="240" y="8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8" name="Freeform 251">
              <a:extLst>
                <a:ext uri="{FF2B5EF4-FFF2-40B4-BE49-F238E27FC236}">
                  <a16:creationId xmlns:a16="http://schemas.microsoft.com/office/drawing/2014/main" id="{3E7F4BEA-6992-A82C-B7D3-9F9957455B70}"/>
                </a:ext>
                <a:ext uri="{C183D7F6-B498-43B3-948B-1728B52AA6E4}">
                  <adec:decorative xmlns:adec="http://schemas.microsoft.com/office/drawing/2017/decorative" val="1"/>
                </a:ext>
              </a:extLst>
            </p:cNvPr>
            <p:cNvSpPr>
              <a:spLocks noEditPoints="1"/>
            </p:cNvSpPr>
            <p:nvPr/>
          </p:nvSpPr>
          <p:spPr bwMode="auto">
            <a:xfrm rot="16200000">
              <a:off x="9061686" y="652374"/>
              <a:ext cx="225756" cy="1408983"/>
            </a:xfrm>
            <a:custGeom>
              <a:avLst/>
              <a:gdLst>
                <a:gd name="T0" fmla="*/ 31 w 72"/>
                <a:gd name="T1" fmla="*/ 4 h 448"/>
                <a:gd name="T2" fmla="*/ 62 w 72"/>
                <a:gd name="T3" fmla="*/ 4 h 448"/>
                <a:gd name="T4" fmla="*/ 62 w 72"/>
                <a:gd name="T5" fmla="*/ 30 h 448"/>
                <a:gd name="T6" fmla="*/ 1 w 72"/>
                <a:gd name="T7" fmla="*/ 31 h 448"/>
                <a:gd name="T8" fmla="*/ 0 w 72"/>
                <a:gd name="T9" fmla="*/ 64 h 448"/>
                <a:gd name="T10" fmla="*/ 63 w 72"/>
                <a:gd name="T11" fmla="*/ 66 h 448"/>
                <a:gd name="T12" fmla="*/ 11 w 72"/>
                <a:gd name="T13" fmla="*/ 82 h 448"/>
                <a:gd name="T14" fmla="*/ 51 w 72"/>
                <a:gd name="T15" fmla="*/ 47 h 448"/>
                <a:gd name="T16" fmla="*/ 67 w 72"/>
                <a:gd name="T17" fmla="*/ 56 h 448"/>
                <a:gd name="T18" fmla="*/ 71 w 72"/>
                <a:gd name="T19" fmla="*/ 60 h 448"/>
                <a:gd name="T20" fmla="*/ 66 w 72"/>
                <a:gd name="T21" fmla="*/ 72 h 448"/>
                <a:gd name="T22" fmla="*/ 72 w 72"/>
                <a:gd name="T23" fmla="*/ 72 h 448"/>
                <a:gd name="T24" fmla="*/ 66 w 72"/>
                <a:gd name="T25" fmla="*/ 72 h 448"/>
                <a:gd name="T26" fmla="*/ 7 w 72"/>
                <a:gd name="T27" fmla="*/ 128 h 448"/>
                <a:gd name="T28" fmla="*/ 39 w 72"/>
                <a:gd name="T29" fmla="*/ 106 h 448"/>
                <a:gd name="T30" fmla="*/ 61 w 72"/>
                <a:gd name="T31" fmla="*/ 133 h 448"/>
                <a:gd name="T32" fmla="*/ 48 w 72"/>
                <a:gd name="T33" fmla="*/ 108 h 448"/>
                <a:gd name="T34" fmla="*/ 16 w 72"/>
                <a:gd name="T35" fmla="*/ 136 h 448"/>
                <a:gd name="T36" fmla="*/ 3 w 72"/>
                <a:gd name="T37" fmla="*/ 104 h 448"/>
                <a:gd name="T38" fmla="*/ 1 w 72"/>
                <a:gd name="T39" fmla="*/ 144 h 448"/>
                <a:gd name="T40" fmla="*/ 62 w 72"/>
                <a:gd name="T41" fmla="*/ 146 h 448"/>
                <a:gd name="T42" fmla="*/ 54 w 72"/>
                <a:gd name="T43" fmla="*/ 203 h 448"/>
                <a:gd name="T44" fmla="*/ 8 w 72"/>
                <a:gd name="T45" fmla="*/ 244 h 448"/>
                <a:gd name="T46" fmla="*/ 54 w 72"/>
                <a:gd name="T47" fmla="*/ 203 h 448"/>
                <a:gd name="T48" fmla="*/ 4 w 72"/>
                <a:gd name="T49" fmla="*/ 223 h 448"/>
                <a:gd name="T50" fmla="*/ 59 w 72"/>
                <a:gd name="T51" fmla="*/ 223 h 448"/>
                <a:gd name="T52" fmla="*/ 69 w 72"/>
                <a:gd name="T53" fmla="*/ 213 h 448"/>
                <a:gd name="T54" fmla="*/ 69 w 72"/>
                <a:gd name="T55" fmla="*/ 219 h 448"/>
                <a:gd name="T56" fmla="*/ 67 w 72"/>
                <a:gd name="T57" fmla="*/ 228 h 448"/>
                <a:gd name="T58" fmla="*/ 71 w 72"/>
                <a:gd name="T59" fmla="*/ 232 h 448"/>
                <a:gd name="T60" fmla="*/ 1 w 72"/>
                <a:gd name="T61" fmla="*/ 307 h 448"/>
                <a:gd name="T62" fmla="*/ 54 w 72"/>
                <a:gd name="T63" fmla="*/ 268 h 448"/>
                <a:gd name="T64" fmla="*/ 62 w 72"/>
                <a:gd name="T65" fmla="*/ 264 h 448"/>
                <a:gd name="T66" fmla="*/ 9 w 72"/>
                <a:gd name="T67" fmla="*/ 306 h 448"/>
                <a:gd name="T68" fmla="*/ 1 w 72"/>
                <a:gd name="T69" fmla="*/ 310 h 448"/>
                <a:gd name="T70" fmla="*/ 8 w 72"/>
                <a:gd name="T71" fmla="*/ 330 h 448"/>
                <a:gd name="T72" fmla="*/ 54 w 72"/>
                <a:gd name="T73" fmla="*/ 371 h 448"/>
                <a:gd name="T74" fmla="*/ 32 w 72"/>
                <a:gd name="T75" fmla="*/ 375 h 448"/>
                <a:gd name="T76" fmla="*/ 31 w 72"/>
                <a:gd name="T77" fmla="*/ 327 h 448"/>
                <a:gd name="T78" fmla="*/ 66 w 72"/>
                <a:gd name="T79" fmla="*/ 344 h 448"/>
                <a:gd name="T80" fmla="*/ 72 w 72"/>
                <a:gd name="T81" fmla="*/ 344 h 448"/>
                <a:gd name="T82" fmla="*/ 66 w 72"/>
                <a:gd name="T83" fmla="*/ 344 h 448"/>
                <a:gd name="T84" fmla="*/ 71 w 72"/>
                <a:gd name="T85" fmla="*/ 356 h 448"/>
                <a:gd name="T86" fmla="*/ 67 w 72"/>
                <a:gd name="T87" fmla="*/ 360 h 448"/>
                <a:gd name="T88" fmla="*/ 53 w 72"/>
                <a:gd name="T89" fmla="*/ 444 h 448"/>
                <a:gd name="T90" fmla="*/ 1 w 72"/>
                <a:gd name="T91" fmla="*/ 419 h 448"/>
                <a:gd name="T92" fmla="*/ 45 w 72"/>
                <a:gd name="T93" fmla="*/ 396 h 448"/>
                <a:gd name="T94" fmla="*/ 62 w 72"/>
                <a:gd name="T95" fmla="*/ 395 h 448"/>
                <a:gd name="T96" fmla="*/ 8 w 72"/>
                <a:gd name="T97" fmla="*/ 420 h 448"/>
                <a:gd name="T98" fmla="*/ 62 w 72"/>
                <a:gd name="T99" fmla="*/ 44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48">
                  <a:moveTo>
                    <a:pt x="1" y="31"/>
                  </a:moveTo>
                  <a:cubicBezTo>
                    <a:pt x="30" y="5"/>
                    <a:pt x="30" y="5"/>
                    <a:pt x="30" y="5"/>
                  </a:cubicBezTo>
                  <a:cubicBezTo>
                    <a:pt x="30" y="5"/>
                    <a:pt x="31" y="4"/>
                    <a:pt x="31" y="4"/>
                  </a:cubicBezTo>
                  <a:cubicBezTo>
                    <a:pt x="31" y="4"/>
                    <a:pt x="31" y="4"/>
                    <a:pt x="31" y="4"/>
                  </a:cubicBezTo>
                  <a:cubicBezTo>
                    <a:pt x="1" y="4"/>
                    <a:pt x="1" y="4"/>
                    <a:pt x="1" y="4"/>
                  </a:cubicBezTo>
                  <a:cubicBezTo>
                    <a:pt x="1" y="0"/>
                    <a:pt x="1" y="0"/>
                    <a:pt x="1" y="0"/>
                  </a:cubicBezTo>
                  <a:cubicBezTo>
                    <a:pt x="62" y="0"/>
                    <a:pt x="62" y="0"/>
                    <a:pt x="62" y="0"/>
                  </a:cubicBezTo>
                  <a:cubicBezTo>
                    <a:pt x="62" y="4"/>
                    <a:pt x="62" y="4"/>
                    <a:pt x="62" y="4"/>
                  </a:cubicBezTo>
                  <a:cubicBezTo>
                    <a:pt x="33" y="4"/>
                    <a:pt x="33" y="4"/>
                    <a:pt x="33" y="4"/>
                  </a:cubicBezTo>
                  <a:cubicBezTo>
                    <a:pt x="33" y="4"/>
                    <a:pt x="33" y="4"/>
                    <a:pt x="33" y="4"/>
                  </a:cubicBezTo>
                  <a:cubicBezTo>
                    <a:pt x="34" y="4"/>
                    <a:pt x="34" y="5"/>
                    <a:pt x="34" y="5"/>
                  </a:cubicBezTo>
                  <a:cubicBezTo>
                    <a:pt x="62" y="30"/>
                    <a:pt x="62" y="30"/>
                    <a:pt x="62" y="30"/>
                  </a:cubicBezTo>
                  <a:cubicBezTo>
                    <a:pt x="62" y="35"/>
                    <a:pt x="62" y="35"/>
                    <a:pt x="62" y="35"/>
                  </a:cubicBezTo>
                  <a:cubicBezTo>
                    <a:pt x="32" y="8"/>
                    <a:pt x="32" y="8"/>
                    <a:pt x="32" y="8"/>
                  </a:cubicBezTo>
                  <a:cubicBezTo>
                    <a:pt x="1" y="37"/>
                    <a:pt x="1" y="37"/>
                    <a:pt x="1" y="37"/>
                  </a:cubicBezTo>
                  <a:lnTo>
                    <a:pt x="1" y="31"/>
                  </a:lnTo>
                  <a:close/>
                  <a:moveTo>
                    <a:pt x="54" y="44"/>
                  </a:moveTo>
                  <a:cubicBezTo>
                    <a:pt x="48" y="39"/>
                    <a:pt x="40" y="36"/>
                    <a:pt x="31" y="36"/>
                  </a:cubicBezTo>
                  <a:cubicBezTo>
                    <a:pt x="22" y="36"/>
                    <a:pt x="14" y="39"/>
                    <a:pt x="8" y="44"/>
                  </a:cubicBezTo>
                  <a:cubicBezTo>
                    <a:pt x="3" y="49"/>
                    <a:pt x="0" y="56"/>
                    <a:pt x="0" y="64"/>
                  </a:cubicBezTo>
                  <a:cubicBezTo>
                    <a:pt x="0" y="73"/>
                    <a:pt x="3" y="80"/>
                    <a:pt x="8" y="85"/>
                  </a:cubicBezTo>
                  <a:cubicBezTo>
                    <a:pt x="14" y="90"/>
                    <a:pt x="22" y="93"/>
                    <a:pt x="32" y="93"/>
                  </a:cubicBezTo>
                  <a:cubicBezTo>
                    <a:pt x="41" y="93"/>
                    <a:pt x="49" y="91"/>
                    <a:pt x="54" y="85"/>
                  </a:cubicBezTo>
                  <a:cubicBezTo>
                    <a:pt x="60" y="80"/>
                    <a:pt x="63" y="74"/>
                    <a:pt x="63" y="66"/>
                  </a:cubicBezTo>
                  <a:cubicBezTo>
                    <a:pt x="63" y="57"/>
                    <a:pt x="60" y="49"/>
                    <a:pt x="54" y="44"/>
                  </a:cubicBezTo>
                  <a:close/>
                  <a:moveTo>
                    <a:pt x="52" y="82"/>
                  </a:moveTo>
                  <a:cubicBezTo>
                    <a:pt x="47" y="87"/>
                    <a:pt x="40" y="89"/>
                    <a:pt x="32" y="89"/>
                  </a:cubicBezTo>
                  <a:cubicBezTo>
                    <a:pt x="23" y="89"/>
                    <a:pt x="16" y="87"/>
                    <a:pt x="11" y="82"/>
                  </a:cubicBezTo>
                  <a:cubicBezTo>
                    <a:pt x="6" y="78"/>
                    <a:pt x="4" y="72"/>
                    <a:pt x="4" y="64"/>
                  </a:cubicBezTo>
                  <a:cubicBezTo>
                    <a:pt x="4" y="57"/>
                    <a:pt x="6" y="51"/>
                    <a:pt x="11" y="47"/>
                  </a:cubicBezTo>
                  <a:cubicBezTo>
                    <a:pt x="16" y="43"/>
                    <a:pt x="23" y="41"/>
                    <a:pt x="31" y="41"/>
                  </a:cubicBezTo>
                  <a:cubicBezTo>
                    <a:pt x="39" y="41"/>
                    <a:pt x="46" y="43"/>
                    <a:pt x="51" y="47"/>
                  </a:cubicBezTo>
                  <a:cubicBezTo>
                    <a:pt x="56" y="52"/>
                    <a:pt x="59" y="58"/>
                    <a:pt x="59" y="65"/>
                  </a:cubicBezTo>
                  <a:cubicBezTo>
                    <a:pt x="59" y="72"/>
                    <a:pt x="56" y="78"/>
                    <a:pt x="52" y="82"/>
                  </a:cubicBezTo>
                  <a:close/>
                  <a:moveTo>
                    <a:pt x="66" y="58"/>
                  </a:moveTo>
                  <a:cubicBezTo>
                    <a:pt x="66" y="57"/>
                    <a:pt x="66" y="56"/>
                    <a:pt x="67" y="56"/>
                  </a:cubicBezTo>
                  <a:cubicBezTo>
                    <a:pt x="67" y="55"/>
                    <a:pt x="68" y="55"/>
                    <a:pt x="69" y="55"/>
                  </a:cubicBezTo>
                  <a:cubicBezTo>
                    <a:pt x="70" y="55"/>
                    <a:pt x="70" y="55"/>
                    <a:pt x="71" y="56"/>
                  </a:cubicBezTo>
                  <a:cubicBezTo>
                    <a:pt x="71" y="56"/>
                    <a:pt x="72" y="57"/>
                    <a:pt x="72" y="58"/>
                  </a:cubicBezTo>
                  <a:cubicBezTo>
                    <a:pt x="72" y="59"/>
                    <a:pt x="71" y="59"/>
                    <a:pt x="71" y="60"/>
                  </a:cubicBezTo>
                  <a:cubicBezTo>
                    <a:pt x="70" y="61"/>
                    <a:pt x="70" y="61"/>
                    <a:pt x="69" y="61"/>
                  </a:cubicBezTo>
                  <a:cubicBezTo>
                    <a:pt x="68" y="61"/>
                    <a:pt x="67" y="61"/>
                    <a:pt x="67" y="60"/>
                  </a:cubicBezTo>
                  <a:cubicBezTo>
                    <a:pt x="66" y="59"/>
                    <a:pt x="66" y="59"/>
                    <a:pt x="66" y="58"/>
                  </a:cubicBezTo>
                  <a:close/>
                  <a:moveTo>
                    <a:pt x="66" y="72"/>
                  </a:moveTo>
                  <a:cubicBezTo>
                    <a:pt x="66" y="71"/>
                    <a:pt x="66" y="70"/>
                    <a:pt x="67" y="70"/>
                  </a:cubicBezTo>
                  <a:cubicBezTo>
                    <a:pt x="67" y="69"/>
                    <a:pt x="68" y="69"/>
                    <a:pt x="69" y="69"/>
                  </a:cubicBezTo>
                  <a:cubicBezTo>
                    <a:pt x="70" y="69"/>
                    <a:pt x="70" y="69"/>
                    <a:pt x="71" y="70"/>
                  </a:cubicBezTo>
                  <a:cubicBezTo>
                    <a:pt x="71" y="70"/>
                    <a:pt x="72" y="71"/>
                    <a:pt x="72" y="72"/>
                  </a:cubicBezTo>
                  <a:cubicBezTo>
                    <a:pt x="72" y="73"/>
                    <a:pt x="71" y="73"/>
                    <a:pt x="71" y="74"/>
                  </a:cubicBezTo>
                  <a:cubicBezTo>
                    <a:pt x="70" y="75"/>
                    <a:pt x="70" y="75"/>
                    <a:pt x="69" y="75"/>
                  </a:cubicBezTo>
                  <a:cubicBezTo>
                    <a:pt x="68" y="75"/>
                    <a:pt x="67" y="75"/>
                    <a:pt x="67" y="74"/>
                  </a:cubicBezTo>
                  <a:cubicBezTo>
                    <a:pt x="66" y="74"/>
                    <a:pt x="66" y="73"/>
                    <a:pt x="66" y="72"/>
                  </a:cubicBezTo>
                  <a:close/>
                  <a:moveTo>
                    <a:pt x="3" y="104"/>
                  </a:moveTo>
                  <a:cubicBezTo>
                    <a:pt x="8" y="104"/>
                    <a:pt x="8" y="104"/>
                    <a:pt x="8" y="104"/>
                  </a:cubicBezTo>
                  <a:cubicBezTo>
                    <a:pt x="5" y="108"/>
                    <a:pt x="4" y="112"/>
                    <a:pt x="4" y="117"/>
                  </a:cubicBezTo>
                  <a:cubicBezTo>
                    <a:pt x="4" y="122"/>
                    <a:pt x="5" y="125"/>
                    <a:pt x="7" y="128"/>
                  </a:cubicBezTo>
                  <a:cubicBezTo>
                    <a:pt x="9" y="130"/>
                    <a:pt x="11" y="131"/>
                    <a:pt x="15" y="131"/>
                  </a:cubicBezTo>
                  <a:cubicBezTo>
                    <a:pt x="18" y="131"/>
                    <a:pt x="20" y="130"/>
                    <a:pt x="22" y="129"/>
                  </a:cubicBezTo>
                  <a:cubicBezTo>
                    <a:pt x="24" y="127"/>
                    <a:pt x="27" y="124"/>
                    <a:pt x="30" y="118"/>
                  </a:cubicBezTo>
                  <a:cubicBezTo>
                    <a:pt x="33" y="112"/>
                    <a:pt x="36" y="108"/>
                    <a:pt x="39" y="106"/>
                  </a:cubicBezTo>
                  <a:cubicBezTo>
                    <a:pt x="41" y="105"/>
                    <a:pt x="44" y="104"/>
                    <a:pt x="47" y="104"/>
                  </a:cubicBezTo>
                  <a:cubicBezTo>
                    <a:pt x="52" y="104"/>
                    <a:pt x="55" y="106"/>
                    <a:pt x="58" y="109"/>
                  </a:cubicBezTo>
                  <a:cubicBezTo>
                    <a:pt x="61" y="112"/>
                    <a:pt x="63" y="117"/>
                    <a:pt x="63" y="122"/>
                  </a:cubicBezTo>
                  <a:cubicBezTo>
                    <a:pt x="63" y="126"/>
                    <a:pt x="62" y="129"/>
                    <a:pt x="61" y="133"/>
                  </a:cubicBezTo>
                  <a:cubicBezTo>
                    <a:pt x="56" y="133"/>
                    <a:pt x="56" y="133"/>
                    <a:pt x="56" y="133"/>
                  </a:cubicBezTo>
                  <a:cubicBezTo>
                    <a:pt x="58" y="130"/>
                    <a:pt x="59" y="126"/>
                    <a:pt x="59" y="122"/>
                  </a:cubicBezTo>
                  <a:cubicBezTo>
                    <a:pt x="59" y="118"/>
                    <a:pt x="58" y="114"/>
                    <a:pt x="56" y="112"/>
                  </a:cubicBezTo>
                  <a:cubicBezTo>
                    <a:pt x="54" y="109"/>
                    <a:pt x="51" y="108"/>
                    <a:pt x="48" y="108"/>
                  </a:cubicBezTo>
                  <a:cubicBezTo>
                    <a:pt x="45" y="108"/>
                    <a:pt x="42" y="109"/>
                    <a:pt x="40" y="111"/>
                  </a:cubicBezTo>
                  <a:cubicBezTo>
                    <a:pt x="38" y="112"/>
                    <a:pt x="36" y="116"/>
                    <a:pt x="33" y="121"/>
                  </a:cubicBezTo>
                  <a:cubicBezTo>
                    <a:pt x="30" y="127"/>
                    <a:pt x="27" y="131"/>
                    <a:pt x="24" y="133"/>
                  </a:cubicBezTo>
                  <a:cubicBezTo>
                    <a:pt x="22" y="135"/>
                    <a:pt x="19" y="136"/>
                    <a:pt x="16" y="136"/>
                  </a:cubicBezTo>
                  <a:cubicBezTo>
                    <a:pt x="11" y="136"/>
                    <a:pt x="7" y="134"/>
                    <a:pt x="4" y="131"/>
                  </a:cubicBezTo>
                  <a:cubicBezTo>
                    <a:pt x="1" y="127"/>
                    <a:pt x="0" y="123"/>
                    <a:pt x="0" y="117"/>
                  </a:cubicBezTo>
                  <a:cubicBezTo>
                    <a:pt x="0" y="115"/>
                    <a:pt x="0" y="113"/>
                    <a:pt x="1" y="110"/>
                  </a:cubicBezTo>
                  <a:cubicBezTo>
                    <a:pt x="1" y="107"/>
                    <a:pt x="2" y="105"/>
                    <a:pt x="3" y="104"/>
                  </a:cubicBezTo>
                  <a:close/>
                  <a:moveTo>
                    <a:pt x="5" y="150"/>
                  </a:moveTo>
                  <a:cubicBezTo>
                    <a:pt x="5" y="186"/>
                    <a:pt x="5" y="186"/>
                    <a:pt x="5" y="186"/>
                  </a:cubicBezTo>
                  <a:cubicBezTo>
                    <a:pt x="1" y="186"/>
                    <a:pt x="1" y="186"/>
                    <a:pt x="1" y="186"/>
                  </a:cubicBezTo>
                  <a:cubicBezTo>
                    <a:pt x="1" y="144"/>
                    <a:pt x="1" y="144"/>
                    <a:pt x="1" y="144"/>
                  </a:cubicBezTo>
                  <a:cubicBezTo>
                    <a:pt x="2" y="144"/>
                    <a:pt x="2" y="144"/>
                    <a:pt x="2" y="144"/>
                  </a:cubicBezTo>
                  <a:cubicBezTo>
                    <a:pt x="58" y="180"/>
                    <a:pt x="58" y="180"/>
                    <a:pt x="58" y="180"/>
                  </a:cubicBezTo>
                  <a:cubicBezTo>
                    <a:pt x="58" y="146"/>
                    <a:pt x="58" y="146"/>
                    <a:pt x="58" y="146"/>
                  </a:cubicBezTo>
                  <a:cubicBezTo>
                    <a:pt x="62" y="146"/>
                    <a:pt x="62" y="146"/>
                    <a:pt x="62" y="146"/>
                  </a:cubicBezTo>
                  <a:cubicBezTo>
                    <a:pt x="62" y="187"/>
                    <a:pt x="62" y="187"/>
                    <a:pt x="62" y="187"/>
                  </a:cubicBezTo>
                  <a:cubicBezTo>
                    <a:pt x="60" y="187"/>
                    <a:pt x="60" y="187"/>
                    <a:pt x="60" y="187"/>
                  </a:cubicBezTo>
                  <a:lnTo>
                    <a:pt x="5" y="150"/>
                  </a:lnTo>
                  <a:close/>
                  <a:moveTo>
                    <a:pt x="54" y="203"/>
                  </a:moveTo>
                  <a:cubicBezTo>
                    <a:pt x="48" y="197"/>
                    <a:pt x="40" y="195"/>
                    <a:pt x="31" y="195"/>
                  </a:cubicBezTo>
                  <a:cubicBezTo>
                    <a:pt x="22" y="195"/>
                    <a:pt x="14" y="197"/>
                    <a:pt x="8" y="202"/>
                  </a:cubicBezTo>
                  <a:cubicBezTo>
                    <a:pt x="3" y="207"/>
                    <a:pt x="0" y="214"/>
                    <a:pt x="0" y="223"/>
                  </a:cubicBezTo>
                  <a:cubicBezTo>
                    <a:pt x="0" y="232"/>
                    <a:pt x="3" y="239"/>
                    <a:pt x="8" y="244"/>
                  </a:cubicBezTo>
                  <a:cubicBezTo>
                    <a:pt x="14" y="249"/>
                    <a:pt x="22" y="252"/>
                    <a:pt x="32" y="252"/>
                  </a:cubicBezTo>
                  <a:cubicBezTo>
                    <a:pt x="41" y="252"/>
                    <a:pt x="49" y="249"/>
                    <a:pt x="54" y="244"/>
                  </a:cubicBezTo>
                  <a:cubicBezTo>
                    <a:pt x="60" y="239"/>
                    <a:pt x="63" y="232"/>
                    <a:pt x="63" y="224"/>
                  </a:cubicBezTo>
                  <a:cubicBezTo>
                    <a:pt x="63" y="215"/>
                    <a:pt x="60" y="208"/>
                    <a:pt x="54" y="203"/>
                  </a:cubicBezTo>
                  <a:close/>
                  <a:moveTo>
                    <a:pt x="52" y="241"/>
                  </a:moveTo>
                  <a:cubicBezTo>
                    <a:pt x="47" y="245"/>
                    <a:pt x="40" y="247"/>
                    <a:pt x="32" y="247"/>
                  </a:cubicBezTo>
                  <a:cubicBezTo>
                    <a:pt x="23" y="247"/>
                    <a:pt x="16" y="245"/>
                    <a:pt x="11" y="241"/>
                  </a:cubicBezTo>
                  <a:cubicBezTo>
                    <a:pt x="6" y="236"/>
                    <a:pt x="4" y="230"/>
                    <a:pt x="4" y="223"/>
                  </a:cubicBezTo>
                  <a:cubicBezTo>
                    <a:pt x="4" y="216"/>
                    <a:pt x="6" y="210"/>
                    <a:pt x="11" y="206"/>
                  </a:cubicBezTo>
                  <a:cubicBezTo>
                    <a:pt x="16" y="201"/>
                    <a:pt x="23" y="199"/>
                    <a:pt x="31" y="199"/>
                  </a:cubicBezTo>
                  <a:cubicBezTo>
                    <a:pt x="39" y="199"/>
                    <a:pt x="46" y="201"/>
                    <a:pt x="51" y="206"/>
                  </a:cubicBezTo>
                  <a:cubicBezTo>
                    <a:pt x="56" y="210"/>
                    <a:pt x="59" y="216"/>
                    <a:pt x="59" y="223"/>
                  </a:cubicBezTo>
                  <a:cubicBezTo>
                    <a:pt x="59" y="231"/>
                    <a:pt x="56" y="237"/>
                    <a:pt x="52" y="241"/>
                  </a:cubicBezTo>
                  <a:close/>
                  <a:moveTo>
                    <a:pt x="66" y="216"/>
                  </a:moveTo>
                  <a:cubicBezTo>
                    <a:pt x="66" y="215"/>
                    <a:pt x="66" y="215"/>
                    <a:pt x="67" y="214"/>
                  </a:cubicBezTo>
                  <a:cubicBezTo>
                    <a:pt x="67" y="214"/>
                    <a:pt x="68" y="213"/>
                    <a:pt x="69" y="213"/>
                  </a:cubicBezTo>
                  <a:cubicBezTo>
                    <a:pt x="70" y="213"/>
                    <a:pt x="70" y="214"/>
                    <a:pt x="71" y="214"/>
                  </a:cubicBezTo>
                  <a:cubicBezTo>
                    <a:pt x="71" y="215"/>
                    <a:pt x="72" y="215"/>
                    <a:pt x="72" y="216"/>
                  </a:cubicBezTo>
                  <a:cubicBezTo>
                    <a:pt x="72" y="217"/>
                    <a:pt x="71" y="218"/>
                    <a:pt x="71" y="218"/>
                  </a:cubicBezTo>
                  <a:cubicBezTo>
                    <a:pt x="70" y="219"/>
                    <a:pt x="70" y="219"/>
                    <a:pt x="69" y="219"/>
                  </a:cubicBezTo>
                  <a:cubicBezTo>
                    <a:pt x="68" y="219"/>
                    <a:pt x="67" y="219"/>
                    <a:pt x="67" y="218"/>
                  </a:cubicBezTo>
                  <a:cubicBezTo>
                    <a:pt x="66" y="218"/>
                    <a:pt x="66" y="217"/>
                    <a:pt x="66" y="216"/>
                  </a:cubicBezTo>
                  <a:close/>
                  <a:moveTo>
                    <a:pt x="66" y="230"/>
                  </a:moveTo>
                  <a:cubicBezTo>
                    <a:pt x="66" y="230"/>
                    <a:pt x="66" y="229"/>
                    <a:pt x="67" y="228"/>
                  </a:cubicBezTo>
                  <a:cubicBezTo>
                    <a:pt x="67" y="228"/>
                    <a:pt x="68" y="227"/>
                    <a:pt x="69" y="227"/>
                  </a:cubicBezTo>
                  <a:cubicBezTo>
                    <a:pt x="70" y="227"/>
                    <a:pt x="70" y="228"/>
                    <a:pt x="71" y="228"/>
                  </a:cubicBezTo>
                  <a:cubicBezTo>
                    <a:pt x="71" y="229"/>
                    <a:pt x="72" y="230"/>
                    <a:pt x="72" y="230"/>
                  </a:cubicBezTo>
                  <a:cubicBezTo>
                    <a:pt x="72" y="231"/>
                    <a:pt x="71" y="232"/>
                    <a:pt x="71" y="232"/>
                  </a:cubicBezTo>
                  <a:cubicBezTo>
                    <a:pt x="70" y="233"/>
                    <a:pt x="70" y="233"/>
                    <a:pt x="69" y="233"/>
                  </a:cubicBezTo>
                  <a:cubicBezTo>
                    <a:pt x="68" y="233"/>
                    <a:pt x="67" y="233"/>
                    <a:pt x="67" y="233"/>
                  </a:cubicBezTo>
                  <a:cubicBezTo>
                    <a:pt x="66" y="232"/>
                    <a:pt x="66" y="231"/>
                    <a:pt x="66" y="230"/>
                  </a:cubicBezTo>
                  <a:close/>
                  <a:moveTo>
                    <a:pt x="1" y="307"/>
                  </a:moveTo>
                  <a:cubicBezTo>
                    <a:pt x="50" y="271"/>
                    <a:pt x="50" y="271"/>
                    <a:pt x="50" y="271"/>
                  </a:cubicBezTo>
                  <a:cubicBezTo>
                    <a:pt x="51" y="270"/>
                    <a:pt x="52" y="269"/>
                    <a:pt x="53" y="269"/>
                  </a:cubicBezTo>
                  <a:cubicBezTo>
                    <a:pt x="54" y="268"/>
                    <a:pt x="54" y="268"/>
                    <a:pt x="54" y="268"/>
                  </a:cubicBezTo>
                  <a:cubicBezTo>
                    <a:pt x="54" y="268"/>
                    <a:pt x="54" y="268"/>
                    <a:pt x="54" y="268"/>
                  </a:cubicBezTo>
                  <a:cubicBezTo>
                    <a:pt x="53" y="268"/>
                    <a:pt x="52" y="268"/>
                    <a:pt x="51" y="268"/>
                  </a:cubicBezTo>
                  <a:cubicBezTo>
                    <a:pt x="1" y="268"/>
                    <a:pt x="1" y="268"/>
                    <a:pt x="1" y="268"/>
                  </a:cubicBezTo>
                  <a:cubicBezTo>
                    <a:pt x="1" y="264"/>
                    <a:pt x="1" y="264"/>
                    <a:pt x="1" y="264"/>
                  </a:cubicBezTo>
                  <a:cubicBezTo>
                    <a:pt x="62" y="264"/>
                    <a:pt x="62" y="264"/>
                    <a:pt x="62" y="264"/>
                  </a:cubicBezTo>
                  <a:cubicBezTo>
                    <a:pt x="62" y="267"/>
                    <a:pt x="62" y="267"/>
                    <a:pt x="62" y="267"/>
                  </a:cubicBezTo>
                  <a:cubicBezTo>
                    <a:pt x="13" y="303"/>
                    <a:pt x="13" y="303"/>
                    <a:pt x="13" y="303"/>
                  </a:cubicBezTo>
                  <a:cubicBezTo>
                    <a:pt x="12" y="304"/>
                    <a:pt x="11" y="305"/>
                    <a:pt x="9" y="306"/>
                  </a:cubicBezTo>
                  <a:cubicBezTo>
                    <a:pt x="9" y="306"/>
                    <a:pt x="9" y="306"/>
                    <a:pt x="9" y="306"/>
                  </a:cubicBezTo>
                  <a:cubicBezTo>
                    <a:pt x="11" y="306"/>
                    <a:pt x="13" y="306"/>
                    <a:pt x="14" y="306"/>
                  </a:cubicBezTo>
                  <a:cubicBezTo>
                    <a:pt x="62" y="306"/>
                    <a:pt x="62" y="306"/>
                    <a:pt x="62" y="306"/>
                  </a:cubicBezTo>
                  <a:cubicBezTo>
                    <a:pt x="62" y="310"/>
                    <a:pt x="62" y="310"/>
                    <a:pt x="62" y="310"/>
                  </a:cubicBezTo>
                  <a:cubicBezTo>
                    <a:pt x="1" y="310"/>
                    <a:pt x="1" y="310"/>
                    <a:pt x="1" y="310"/>
                  </a:cubicBezTo>
                  <a:lnTo>
                    <a:pt x="1" y="307"/>
                  </a:lnTo>
                  <a:close/>
                  <a:moveTo>
                    <a:pt x="54" y="330"/>
                  </a:moveTo>
                  <a:cubicBezTo>
                    <a:pt x="48" y="325"/>
                    <a:pt x="40" y="322"/>
                    <a:pt x="31" y="322"/>
                  </a:cubicBezTo>
                  <a:cubicBezTo>
                    <a:pt x="22" y="322"/>
                    <a:pt x="14" y="325"/>
                    <a:pt x="8" y="330"/>
                  </a:cubicBezTo>
                  <a:cubicBezTo>
                    <a:pt x="3" y="335"/>
                    <a:pt x="0" y="342"/>
                    <a:pt x="0" y="350"/>
                  </a:cubicBezTo>
                  <a:cubicBezTo>
                    <a:pt x="0" y="359"/>
                    <a:pt x="3" y="366"/>
                    <a:pt x="8" y="371"/>
                  </a:cubicBezTo>
                  <a:cubicBezTo>
                    <a:pt x="14" y="376"/>
                    <a:pt x="22" y="379"/>
                    <a:pt x="32" y="379"/>
                  </a:cubicBezTo>
                  <a:cubicBezTo>
                    <a:pt x="41" y="379"/>
                    <a:pt x="49" y="376"/>
                    <a:pt x="54" y="371"/>
                  </a:cubicBezTo>
                  <a:cubicBezTo>
                    <a:pt x="60" y="366"/>
                    <a:pt x="63" y="360"/>
                    <a:pt x="63" y="351"/>
                  </a:cubicBezTo>
                  <a:cubicBezTo>
                    <a:pt x="63" y="342"/>
                    <a:pt x="60" y="335"/>
                    <a:pt x="54" y="330"/>
                  </a:cubicBezTo>
                  <a:close/>
                  <a:moveTo>
                    <a:pt x="52" y="368"/>
                  </a:moveTo>
                  <a:cubicBezTo>
                    <a:pt x="47" y="372"/>
                    <a:pt x="40" y="375"/>
                    <a:pt x="32" y="375"/>
                  </a:cubicBezTo>
                  <a:cubicBezTo>
                    <a:pt x="23" y="375"/>
                    <a:pt x="16" y="372"/>
                    <a:pt x="11" y="368"/>
                  </a:cubicBezTo>
                  <a:cubicBezTo>
                    <a:pt x="6" y="364"/>
                    <a:pt x="4" y="358"/>
                    <a:pt x="4" y="350"/>
                  </a:cubicBezTo>
                  <a:cubicBezTo>
                    <a:pt x="4" y="343"/>
                    <a:pt x="6" y="337"/>
                    <a:pt x="11" y="333"/>
                  </a:cubicBezTo>
                  <a:cubicBezTo>
                    <a:pt x="16" y="329"/>
                    <a:pt x="23" y="327"/>
                    <a:pt x="31" y="327"/>
                  </a:cubicBezTo>
                  <a:cubicBezTo>
                    <a:pt x="39" y="327"/>
                    <a:pt x="46" y="329"/>
                    <a:pt x="51" y="333"/>
                  </a:cubicBezTo>
                  <a:cubicBezTo>
                    <a:pt x="56" y="338"/>
                    <a:pt x="59" y="344"/>
                    <a:pt x="59" y="351"/>
                  </a:cubicBezTo>
                  <a:cubicBezTo>
                    <a:pt x="59" y="358"/>
                    <a:pt x="56" y="364"/>
                    <a:pt x="52" y="368"/>
                  </a:cubicBezTo>
                  <a:close/>
                  <a:moveTo>
                    <a:pt x="66" y="344"/>
                  </a:moveTo>
                  <a:cubicBezTo>
                    <a:pt x="66" y="343"/>
                    <a:pt x="66" y="342"/>
                    <a:pt x="67" y="342"/>
                  </a:cubicBezTo>
                  <a:cubicBezTo>
                    <a:pt x="67" y="341"/>
                    <a:pt x="68" y="341"/>
                    <a:pt x="69" y="341"/>
                  </a:cubicBezTo>
                  <a:cubicBezTo>
                    <a:pt x="70" y="341"/>
                    <a:pt x="70" y="341"/>
                    <a:pt x="71" y="342"/>
                  </a:cubicBezTo>
                  <a:cubicBezTo>
                    <a:pt x="71" y="342"/>
                    <a:pt x="72" y="343"/>
                    <a:pt x="72" y="344"/>
                  </a:cubicBezTo>
                  <a:cubicBezTo>
                    <a:pt x="72" y="344"/>
                    <a:pt x="71" y="345"/>
                    <a:pt x="71" y="346"/>
                  </a:cubicBezTo>
                  <a:cubicBezTo>
                    <a:pt x="70" y="346"/>
                    <a:pt x="70" y="347"/>
                    <a:pt x="69" y="347"/>
                  </a:cubicBezTo>
                  <a:cubicBezTo>
                    <a:pt x="68" y="347"/>
                    <a:pt x="67" y="346"/>
                    <a:pt x="67" y="346"/>
                  </a:cubicBezTo>
                  <a:cubicBezTo>
                    <a:pt x="66" y="345"/>
                    <a:pt x="66" y="345"/>
                    <a:pt x="66" y="344"/>
                  </a:cubicBezTo>
                  <a:close/>
                  <a:moveTo>
                    <a:pt x="66" y="358"/>
                  </a:moveTo>
                  <a:cubicBezTo>
                    <a:pt x="66" y="357"/>
                    <a:pt x="66" y="356"/>
                    <a:pt x="67" y="356"/>
                  </a:cubicBezTo>
                  <a:cubicBezTo>
                    <a:pt x="67" y="355"/>
                    <a:pt x="68" y="355"/>
                    <a:pt x="69" y="355"/>
                  </a:cubicBezTo>
                  <a:cubicBezTo>
                    <a:pt x="70" y="355"/>
                    <a:pt x="70" y="355"/>
                    <a:pt x="71" y="356"/>
                  </a:cubicBezTo>
                  <a:cubicBezTo>
                    <a:pt x="71" y="356"/>
                    <a:pt x="72" y="357"/>
                    <a:pt x="72" y="358"/>
                  </a:cubicBezTo>
                  <a:cubicBezTo>
                    <a:pt x="72" y="359"/>
                    <a:pt x="71" y="359"/>
                    <a:pt x="71" y="360"/>
                  </a:cubicBezTo>
                  <a:cubicBezTo>
                    <a:pt x="70" y="361"/>
                    <a:pt x="70" y="361"/>
                    <a:pt x="69" y="361"/>
                  </a:cubicBezTo>
                  <a:cubicBezTo>
                    <a:pt x="68" y="361"/>
                    <a:pt x="67" y="361"/>
                    <a:pt x="67" y="360"/>
                  </a:cubicBezTo>
                  <a:cubicBezTo>
                    <a:pt x="66" y="359"/>
                    <a:pt x="66" y="359"/>
                    <a:pt x="66" y="358"/>
                  </a:cubicBezTo>
                  <a:close/>
                  <a:moveTo>
                    <a:pt x="1" y="444"/>
                  </a:moveTo>
                  <a:cubicBezTo>
                    <a:pt x="44" y="444"/>
                    <a:pt x="44" y="444"/>
                    <a:pt x="44" y="444"/>
                  </a:cubicBezTo>
                  <a:cubicBezTo>
                    <a:pt x="45" y="444"/>
                    <a:pt x="48" y="444"/>
                    <a:pt x="53" y="444"/>
                  </a:cubicBezTo>
                  <a:cubicBezTo>
                    <a:pt x="53" y="444"/>
                    <a:pt x="53" y="444"/>
                    <a:pt x="53" y="444"/>
                  </a:cubicBezTo>
                  <a:cubicBezTo>
                    <a:pt x="51" y="443"/>
                    <a:pt x="49" y="443"/>
                    <a:pt x="48" y="442"/>
                  </a:cubicBezTo>
                  <a:cubicBezTo>
                    <a:pt x="1" y="420"/>
                    <a:pt x="1" y="420"/>
                    <a:pt x="1" y="420"/>
                  </a:cubicBezTo>
                  <a:cubicBezTo>
                    <a:pt x="1" y="419"/>
                    <a:pt x="1" y="419"/>
                    <a:pt x="1" y="419"/>
                  </a:cubicBezTo>
                  <a:cubicBezTo>
                    <a:pt x="47" y="397"/>
                    <a:pt x="47" y="397"/>
                    <a:pt x="47" y="397"/>
                  </a:cubicBezTo>
                  <a:cubicBezTo>
                    <a:pt x="49" y="397"/>
                    <a:pt x="51" y="396"/>
                    <a:pt x="53" y="395"/>
                  </a:cubicBezTo>
                  <a:cubicBezTo>
                    <a:pt x="53" y="395"/>
                    <a:pt x="53" y="395"/>
                    <a:pt x="53" y="395"/>
                  </a:cubicBezTo>
                  <a:cubicBezTo>
                    <a:pt x="50" y="395"/>
                    <a:pt x="48" y="396"/>
                    <a:pt x="45" y="396"/>
                  </a:cubicBezTo>
                  <a:cubicBezTo>
                    <a:pt x="1" y="396"/>
                    <a:pt x="1" y="396"/>
                    <a:pt x="1" y="396"/>
                  </a:cubicBezTo>
                  <a:cubicBezTo>
                    <a:pt x="1" y="391"/>
                    <a:pt x="1" y="391"/>
                    <a:pt x="1" y="391"/>
                  </a:cubicBezTo>
                  <a:cubicBezTo>
                    <a:pt x="62" y="391"/>
                    <a:pt x="62" y="391"/>
                    <a:pt x="62" y="391"/>
                  </a:cubicBezTo>
                  <a:cubicBezTo>
                    <a:pt x="62" y="395"/>
                    <a:pt x="62" y="395"/>
                    <a:pt x="62" y="395"/>
                  </a:cubicBezTo>
                  <a:cubicBezTo>
                    <a:pt x="13" y="418"/>
                    <a:pt x="13" y="418"/>
                    <a:pt x="13" y="418"/>
                  </a:cubicBezTo>
                  <a:cubicBezTo>
                    <a:pt x="12" y="418"/>
                    <a:pt x="12" y="418"/>
                    <a:pt x="12" y="418"/>
                  </a:cubicBezTo>
                  <a:cubicBezTo>
                    <a:pt x="11" y="419"/>
                    <a:pt x="11" y="419"/>
                    <a:pt x="10" y="419"/>
                  </a:cubicBezTo>
                  <a:cubicBezTo>
                    <a:pt x="9" y="419"/>
                    <a:pt x="9" y="419"/>
                    <a:pt x="8" y="420"/>
                  </a:cubicBezTo>
                  <a:cubicBezTo>
                    <a:pt x="8" y="420"/>
                    <a:pt x="8" y="420"/>
                    <a:pt x="8" y="420"/>
                  </a:cubicBezTo>
                  <a:cubicBezTo>
                    <a:pt x="9" y="421"/>
                    <a:pt x="9" y="421"/>
                    <a:pt x="9" y="421"/>
                  </a:cubicBezTo>
                  <a:cubicBezTo>
                    <a:pt x="9" y="421"/>
                    <a:pt x="10" y="421"/>
                    <a:pt x="13" y="422"/>
                  </a:cubicBezTo>
                  <a:cubicBezTo>
                    <a:pt x="62" y="444"/>
                    <a:pt x="62" y="444"/>
                    <a:pt x="62" y="444"/>
                  </a:cubicBezTo>
                  <a:cubicBezTo>
                    <a:pt x="62" y="448"/>
                    <a:pt x="62" y="448"/>
                    <a:pt x="62" y="448"/>
                  </a:cubicBezTo>
                  <a:cubicBezTo>
                    <a:pt x="1" y="448"/>
                    <a:pt x="1" y="448"/>
                    <a:pt x="1" y="448"/>
                  </a:cubicBezTo>
                  <a:lnTo>
                    <a:pt x="1" y="444"/>
                  </a:ln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9" name="Freeform 252">
              <a:extLst>
                <a:ext uri="{FF2B5EF4-FFF2-40B4-BE49-F238E27FC236}">
                  <a16:creationId xmlns:a16="http://schemas.microsoft.com/office/drawing/2014/main" id="{24F86513-710D-9216-2A91-0B2781C773ED}"/>
                </a:ext>
                <a:ext uri="{C183D7F6-B498-43B3-948B-1728B52AA6E4}">
                  <adec:decorative xmlns:adec="http://schemas.microsoft.com/office/drawing/2017/decorative" val="1"/>
                </a:ext>
              </a:extLst>
            </p:cNvPr>
            <p:cNvSpPr>
              <a:spLocks noEditPoints="1"/>
            </p:cNvSpPr>
            <p:nvPr/>
          </p:nvSpPr>
          <p:spPr bwMode="auto">
            <a:xfrm rot="16200000">
              <a:off x="6854383" y="5099479"/>
              <a:ext cx="267154" cy="1080177"/>
            </a:xfrm>
            <a:custGeom>
              <a:avLst/>
              <a:gdLst>
                <a:gd name="T0" fmla="*/ 0 w 88"/>
                <a:gd name="T1" fmla="*/ 31 h 355"/>
                <a:gd name="T2" fmla="*/ 33 w 88"/>
                <a:gd name="T3" fmla="*/ 0 h 355"/>
                <a:gd name="T4" fmla="*/ 69 w 88"/>
                <a:gd name="T5" fmla="*/ 34 h 355"/>
                <a:gd name="T6" fmla="*/ 62 w 88"/>
                <a:gd name="T7" fmla="*/ 49 h 355"/>
                <a:gd name="T8" fmla="*/ 56 w 88"/>
                <a:gd name="T9" fmla="*/ 13 h 355"/>
                <a:gd name="T10" fmla="*/ 12 w 88"/>
                <a:gd name="T11" fmla="*/ 13 h 355"/>
                <a:gd name="T12" fmla="*/ 7 w 88"/>
                <a:gd name="T13" fmla="*/ 49 h 355"/>
                <a:gd name="T14" fmla="*/ 1 w 88"/>
                <a:gd name="T15" fmla="*/ 58 h 355"/>
                <a:gd name="T16" fmla="*/ 22 w 88"/>
                <a:gd name="T17" fmla="*/ 70 h 355"/>
                <a:gd name="T18" fmla="*/ 1 w 88"/>
                <a:gd name="T19" fmla="*/ 107 h 355"/>
                <a:gd name="T20" fmla="*/ 68 w 88"/>
                <a:gd name="T21" fmla="*/ 87 h 355"/>
                <a:gd name="T22" fmla="*/ 1 w 88"/>
                <a:gd name="T23" fmla="*/ 58 h 355"/>
                <a:gd name="T24" fmla="*/ 60 w 88"/>
                <a:gd name="T25" fmla="*/ 86 h 355"/>
                <a:gd name="T26" fmla="*/ 26 w 88"/>
                <a:gd name="T27" fmla="*/ 98 h 355"/>
                <a:gd name="T28" fmla="*/ 57 w 88"/>
                <a:gd name="T29" fmla="*/ 83 h 355"/>
                <a:gd name="T30" fmla="*/ 73 w 88"/>
                <a:gd name="T31" fmla="*/ 81 h 355"/>
                <a:gd name="T32" fmla="*/ 88 w 88"/>
                <a:gd name="T33" fmla="*/ 88 h 355"/>
                <a:gd name="T34" fmla="*/ 73 w 88"/>
                <a:gd name="T35" fmla="*/ 81 h 355"/>
                <a:gd name="T36" fmla="*/ 49 w 88"/>
                <a:gd name="T37" fmla="*/ 183 h 355"/>
                <a:gd name="T38" fmla="*/ 58 w 88"/>
                <a:gd name="T39" fmla="*/ 183 h 355"/>
                <a:gd name="T40" fmla="*/ 1 w 88"/>
                <a:gd name="T41" fmla="*/ 156 h 355"/>
                <a:gd name="T42" fmla="*/ 52 w 88"/>
                <a:gd name="T43" fmla="*/ 131 h 355"/>
                <a:gd name="T44" fmla="*/ 59 w 88"/>
                <a:gd name="T45" fmla="*/ 128 h 355"/>
                <a:gd name="T46" fmla="*/ 1 w 88"/>
                <a:gd name="T47" fmla="*/ 129 h 355"/>
                <a:gd name="T48" fmla="*/ 68 w 88"/>
                <a:gd name="T49" fmla="*/ 124 h 355"/>
                <a:gd name="T50" fmla="*/ 14 w 88"/>
                <a:gd name="T51" fmla="*/ 154 h 355"/>
                <a:gd name="T52" fmla="*/ 11 w 88"/>
                <a:gd name="T53" fmla="*/ 155 h 355"/>
                <a:gd name="T54" fmla="*/ 8 w 88"/>
                <a:gd name="T55" fmla="*/ 156 h 355"/>
                <a:gd name="T56" fmla="*/ 14 w 88"/>
                <a:gd name="T57" fmla="*/ 158 h 355"/>
                <a:gd name="T58" fmla="*/ 68 w 88"/>
                <a:gd name="T59" fmla="*/ 187 h 355"/>
                <a:gd name="T60" fmla="*/ 1 w 88"/>
                <a:gd name="T61" fmla="*/ 183 h 355"/>
                <a:gd name="T62" fmla="*/ 67 w 88"/>
                <a:gd name="T63" fmla="*/ 291 h 355"/>
                <a:gd name="T64" fmla="*/ 64 w 88"/>
                <a:gd name="T65" fmla="*/ 286 h 355"/>
                <a:gd name="T66" fmla="*/ 64 w 88"/>
                <a:gd name="T67" fmla="*/ 280 h 355"/>
                <a:gd name="T68" fmla="*/ 69 w 88"/>
                <a:gd name="T69" fmla="*/ 260 h 355"/>
                <a:gd name="T70" fmla="*/ 60 w 88"/>
                <a:gd name="T71" fmla="*/ 236 h 355"/>
                <a:gd name="T72" fmla="*/ 34 w 88"/>
                <a:gd name="T73" fmla="*/ 227 h 355"/>
                <a:gd name="T74" fmla="*/ 9 w 88"/>
                <a:gd name="T75" fmla="*/ 236 h 355"/>
                <a:gd name="T76" fmla="*/ 0 w 88"/>
                <a:gd name="T77" fmla="*/ 258 h 355"/>
                <a:gd name="T78" fmla="*/ 9 w 88"/>
                <a:gd name="T79" fmla="*/ 282 h 355"/>
                <a:gd name="T80" fmla="*/ 35 w 88"/>
                <a:gd name="T81" fmla="*/ 290 h 355"/>
                <a:gd name="T82" fmla="*/ 60 w 88"/>
                <a:gd name="T83" fmla="*/ 284 h 355"/>
                <a:gd name="T84" fmla="*/ 70 w 88"/>
                <a:gd name="T85" fmla="*/ 296 h 355"/>
                <a:gd name="T86" fmla="*/ 76 w 88"/>
                <a:gd name="T87" fmla="*/ 295 h 355"/>
                <a:gd name="T88" fmla="*/ 70 w 88"/>
                <a:gd name="T89" fmla="*/ 291 h 355"/>
                <a:gd name="T90" fmla="*/ 47 w 88"/>
                <a:gd name="T91" fmla="*/ 284 h 355"/>
                <a:gd name="T92" fmla="*/ 22 w 88"/>
                <a:gd name="T93" fmla="*/ 284 h 355"/>
                <a:gd name="T94" fmla="*/ 6 w 88"/>
                <a:gd name="T95" fmla="*/ 270 h 355"/>
                <a:gd name="T96" fmla="*/ 6 w 88"/>
                <a:gd name="T97" fmla="*/ 247 h 355"/>
                <a:gd name="T98" fmla="*/ 22 w 88"/>
                <a:gd name="T99" fmla="*/ 234 h 355"/>
                <a:gd name="T100" fmla="*/ 47 w 88"/>
                <a:gd name="T101" fmla="*/ 234 h 355"/>
                <a:gd name="T102" fmla="*/ 63 w 88"/>
                <a:gd name="T103" fmla="*/ 248 h 355"/>
                <a:gd name="T104" fmla="*/ 63 w 88"/>
                <a:gd name="T105" fmla="*/ 270 h 355"/>
                <a:gd name="T106" fmla="*/ 1 w 88"/>
                <a:gd name="T107" fmla="*/ 352 h 355"/>
                <a:gd name="T108" fmla="*/ 58 w 88"/>
                <a:gd name="T109" fmla="*/ 309 h 355"/>
                <a:gd name="T110" fmla="*/ 59 w 88"/>
                <a:gd name="T111" fmla="*/ 309 h 355"/>
                <a:gd name="T112" fmla="*/ 1 w 88"/>
                <a:gd name="T113" fmla="*/ 309 h 355"/>
                <a:gd name="T114" fmla="*/ 68 w 88"/>
                <a:gd name="T115" fmla="*/ 304 h 355"/>
                <a:gd name="T116" fmla="*/ 14 w 88"/>
                <a:gd name="T117" fmla="*/ 347 h 355"/>
                <a:gd name="T118" fmla="*/ 10 w 88"/>
                <a:gd name="T119" fmla="*/ 351 h 355"/>
                <a:gd name="T120" fmla="*/ 68 w 88"/>
                <a:gd name="T121" fmla="*/ 350 h 355"/>
                <a:gd name="T122" fmla="*/ 1 w 88"/>
                <a:gd name="T12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355">
                  <a:moveTo>
                    <a:pt x="3" y="49"/>
                  </a:moveTo>
                  <a:cubicBezTo>
                    <a:pt x="1" y="43"/>
                    <a:pt x="0" y="37"/>
                    <a:pt x="0" y="31"/>
                  </a:cubicBezTo>
                  <a:cubicBezTo>
                    <a:pt x="0" y="22"/>
                    <a:pt x="3" y="15"/>
                    <a:pt x="9" y="9"/>
                  </a:cubicBezTo>
                  <a:cubicBezTo>
                    <a:pt x="15" y="3"/>
                    <a:pt x="23" y="0"/>
                    <a:pt x="33" y="0"/>
                  </a:cubicBezTo>
                  <a:cubicBezTo>
                    <a:pt x="44" y="0"/>
                    <a:pt x="53" y="3"/>
                    <a:pt x="59" y="10"/>
                  </a:cubicBezTo>
                  <a:cubicBezTo>
                    <a:pt x="66" y="16"/>
                    <a:pt x="69" y="24"/>
                    <a:pt x="69" y="34"/>
                  </a:cubicBezTo>
                  <a:cubicBezTo>
                    <a:pt x="69" y="39"/>
                    <a:pt x="68" y="44"/>
                    <a:pt x="67" y="49"/>
                  </a:cubicBezTo>
                  <a:cubicBezTo>
                    <a:pt x="62" y="49"/>
                    <a:pt x="62" y="49"/>
                    <a:pt x="62" y="49"/>
                  </a:cubicBezTo>
                  <a:cubicBezTo>
                    <a:pt x="64" y="44"/>
                    <a:pt x="65" y="39"/>
                    <a:pt x="65" y="34"/>
                  </a:cubicBezTo>
                  <a:cubicBezTo>
                    <a:pt x="65" y="25"/>
                    <a:pt x="62" y="18"/>
                    <a:pt x="56" y="13"/>
                  </a:cubicBezTo>
                  <a:cubicBezTo>
                    <a:pt x="51" y="8"/>
                    <a:pt x="43" y="5"/>
                    <a:pt x="34" y="5"/>
                  </a:cubicBezTo>
                  <a:cubicBezTo>
                    <a:pt x="24" y="5"/>
                    <a:pt x="17" y="7"/>
                    <a:pt x="12" y="13"/>
                  </a:cubicBezTo>
                  <a:cubicBezTo>
                    <a:pt x="6" y="18"/>
                    <a:pt x="4" y="24"/>
                    <a:pt x="4" y="32"/>
                  </a:cubicBezTo>
                  <a:cubicBezTo>
                    <a:pt x="4" y="38"/>
                    <a:pt x="5" y="44"/>
                    <a:pt x="7" y="49"/>
                  </a:cubicBezTo>
                  <a:lnTo>
                    <a:pt x="3" y="49"/>
                  </a:lnTo>
                  <a:close/>
                  <a:moveTo>
                    <a:pt x="1" y="58"/>
                  </a:moveTo>
                  <a:cubicBezTo>
                    <a:pt x="1" y="63"/>
                    <a:pt x="1" y="63"/>
                    <a:pt x="1" y="63"/>
                  </a:cubicBezTo>
                  <a:cubicBezTo>
                    <a:pt x="22" y="70"/>
                    <a:pt x="22" y="70"/>
                    <a:pt x="22" y="70"/>
                  </a:cubicBezTo>
                  <a:cubicBezTo>
                    <a:pt x="22" y="100"/>
                    <a:pt x="22" y="100"/>
                    <a:pt x="22" y="100"/>
                  </a:cubicBezTo>
                  <a:cubicBezTo>
                    <a:pt x="1" y="107"/>
                    <a:pt x="1" y="107"/>
                    <a:pt x="1" y="107"/>
                  </a:cubicBezTo>
                  <a:cubicBezTo>
                    <a:pt x="1" y="113"/>
                    <a:pt x="1" y="113"/>
                    <a:pt x="1" y="113"/>
                  </a:cubicBezTo>
                  <a:cubicBezTo>
                    <a:pt x="68" y="87"/>
                    <a:pt x="68" y="87"/>
                    <a:pt x="68" y="87"/>
                  </a:cubicBezTo>
                  <a:cubicBezTo>
                    <a:pt x="68" y="83"/>
                    <a:pt x="68" y="83"/>
                    <a:pt x="68" y="83"/>
                  </a:cubicBezTo>
                  <a:lnTo>
                    <a:pt x="1" y="58"/>
                  </a:lnTo>
                  <a:close/>
                  <a:moveTo>
                    <a:pt x="62" y="85"/>
                  </a:moveTo>
                  <a:cubicBezTo>
                    <a:pt x="61" y="85"/>
                    <a:pt x="61" y="86"/>
                    <a:pt x="60" y="86"/>
                  </a:cubicBezTo>
                  <a:cubicBezTo>
                    <a:pt x="59" y="86"/>
                    <a:pt x="58" y="86"/>
                    <a:pt x="57" y="87"/>
                  </a:cubicBezTo>
                  <a:cubicBezTo>
                    <a:pt x="26" y="98"/>
                    <a:pt x="26" y="98"/>
                    <a:pt x="26" y="98"/>
                  </a:cubicBezTo>
                  <a:cubicBezTo>
                    <a:pt x="26" y="72"/>
                    <a:pt x="26" y="72"/>
                    <a:pt x="26" y="72"/>
                  </a:cubicBezTo>
                  <a:cubicBezTo>
                    <a:pt x="57" y="83"/>
                    <a:pt x="57" y="83"/>
                    <a:pt x="57" y="83"/>
                  </a:cubicBezTo>
                  <a:cubicBezTo>
                    <a:pt x="58" y="84"/>
                    <a:pt x="60" y="84"/>
                    <a:pt x="62" y="85"/>
                  </a:cubicBezTo>
                  <a:close/>
                  <a:moveTo>
                    <a:pt x="73" y="81"/>
                  </a:moveTo>
                  <a:cubicBezTo>
                    <a:pt x="73" y="77"/>
                    <a:pt x="73" y="77"/>
                    <a:pt x="73" y="77"/>
                  </a:cubicBezTo>
                  <a:cubicBezTo>
                    <a:pt x="88" y="88"/>
                    <a:pt x="88" y="88"/>
                    <a:pt x="88" y="88"/>
                  </a:cubicBezTo>
                  <a:cubicBezTo>
                    <a:pt x="88" y="93"/>
                    <a:pt x="88" y="93"/>
                    <a:pt x="88" y="93"/>
                  </a:cubicBezTo>
                  <a:lnTo>
                    <a:pt x="73" y="81"/>
                  </a:lnTo>
                  <a:close/>
                  <a:moveTo>
                    <a:pt x="1" y="183"/>
                  </a:moveTo>
                  <a:cubicBezTo>
                    <a:pt x="49" y="183"/>
                    <a:pt x="49" y="183"/>
                    <a:pt x="49" y="183"/>
                  </a:cubicBezTo>
                  <a:cubicBezTo>
                    <a:pt x="50" y="183"/>
                    <a:pt x="53" y="183"/>
                    <a:pt x="58" y="183"/>
                  </a:cubicBezTo>
                  <a:cubicBezTo>
                    <a:pt x="58" y="183"/>
                    <a:pt x="58" y="183"/>
                    <a:pt x="58" y="183"/>
                  </a:cubicBezTo>
                  <a:cubicBezTo>
                    <a:pt x="56" y="182"/>
                    <a:pt x="54" y="181"/>
                    <a:pt x="53" y="180"/>
                  </a:cubicBezTo>
                  <a:cubicBezTo>
                    <a:pt x="1" y="156"/>
                    <a:pt x="1" y="156"/>
                    <a:pt x="1" y="156"/>
                  </a:cubicBezTo>
                  <a:cubicBezTo>
                    <a:pt x="1" y="155"/>
                    <a:pt x="1" y="155"/>
                    <a:pt x="1" y="155"/>
                  </a:cubicBezTo>
                  <a:cubicBezTo>
                    <a:pt x="52" y="131"/>
                    <a:pt x="52" y="131"/>
                    <a:pt x="52" y="131"/>
                  </a:cubicBezTo>
                  <a:cubicBezTo>
                    <a:pt x="54" y="130"/>
                    <a:pt x="56" y="129"/>
                    <a:pt x="59" y="129"/>
                  </a:cubicBezTo>
                  <a:cubicBezTo>
                    <a:pt x="59" y="128"/>
                    <a:pt x="59" y="128"/>
                    <a:pt x="59" y="128"/>
                  </a:cubicBezTo>
                  <a:cubicBezTo>
                    <a:pt x="56" y="129"/>
                    <a:pt x="53" y="129"/>
                    <a:pt x="50" y="129"/>
                  </a:cubicBezTo>
                  <a:cubicBezTo>
                    <a:pt x="1" y="129"/>
                    <a:pt x="1" y="129"/>
                    <a:pt x="1" y="129"/>
                  </a:cubicBezTo>
                  <a:cubicBezTo>
                    <a:pt x="1" y="124"/>
                    <a:pt x="1" y="124"/>
                    <a:pt x="1" y="124"/>
                  </a:cubicBezTo>
                  <a:cubicBezTo>
                    <a:pt x="68" y="124"/>
                    <a:pt x="68" y="124"/>
                    <a:pt x="68" y="124"/>
                  </a:cubicBezTo>
                  <a:cubicBezTo>
                    <a:pt x="68" y="128"/>
                    <a:pt x="68" y="128"/>
                    <a:pt x="68" y="128"/>
                  </a:cubicBezTo>
                  <a:cubicBezTo>
                    <a:pt x="14" y="154"/>
                    <a:pt x="14" y="154"/>
                    <a:pt x="14" y="154"/>
                  </a:cubicBezTo>
                  <a:cubicBezTo>
                    <a:pt x="13" y="154"/>
                    <a:pt x="13" y="154"/>
                    <a:pt x="13" y="154"/>
                  </a:cubicBezTo>
                  <a:cubicBezTo>
                    <a:pt x="12" y="154"/>
                    <a:pt x="11" y="154"/>
                    <a:pt x="11" y="155"/>
                  </a:cubicBezTo>
                  <a:cubicBezTo>
                    <a:pt x="10" y="155"/>
                    <a:pt x="9" y="155"/>
                    <a:pt x="8" y="156"/>
                  </a:cubicBezTo>
                  <a:cubicBezTo>
                    <a:pt x="8" y="156"/>
                    <a:pt x="8" y="156"/>
                    <a:pt x="8" y="156"/>
                  </a:cubicBezTo>
                  <a:cubicBezTo>
                    <a:pt x="10" y="156"/>
                    <a:pt x="10" y="156"/>
                    <a:pt x="10" y="156"/>
                  </a:cubicBezTo>
                  <a:cubicBezTo>
                    <a:pt x="10" y="157"/>
                    <a:pt x="11" y="157"/>
                    <a:pt x="14" y="158"/>
                  </a:cubicBezTo>
                  <a:cubicBezTo>
                    <a:pt x="68" y="183"/>
                    <a:pt x="68" y="183"/>
                    <a:pt x="68" y="183"/>
                  </a:cubicBezTo>
                  <a:cubicBezTo>
                    <a:pt x="68" y="187"/>
                    <a:pt x="68" y="187"/>
                    <a:pt x="68" y="187"/>
                  </a:cubicBezTo>
                  <a:cubicBezTo>
                    <a:pt x="1" y="187"/>
                    <a:pt x="1" y="187"/>
                    <a:pt x="1" y="187"/>
                  </a:cubicBezTo>
                  <a:lnTo>
                    <a:pt x="1" y="183"/>
                  </a:lnTo>
                  <a:close/>
                  <a:moveTo>
                    <a:pt x="70" y="291"/>
                  </a:moveTo>
                  <a:cubicBezTo>
                    <a:pt x="69" y="291"/>
                    <a:pt x="68" y="291"/>
                    <a:pt x="67" y="291"/>
                  </a:cubicBezTo>
                  <a:cubicBezTo>
                    <a:pt x="66" y="290"/>
                    <a:pt x="66" y="290"/>
                    <a:pt x="65" y="289"/>
                  </a:cubicBezTo>
                  <a:cubicBezTo>
                    <a:pt x="65" y="288"/>
                    <a:pt x="64" y="287"/>
                    <a:pt x="64" y="286"/>
                  </a:cubicBezTo>
                  <a:cubicBezTo>
                    <a:pt x="64" y="285"/>
                    <a:pt x="64" y="284"/>
                    <a:pt x="64" y="282"/>
                  </a:cubicBezTo>
                  <a:cubicBezTo>
                    <a:pt x="64" y="281"/>
                    <a:pt x="64" y="280"/>
                    <a:pt x="64" y="280"/>
                  </a:cubicBezTo>
                  <a:cubicBezTo>
                    <a:pt x="64" y="279"/>
                    <a:pt x="64" y="278"/>
                    <a:pt x="64" y="277"/>
                  </a:cubicBezTo>
                  <a:cubicBezTo>
                    <a:pt x="67" y="272"/>
                    <a:pt x="69" y="267"/>
                    <a:pt x="69" y="260"/>
                  </a:cubicBezTo>
                  <a:cubicBezTo>
                    <a:pt x="69" y="255"/>
                    <a:pt x="68" y="250"/>
                    <a:pt x="67" y="246"/>
                  </a:cubicBezTo>
                  <a:cubicBezTo>
                    <a:pt x="65" y="242"/>
                    <a:pt x="63" y="239"/>
                    <a:pt x="60" y="236"/>
                  </a:cubicBezTo>
                  <a:cubicBezTo>
                    <a:pt x="56" y="233"/>
                    <a:pt x="53" y="231"/>
                    <a:pt x="48" y="229"/>
                  </a:cubicBezTo>
                  <a:cubicBezTo>
                    <a:pt x="44" y="228"/>
                    <a:pt x="39" y="227"/>
                    <a:pt x="34" y="227"/>
                  </a:cubicBezTo>
                  <a:cubicBezTo>
                    <a:pt x="29" y="227"/>
                    <a:pt x="24" y="228"/>
                    <a:pt x="20" y="229"/>
                  </a:cubicBezTo>
                  <a:cubicBezTo>
                    <a:pt x="16" y="231"/>
                    <a:pt x="12" y="233"/>
                    <a:pt x="9" y="236"/>
                  </a:cubicBezTo>
                  <a:cubicBezTo>
                    <a:pt x="6" y="238"/>
                    <a:pt x="4" y="242"/>
                    <a:pt x="2" y="245"/>
                  </a:cubicBezTo>
                  <a:cubicBezTo>
                    <a:pt x="0" y="249"/>
                    <a:pt x="0" y="254"/>
                    <a:pt x="0" y="258"/>
                  </a:cubicBezTo>
                  <a:cubicBezTo>
                    <a:pt x="0" y="263"/>
                    <a:pt x="0" y="268"/>
                    <a:pt x="2" y="271"/>
                  </a:cubicBezTo>
                  <a:cubicBezTo>
                    <a:pt x="4" y="275"/>
                    <a:pt x="6" y="279"/>
                    <a:pt x="9" y="282"/>
                  </a:cubicBezTo>
                  <a:cubicBezTo>
                    <a:pt x="12" y="284"/>
                    <a:pt x="16" y="286"/>
                    <a:pt x="20" y="288"/>
                  </a:cubicBezTo>
                  <a:cubicBezTo>
                    <a:pt x="25" y="289"/>
                    <a:pt x="30" y="290"/>
                    <a:pt x="35" y="290"/>
                  </a:cubicBezTo>
                  <a:cubicBezTo>
                    <a:pt x="45" y="290"/>
                    <a:pt x="53" y="287"/>
                    <a:pt x="60" y="282"/>
                  </a:cubicBezTo>
                  <a:cubicBezTo>
                    <a:pt x="60" y="284"/>
                    <a:pt x="60" y="284"/>
                    <a:pt x="60" y="284"/>
                  </a:cubicBezTo>
                  <a:cubicBezTo>
                    <a:pt x="60" y="288"/>
                    <a:pt x="60" y="291"/>
                    <a:pt x="62" y="293"/>
                  </a:cubicBezTo>
                  <a:cubicBezTo>
                    <a:pt x="64" y="295"/>
                    <a:pt x="66" y="296"/>
                    <a:pt x="70" y="296"/>
                  </a:cubicBezTo>
                  <a:cubicBezTo>
                    <a:pt x="71" y="296"/>
                    <a:pt x="72" y="296"/>
                    <a:pt x="73" y="296"/>
                  </a:cubicBezTo>
                  <a:cubicBezTo>
                    <a:pt x="74" y="295"/>
                    <a:pt x="75" y="295"/>
                    <a:pt x="76" y="295"/>
                  </a:cubicBezTo>
                  <a:cubicBezTo>
                    <a:pt x="76" y="290"/>
                    <a:pt x="76" y="290"/>
                    <a:pt x="76" y="290"/>
                  </a:cubicBezTo>
                  <a:cubicBezTo>
                    <a:pt x="74" y="291"/>
                    <a:pt x="72" y="291"/>
                    <a:pt x="70" y="291"/>
                  </a:cubicBezTo>
                  <a:close/>
                  <a:moveTo>
                    <a:pt x="57" y="278"/>
                  </a:moveTo>
                  <a:cubicBezTo>
                    <a:pt x="54" y="281"/>
                    <a:pt x="51" y="282"/>
                    <a:pt x="47" y="284"/>
                  </a:cubicBezTo>
                  <a:cubicBezTo>
                    <a:pt x="44" y="285"/>
                    <a:pt x="39" y="285"/>
                    <a:pt x="35" y="285"/>
                  </a:cubicBezTo>
                  <a:cubicBezTo>
                    <a:pt x="30" y="285"/>
                    <a:pt x="25" y="285"/>
                    <a:pt x="22" y="284"/>
                  </a:cubicBezTo>
                  <a:cubicBezTo>
                    <a:pt x="18" y="282"/>
                    <a:pt x="15" y="280"/>
                    <a:pt x="12" y="278"/>
                  </a:cubicBezTo>
                  <a:cubicBezTo>
                    <a:pt x="9" y="276"/>
                    <a:pt x="7" y="273"/>
                    <a:pt x="6" y="270"/>
                  </a:cubicBezTo>
                  <a:cubicBezTo>
                    <a:pt x="4" y="266"/>
                    <a:pt x="4" y="262"/>
                    <a:pt x="4" y="258"/>
                  </a:cubicBezTo>
                  <a:cubicBezTo>
                    <a:pt x="4" y="254"/>
                    <a:pt x="5" y="251"/>
                    <a:pt x="6" y="247"/>
                  </a:cubicBezTo>
                  <a:cubicBezTo>
                    <a:pt x="7" y="244"/>
                    <a:pt x="9" y="241"/>
                    <a:pt x="12" y="239"/>
                  </a:cubicBezTo>
                  <a:cubicBezTo>
                    <a:pt x="15" y="237"/>
                    <a:pt x="18" y="235"/>
                    <a:pt x="22" y="234"/>
                  </a:cubicBezTo>
                  <a:cubicBezTo>
                    <a:pt x="25" y="233"/>
                    <a:pt x="30" y="232"/>
                    <a:pt x="34" y="232"/>
                  </a:cubicBezTo>
                  <a:cubicBezTo>
                    <a:pt x="39" y="232"/>
                    <a:pt x="43" y="233"/>
                    <a:pt x="47" y="234"/>
                  </a:cubicBezTo>
                  <a:cubicBezTo>
                    <a:pt x="51" y="235"/>
                    <a:pt x="54" y="237"/>
                    <a:pt x="56" y="240"/>
                  </a:cubicBezTo>
                  <a:cubicBezTo>
                    <a:pt x="59" y="242"/>
                    <a:pt x="61" y="245"/>
                    <a:pt x="63" y="248"/>
                  </a:cubicBezTo>
                  <a:cubicBezTo>
                    <a:pt x="64" y="251"/>
                    <a:pt x="65" y="255"/>
                    <a:pt x="65" y="259"/>
                  </a:cubicBezTo>
                  <a:cubicBezTo>
                    <a:pt x="65" y="263"/>
                    <a:pt x="64" y="267"/>
                    <a:pt x="63" y="270"/>
                  </a:cubicBezTo>
                  <a:cubicBezTo>
                    <a:pt x="62" y="273"/>
                    <a:pt x="60" y="276"/>
                    <a:pt x="57" y="278"/>
                  </a:cubicBezTo>
                  <a:close/>
                  <a:moveTo>
                    <a:pt x="1" y="352"/>
                  </a:moveTo>
                  <a:cubicBezTo>
                    <a:pt x="55" y="312"/>
                    <a:pt x="55" y="312"/>
                    <a:pt x="55" y="312"/>
                  </a:cubicBezTo>
                  <a:cubicBezTo>
                    <a:pt x="56" y="311"/>
                    <a:pt x="57" y="310"/>
                    <a:pt x="58" y="309"/>
                  </a:cubicBezTo>
                  <a:cubicBezTo>
                    <a:pt x="59" y="309"/>
                    <a:pt x="59" y="309"/>
                    <a:pt x="59" y="309"/>
                  </a:cubicBezTo>
                  <a:cubicBezTo>
                    <a:pt x="59" y="309"/>
                    <a:pt x="59" y="309"/>
                    <a:pt x="59" y="309"/>
                  </a:cubicBezTo>
                  <a:cubicBezTo>
                    <a:pt x="59" y="309"/>
                    <a:pt x="58" y="309"/>
                    <a:pt x="56" y="309"/>
                  </a:cubicBezTo>
                  <a:cubicBezTo>
                    <a:pt x="1" y="309"/>
                    <a:pt x="1" y="309"/>
                    <a:pt x="1" y="309"/>
                  </a:cubicBezTo>
                  <a:cubicBezTo>
                    <a:pt x="1" y="304"/>
                    <a:pt x="1" y="304"/>
                    <a:pt x="1" y="304"/>
                  </a:cubicBezTo>
                  <a:cubicBezTo>
                    <a:pt x="68" y="304"/>
                    <a:pt x="68" y="304"/>
                    <a:pt x="68" y="304"/>
                  </a:cubicBezTo>
                  <a:cubicBezTo>
                    <a:pt x="68" y="308"/>
                    <a:pt x="68" y="308"/>
                    <a:pt x="68" y="308"/>
                  </a:cubicBezTo>
                  <a:cubicBezTo>
                    <a:pt x="14" y="347"/>
                    <a:pt x="14" y="347"/>
                    <a:pt x="14" y="347"/>
                  </a:cubicBezTo>
                  <a:cubicBezTo>
                    <a:pt x="13" y="348"/>
                    <a:pt x="11" y="349"/>
                    <a:pt x="10" y="350"/>
                  </a:cubicBezTo>
                  <a:cubicBezTo>
                    <a:pt x="10" y="351"/>
                    <a:pt x="10" y="351"/>
                    <a:pt x="10" y="351"/>
                  </a:cubicBezTo>
                  <a:cubicBezTo>
                    <a:pt x="12" y="350"/>
                    <a:pt x="14" y="350"/>
                    <a:pt x="15" y="350"/>
                  </a:cubicBezTo>
                  <a:cubicBezTo>
                    <a:pt x="68" y="350"/>
                    <a:pt x="68" y="350"/>
                    <a:pt x="68" y="350"/>
                  </a:cubicBezTo>
                  <a:cubicBezTo>
                    <a:pt x="68" y="355"/>
                    <a:pt x="68" y="355"/>
                    <a:pt x="68" y="355"/>
                  </a:cubicBezTo>
                  <a:cubicBezTo>
                    <a:pt x="1" y="355"/>
                    <a:pt x="1" y="355"/>
                    <a:pt x="1" y="355"/>
                  </a:cubicBezTo>
                  <a:lnTo>
                    <a:pt x="1" y="352"/>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40" name="Freeform 254">
              <a:extLst>
                <a:ext uri="{FF2B5EF4-FFF2-40B4-BE49-F238E27FC236}">
                  <a16:creationId xmlns:a16="http://schemas.microsoft.com/office/drawing/2014/main" id="{EDCD86F8-2DAC-7389-B6E0-AD6C5B53B65B}"/>
                </a:ext>
                <a:ext uri="{C183D7F6-B498-43B3-948B-1728B52AA6E4}">
                  <adec:decorative xmlns:adec="http://schemas.microsoft.com/office/drawing/2017/decorative" val="1"/>
                </a:ext>
              </a:extLst>
            </p:cNvPr>
            <p:cNvSpPr>
              <a:spLocks noEditPoints="1"/>
            </p:cNvSpPr>
            <p:nvPr/>
          </p:nvSpPr>
          <p:spPr bwMode="auto">
            <a:xfrm>
              <a:off x="1269635" y="4428592"/>
              <a:ext cx="981279" cy="146420"/>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41" name="Freeform 5">
              <a:extLst>
                <a:ext uri="{FF2B5EF4-FFF2-40B4-BE49-F238E27FC236}">
                  <a16:creationId xmlns:a16="http://schemas.microsoft.com/office/drawing/2014/main" id="{2EEEA630-F107-37B7-C445-243FBBC8532C}"/>
                </a:ext>
                <a:ext uri="{C183D7F6-B498-43B3-948B-1728B52AA6E4}">
                  <adec:decorative xmlns:adec="http://schemas.microsoft.com/office/drawing/2017/decorative" val="1"/>
                </a:ext>
              </a:extLst>
            </p:cNvPr>
            <p:cNvSpPr>
              <a:spLocks noEditPoints="1"/>
            </p:cNvSpPr>
            <p:nvPr/>
          </p:nvSpPr>
          <p:spPr bwMode="auto">
            <a:xfrm>
              <a:off x="5146839" y="5570034"/>
              <a:ext cx="651189" cy="199082"/>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solidFill>
              <a:schemeClr val="tx2">
                <a:lumMod val="50000"/>
                <a:lumOff val="50000"/>
              </a:scheme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Freeform 235">
              <a:extLst>
                <a:ext uri="{FF2B5EF4-FFF2-40B4-BE49-F238E27FC236}">
                  <a16:creationId xmlns:a16="http://schemas.microsoft.com/office/drawing/2014/main" id="{3B8FB36D-E014-76CB-A0CA-F3F182F2DD82}"/>
                </a:ext>
                <a:ext uri="{C183D7F6-B498-43B3-948B-1728B52AA6E4}">
                  <adec:decorative xmlns:adec="http://schemas.microsoft.com/office/drawing/2017/decorative" val="1"/>
                </a:ext>
              </a:extLst>
            </p:cNvPr>
            <p:cNvSpPr>
              <a:spLocks noEditPoints="1"/>
            </p:cNvSpPr>
            <p:nvPr/>
          </p:nvSpPr>
          <p:spPr bwMode="auto">
            <a:xfrm>
              <a:off x="2319405" y="4084404"/>
              <a:ext cx="747519" cy="182384"/>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solidFill>
              <a:schemeClr val="accent4">
                <a:lumMod val="75000"/>
              </a:schemeClr>
            </a:solidFill>
            <a:ln>
              <a:noFill/>
            </a:ln>
          </p:spPr>
          <p:txBody>
            <a:bodyPr vert="horz" wrap="square" lIns="89642" tIns="44821" rIns="89642" bIns="44821" numCol="1" anchor="t" anchorCtr="0" compatLnSpc="1">
              <a:prstTxWarp prst="textNoShape">
                <a:avLst/>
              </a:prstTxWarp>
            </a:bodyPr>
            <a:lstStyle/>
            <a:p>
              <a:pPr defTabSz="914314"/>
              <a:endParaRPr lang="en-US" sz="1200">
                <a:solidFill>
                  <a:srgbClr val="000000"/>
                </a:solidFill>
                <a:latin typeface="Segoe UI Semilight"/>
              </a:endParaRPr>
            </a:p>
          </p:txBody>
        </p:sp>
        <p:sp>
          <p:nvSpPr>
            <p:cNvPr id="43" name="TextBox 42">
              <a:extLst>
                <a:ext uri="{FF2B5EF4-FFF2-40B4-BE49-F238E27FC236}">
                  <a16:creationId xmlns:a16="http://schemas.microsoft.com/office/drawing/2014/main" id="{62C5ACEE-A43E-F3AB-2084-9E70415F78AC}"/>
                </a:ext>
                <a:ext uri="{C183D7F6-B498-43B3-948B-1728B52AA6E4}">
                  <adec:decorative xmlns:adec="http://schemas.microsoft.com/office/drawing/2017/decorative" val="1"/>
                </a:ext>
              </a:extLst>
            </p:cNvPr>
            <p:cNvSpPr txBox="1"/>
            <p:nvPr/>
          </p:nvSpPr>
          <p:spPr>
            <a:xfrm>
              <a:off x="3010944" y="5290674"/>
              <a:ext cx="1703431" cy="644515"/>
            </a:xfrm>
            <a:prstGeom prst="rect">
              <a:avLst/>
            </a:prstGeom>
            <a:noFill/>
          </p:spPr>
          <p:txBody>
            <a:bodyPr wrap="square" lIns="89642" tIns="44821" rIns="89642" bIns="4482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err="1">
                  <a:ln>
                    <a:noFill/>
                  </a:ln>
                  <a:solidFill>
                    <a:schemeClr val="tx2">
                      <a:lumMod val="75000"/>
                      <a:lumOff val="25000"/>
                    </a:schemeClr>
                  </a:solidFill>
                  <a:effectLst/>
                  <a:uLnTx/>
                  <a:uFillTx/>
                  <a:latin typeface="Calibri" panose="020F0502020204030204"/>
                  <a:ea typeface="+mn-ea"/>
                  <a:cs typeface="+mn-cs"/>
                </a:rPr>
                <a:t>આભાર</a:t>
              </a:r>
              <a:endParaRPr kumimoji="0" lang="en-US" sz="3600" b="1" i="0" u="none" strike="noStrike" kern="1200" cap="none" spc="0" normalizeH="0" baseline="0" noProof="0">
                <a:ln>
                  <a:noFill/>
                </a:ln>
                <a:solidFill>
                  <a:schemeClr val="tx2">
                    <a:lumMod val="75000"/>
                    <a:lumOff val="25000"/>
                  </a:schemeClr>
                </a:solidFill>
                <a:effectLst/>
                <a:uLnTx/>
                <a:uFillTx/>
                <a:latin typeface="Calibri" panose="020F0502020204030204"/>
                <a:ea typeface="+mn-ea"/>
                <a:cs typeface="Calibri"/>
              </a:endParaRPr>
            </a:p>
          </p:txBody>
        </p:sp>
        <p:sp>
          <p:nvSpPr>
            <p:cNvPr id="44" name="TextBox 43">
              <a:extLst>
                <a:ext uri="{FF2B5EF4-FFF2-40B4-BE49-F238E27FC236}">
                  <a16:creationId xmlns:a16="http://schemas.microsoft.com/office/drawing/2014/main" id="{957BE823-57BA-1B9E-778B-96AF6A33778A}"/>
                </a:ext>
                <a:ext uri="{C183D7F6-B498-43B3-948B-1728B52AA6E4}">
                  <adec:decorative xmlns:adec="http://schemas.microsoft.com/office/drawing/2017/decorative" val="1"/>
                </a:ext>
              </a:extLst>
            </p:cNvPr>
            <p:cNvSpPr txBox="1"/>
            <p:nvPr/>
          </p:nvSpPr>
          <p:spPr>
            <a:xfrm>
              <a:off x="9029115" y="4729600"/>
              <a:ext cx="1703431" cy="5931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3200" b="0" i="0" u="none" strike="noStrike" kern="1200" cap="none" spc="0" normalizeH="0" baseline="0" noProof="0">
                  <a:ln>
                    <a:noFill/>
                  </a:ln>
                  <a:solidFill>
                    <a:srgbClr val="94E874"/>
                  </a:solidFill>
                  <a:effectLst/>
                  <a:uLnTx/>
                  <a:uFillTx/>
                  <a:latin typeface="Calibri" panose="020F0502020204030204"/>
                  <a:ea typeface="+mn-ea"/>
                  <a:cs typeface="Mangal" panose="020B0502040204020203" pitchFamily="18" charset="0"/>
                </a:rPr>
                <a:t>धन्यवाद</a:t>
              </a:r>
              <a:endParaRPr kumimoji="0" lang="en-US" sz="3200" b="0" i="0" u="none" strike="noStrike" kern="1200" cap="none" spc="0" normalizeH="0" baseline="0" noProof="0">
                <a:ln>
                  <a:noFill/>
                </a:ln>
                <a:solidFill>
                  <a:srgbClr val="94E874"/>
                </a:solidFill>
                <a:effectLst/>
                <a:uLnTx/>
                <a:uFillTx/>
                <a:latin typeface="Calibri" panose="020F0502020204030204"/>
                <a:ea typeface="+mn-ea"/>
                <a:cs typeface="+mn-cs"/>
              </a:endParaRPr>
            </a:p>
          </p:txBody>
        </p:sp>
      </p:grpSp>
      <p:sp>
        <p:nvSpPr>
          <p:cNvPr id="46" name="Text Placeholder 45">
            <a:extLst>
              <a:ext uri="{FF2B5EF4-FFF2-40B4-BE49-F238E27FC236}">
                <a16:creationId xmlns:a16="http://schemas.microsoft.com/office/drawing/2014/main" id="{10397BC3-39D4-7D95-A009-0B33C1583FCB}"/>
              </a:ext>
            </a:extLst>
          </p:cNvPr>
          <p:cNvSpPr>
            <a:spLocks noGrp="1"/>
          </p:cNvSpPr>
          <p:nvPr>
            <p:ph type="body" sz="quarter" idx="10" hasCustomPrompt="1"/>
          </p:nvPr>
        </p:nvSpPr>
        <p:spPr>
          <a:xfrm>
            <a:off x="3356658" y="2875002"/>
            <a:ext cx="5478684" cy="1107996"/>
          </a:xfrm>
        </p:spPr>
        <p:txBody>
          <a:bodyPr/>
          <a:lstStyle>
            <a:lvl1pPr marL="0" indent="0" algn="ctr">
              <a:buNone/>
              <a:defRPr lang="en-US" sz="7200" b="0" kern="1200" cap="none" spc="-50" baseline="0" dirty="0" smtClean="0">
                <a:ln w="3175">
                  <a:noFill/>
                </a:ln>
                <a:solidFill>
                  <a:schemeClr val="bg1"/>
                </a:solidFill>
                <a:effectLst/>
                <a:latin typeface="+mj-lt"/>
                <a:ea typeface="+mn-ea"/>
                <a:cs typeface="Segoe UI" pitchFamily="34" charset="0"/>
              </a:defRPr>
            </a:lvl1pPr>
          </a:lstStyle>
          <a:p>
            <a:pPr marL="0" lvl="0" indent="0" algn="ctr" defTabSz="932742" rtl="0" eaLnBrk="1" latinLnBrk="0" hangingPunct="1">
              <a:lnSpc>
                <a:spcPct val="100000"/>
              </a:lnSpc>
              <a:spcBef>
                <a:spcPct val="0"/>
              </a:spcBef>
              <a:buFont typeface="Arial" panose="020B0604020202020204" pitchFamily="34" charset="0"/>
              <a:buNone/>
            </a:pPr>
            <a:r>
              <a:rPr lang="en-US"/>
              <a:t>THANK YOU</a:t>
            </a:r>
          </a:p>
        </p:txBody>
      </p:sp>
    </p:spTree>
    <p:extLst>
      <p:ext uri="{BB962C8B-B14F-4D97-AF65-F5344CB8AC3E}">
        <p14:creationId xmlns:p14="http://schemas.microsoft.com/office/powerpoint/2010/main" val="2786229497"/>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Blank slide (Dark)">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1F98EFB3-8107-C3F0-6569-ACCD573DD3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DA27B1E-127B-0864-2316-D7A89861DB39}"/>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a:xfrm>
            <a:off x="0" y="7620"/>
            <a:ext cx="12192000" cy="6858000"/>
          </a:xfrm>
          <a:prstGeom prst="rect">
            <a:avLst/>
          </a:prstGeom>
        </p:spPr>
      </p:pic>
      <p:pic>
        <p:nvPicPr>
          <p:cNvPr id="5" name="Graphic 4">
            <a:extLst>
              <a:ext uri="{FF2B5EF4-FFF2-40B4-BE49-F238E27FC236}">
                <a16:creationId xmlns:a16="http://schemas.microsoft.com/office/drawing/2014/main" id="{74F18BFA-8A31-8E14-61B5-7B0F9F68D6C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4200" y="588962"/>
            <a:ext cx="1391154" cy="29368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8429D7A5-516F-58F3-537F-8C907D57014A}"/>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Tree>
    <p:extLst>
      <p:ext uri="{BB962C8B-B14F-4D97-AF65-F5344CB8AC3E}">
        <p14:creationId xmlns:p14="http://schemas.microsoft.com/office/powerpoint/2010/main" val="2237895331"/>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7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91D498F-9936-E1BA-F881-CE61ECA42518}"/>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4D15FB2A-62EB-3781-2CE9-6D9B48489524}"/>
                </a:ext>
              </a:extLst>
            </p:cNvPr>
            <p:cNvGrpSpPr/>
            <p:nvPr userDrawn="1"/>
          </p:nvGrpSpPr>
          <p:grpSpPr>
            <a:xfrm>
              <a:off x="0" y="0"/>
              <a:ext cx="12192000" cy="6858000"/>
              <a:chOff x="0" y="0"/>
              <a:chExt cx="12192000" cy="6858000"/>
            </a:xfrm>
          </p:grpSpPr>
          <p:pic>
            <p:nvPicPr>
              <p:cNvPr id="26" name="Picture 25" descr="A picture containing blue, electric blue, majorelle blue, blur&#10;&#10;Description automatically generated">
                <a:extLst>
                  <a:ext uri="{FF2B5EF4-FFF2-40B4-BE49-F238E27FC236}">
                    <a16:creationId xmlns:a16="http://schemas.microsoft.com/office/drawing/2014/main" id="{0C0BEFD3-BDBC-2211-BA51-41E0E60880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7" name="Picture 26">
                <a:extLst>
                  <a:ext uri="{FF2B5EF4-FFF2-40B4-BE49-F238E27FC236}">
                    <a16:creationId xmlns:a16="http://schemas.microsoft.com/office/drawing/2014/main" id="{D664DF57-D82C-DF3E-B1D5-C5A0C0313F6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396D0FCF-F4F1-0B08-B6DC-776CD90BB6FF}"/>
                </a:ext>
              </a:extLst>
            </p:cNvPr>
            <p:cNvGrpSpPr/>
            <p:nvPr userDrawn="1"/>
          </p:nvGrpSpPr>
          <p:grpSpPr>
            <a:xfrm>
              <a:off x="0" y="0"/>
              <a:ext cx="12192000" cy="6858002"/>
              <a:chOff x="0" y="0"/>
              <a:chExt cx="12192000" cy="6858002"/>
            </a:xfrm>
          </p:grpSpPr>
          <p:grpSp>
            <p:nvGrpSpPr>
              <p:cNvPr id="16" name="Group 15">
                <a:extLst>
                  <a:ext uri="{FF2B5EF4-FFF2-40B4-BE49-F238E27FC236}">
                    <a16:creationId xmlns:a16="http://schemas.microsoft.com/office/drawing/2014/main" id="{BD9A89AA-FB46-4242-3CE0-083C5AAC2C5F}"/>
                  </a:ext>
                </a:extLst>
              </p:cNvPr>
              <p:cNvGrpSpPr/>
              <p:nvPr/>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0F35DCB7-BA89-F54C-6414-576E7054CFF4}"/>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7F3ADE0A-162C-A617-3069-66EBD83F4B4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3AFE1179-0589-E118-85A8-C62B923C300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BB3A7186-8ED4-C193-F658-1DAAE8FC364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7" name="Freeform: Shape 16">
                <a:extLst>
                  <a:ext uri="{FF2B5EF4-FFF2-40B4-BE49-F238E27FC236}">
                    <a16:creationId xmlns:a16="http://schemas.microsoft.com/office/drawing/2014/main" id="{E16EA534-354E-D9F6-2A14-E66AE5E26DC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25" name="Rectangle 24">
            <a:extLst>
              <a:ext uri="{FF2B5EF4-FFF2-40B4-BE49-F238E27FC236}">
                <a16:creationId xmlns:a16="http://schemas.microsoft.com/office/drawing/2014/main" id="{CCD19D23-D676-3470-2280-B300E8049402}"/>
              </a:ext>
              <a:ext uri="{C183D7F6-B498-43B3-948B-1728B52AA6E4}">
                <adec:decorative xmlns:adec="http://schemas.microsoft.com/office/drawing/2017/decorative" val="1"/>
              </a:ext>
            </a:extLst>
          </p:cNvPr>
          <p:cNvSpPr/>
          <p:nvPr userDrawn="1"/>
        </p:nvSpPr>
        <p:spPr bwMode="auto">
          <a:xfrm>
            <a:off x="8594106" y="0"/>
            <a:ext cx="3617773" cy="6858000"/>
          </a:xfrm>
          <a:prstGeom prst="rect">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262904" y="245459"/>
            <a:ext cx="8242143"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0" name="Text Placeholder 19">
            <a:extLst>
              <a:ext uri="{FF2B5EF4-FFF2-40B4-BE49-F238E27FC236}">
                <a16:creationId xmlns:a16="http://schemas.microsoft.com/office/drawing/2014/main" id="{195DAF23-F7A1-6D41-E8D1-129D42534A5D}"/>
              </a:ext>
            </a:extLst>
          </p:cNvPr>
          <p:cNvSpPr>
            <a:spLocks noGrp="1"/>
          </p:cNvSpPr>
          <p:nvPr>
            <p:ph type="body" sz="quarter" idx="10"/>
          </p:nvPr>
        </p:nvSpPr>
        <p:spPr>
          <a:xfrm>
            <a:off x="282782" y="799457"/>
            <a:ext cx="8242143" cy="246221"/>
          </a:xfrm>
        </p:spPr>
        <p:txBody>
          <a:bodyPr/>
          <a:lstStyle>
            <a:lvl1pPr marL="0" indent="0">
              <a:buNone/>
              <a:defRPr sz="1600">
                <a:solidFill>
                  <a:schemeClr val="bg1"/>
                </a:solidFill>
                <a:latin typeface="+mj-lt"/>
              </a:defRPr>
            </a:lvl1pPr>
            <a:lvl2pPr marL="228600" indent="0">
              <a:buNone/>
              <a:defRPr/>
            </a:lvl2pPr>
          </a:lstStyle>
          <a:p>
            <a:pPr lvl="0"/>
            <a:r>
              <a:rPr lang="en-US"/>
              <a:t>Click to edit Master text styles</a:t>
            </a:r>
          </a:p>
        </p:txBody>
      </p:sp>
      <p:sp>
        <p:nvSpPr>
          <p:cNvPr id="24" name="Text Placeholder 22">
            <a:extLst>
              <a:ext uri="{FF2B5EF4-FFF2-40B4-BE49-F238E27FC236}">
                <a16:creationId xmlns:a16="http://schemas.microsoft.com/office/drawing/2014/main" id="{A6487B5A-6884-8FFF-B0FD-D4BCB68362CA}"/>
              </a:ext>
            </a:extLst>
          </p:cNvPr>
          <p:cNvSpPr>
            <a:spLocks noGrp="1"/>
          </p:cNvSpPr>
          <p:nvPr>
            <p:ph type="body" sz="quarter" idx="12"/>
          </p:nvPr>
        </p:nvSpPr>
        <p:spPr>
          <a:xfrm>
            <a:off x="8777288" y="6278887"/>
            <a:ext cx="3106956" cy="215444"/>
          </a:xfrm>
        </p:spPr>
        <p:txBody>
          <a:bodyPr/>
          <a:lstStyle>
            <a:lvl1pPr marL="0" indent="0" algn="r">
              <a:buNone/>
              <a:defRPr sz="1400">
                <a:solidFill>
                  <a:schemeClr val="bg1"/>
                </a:solidFill>
              </a:defRPr>
            </a:lvl1pPr>
            <a:lvl2pPr marL="285750" indent="-117475">
              <a:defRPr sz="1400"/>
            </a:lvl2pPr>
            <a:lvl3pPr marL="512763" indent="-111125">
              <a:defRPr sz="1100"/>
            </a:lvl3pPr>
            <a:lvl4pPr marL="798513" indent="-136525">
              <a:defRPr sz="1050"/>
            </a:lvl4pPr>
            <a:lvl5pPr marL="969963" indent="-114300">
              <a:defRPr sz="1050"/>
            </a:lvl5pPr>
          </a:lstStyle>
          <a:p>
            <a:pPr lvl="0"/>
            <a:r>
              <a:rPr lang="en-US"/>
              <a:t>Click to edit Master text styles</a:t>
            </a:r>
          </a:p>
        </p:txBody>
      </p:sp>
    </p:spTree>
    <p:extLst>
      <p:ext uri="{BB962C8B-B14F-4D97-AF65-F5344CB8AC3E}">
        <p14:creationId xmlns:p14="http://schemas.microsoft.com/office/powerpoint/2010/main" val="3428300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8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A9015C-1EAE-AF38-08E1-84B5B58B6FEA}"/>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6FDC18C2-C732-9AF1-4F4F-9E15108107B9}"/>
                </a:ext>
              </a:extLst>
            </p:cNvPr>
            <p:cNvGrpSpPr/>
            <p:nvPr userDrawn="1"/>
          </p:nvGrpSpPr>
          <p:grpSpPr>
            <a:xfrm>
              <a:off x="0" y="0"/>
              <a:ext cx="12192000" cy="6858000"/>
              <a:chOff x="0" y="0"/>
              <a:chExt cx="12192000" cy="6858000"/>
            </a:xfrm>
          </p:grpSpPr>
          <p:pic>
            <p:nvPicPr>
              <p:cNvPr id="27" name="Picture 26" descr="A picture containing blue, electric blue, majorelle blue, blur&#10;&#10;Description automatically generated">
                <a:extLst>
                  <a:ext uri="{FF2B5EF4-FFF2-40B4-BE49-F238E27FC236}">
                    <a16:creationId xmlns:a16="http://schemas.microsoft.com/office/drawing/2014/main" id="{7AD0125E-2705-E12D-9600-AD47224DA7D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8" name="Picture 27">
                <a:extLst>
                  <a:ext uri="{FF2B5EF4-FFF2-40B4-BE49-F238E27FC236}">
                    <a16:creationId xmlns:a16="http://schemas.microsoft.com/office/drawing/2014/main" id="{088E0787-0B78-DFD1-CC3D-EB8FEF365578}"/>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20" name="Group 19">
              <a:extLst>
                <a:ext uri="{FF2B5EF4-FFF2-40B4-BE49-F238E27FC236}">
                  <a16:creationId xmlns:a16="http://schemas.microsoft.com/office/drawing/2014/main" id="{A23BF334-09DC-3CD6-6F34-73433EA1CA48}"/>
                </a:ext>
              </a:extLst>
            </p:cNvPr>
            <p:cNvGrpSpPr/>
            <p:nvPr userDrawn="1"/>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89CEA4CF-42FC-EA1E-6E92-3228F7DBE9C0}"/>
                  </a:ext>
                </a:extLst>
              </p:cNvPr>
              <p:cNvGrpSpPr/>
              <p:nvPr/>
            </p:nvGrpSpPr>
            <p:grpSpPr>
              <a:xfrm>
                <a:off x="0" y="0"/>
                <a:ext cx="12192000" cy="6858002"/>
                <a:chOff x="0" y="0"/>
                <a:chExt cx="12192000" cy="6858002"/>
              </a:xfrm>
            </p:grpSpPr>
            <p:grpSp>
              <p:nvGrpSpPr>
                <p:cNvPr id="23" name="Group 22">
                  <a:extLst>
                    <a:ext uri="{FF2B5EF4-FFF2-40B4-BE49-F238E27FC236}">
                      <a16:creationId xmlns:a16="http://schemas.microsoft.com/office/drawing/2014/main" id="{844EB708-91D0-3C63-DB40-722C92254D86}"/>
                    </a:ext>
                  </a:extLst>
                </p:cNvPr>
                <p:cNvGrpSpPr/>
                <p:nvPr/>
              </p:nvGrpSpPr>
              <p:grpSpPr>
                <a:xfrm>
                  <a:off x="9486900" y="0"/>
                  <a:ext cx="2705100" cy="694583"/>
                  <a:chOff x="9486900" y="0"/>
                  <a:chExt cx="2705100" cy="694583"/>
                </a:xfrm>
              </p:grpSpPr>
              <p:sp>
                <p:nvSpPr>
                  <p:cNvPr id="25" name="Freeform: Shape 24">
                    <a:extLst>
                      <a:ext uri="{FF2B5EF4-FFF2-40B4-BE49-F238E27FC236}">
                        <a16:creationId xmlns:a16="http://schemas.microsoft.com/office/drawing/2014/main" id="{67CF89A9-3C8C-83B1-74E3-00A8047F14E5}"/>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6" name="Freeform: Shape 25">
                    <a:extLst>
                      <a:ext uri="{FF2B5EF4-FFF2-40B4-BE49-F238E27FC236}">
                        <a16:creationId xmlns:a16="http://schemas.microsoft.com/office/drawing/2014/main" id="{EF8AC342-A3FC-B38B-5948-C11DC34C528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4" name="Freeform: Shape 23">
                  <a:extLst>
                    <a:ext uri="{FF2B5EF4-FFF2-40B4-BE49-F238E27FC236}">
                      <a16:creationId xmlns:a16="http://schemas.microsoft.com/office/drawing/2014/main" id="{A9B13D22-1D60-FB21-931E-6A8FD0345D96}"/>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22" name="Freeform: Shape 21">
                <a:extLst>
                  <a:ext uri="{FF2B5EF4-FFF2-40B4-BE49-F238E27FC236}">
                    <a16:creationId xmlns:a16="http://schemas.microsoft.com/office/drawing/2014/main" id="{B23AEDDB-8B83-567E-A99C-1D14EA8F48A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p:nvPr userDrawn="1"/>
        </p:nvSpPr>
        <p:spPr bwMode="auto">
          <a:xfrm>
            <a:off x="592645"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p:nvPr userDrawn="1"/>
        </p:nvSpPr>
        <p:spPr bwMode="auto">
          <a:xfrm>
            <a:off x="4292328"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sp>
        <p:nvSpPr>
          <p:cNvPr id="17" name="Rectangle: Rounded Corners 16">
            <a:extLst>
              <a:ext uri="{FF2B5EF4-FFF2-40B4-BE49-F238E27FC236}">
                <a16:creationId xmlns:a16="http://schemas.microsoft.com/office/drawing/2014/main" id="{143606F3-8101-01FF-A93D-3938D53D1E68}"/>
              </a:ext>
              <a:ext uri="{C183D7F6-B498-43B3-948B-1728B52AA6E4}">
                <adec:decorative xmlns:adec="http://schemas.microsoft.com/office/drawing/2017/decorative" val="1"/>
              </a:ext>
            </a:extLst>
          </p:cNvPr>
          <p:cNvSpPr/>
          <p:nvPr userDrawn="1"/>
        </p:nvSpPr>
        <p:spPr bwMode="auto">
          <a:xfrm>
            <a:off x="7992011" y="1172697"/>
            <a:ext cx="3617377" cy="4642930"/>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err="1">
              <a:solidFill>
                <a:schemeClr val="bg1"/>
              </a:solidFill>
            </a:endParaRPr>
          </a:p>
        </p:txBody>
      </p:sp>
      <p:cxnSp>
        <p:nvCxnSpPr>
          <p:cNvPr id="46" name="Straight Connector 45">
            <a:extLst>
              <a:ext uri="{FF2B5EF4-FFF2-40B4-BE49-F238E27FC236}">
                <a16:creationId xmlns:a16="http://schemas.microsoft.com/office/drawing/2014/main" id="{2E4F43F4-F96B-2B18-F162-4BF7D5034C5B}"/>
              </a:ext>
              <a:ext uri="{C183D7F6-B498-43B3-948B-1728B52AA6E4}">
                <adec:decorative xmlns:adec="http://schemas.microsoft.com/office/drawing/2017/decorative" val="1"/>
              </a:ext>
            </a:extLst>
          </p:cNvPr>
          <p:cNvCxnSpPr>
            <a:cxnSpLocks/>
          </p:cNvCxnSpPr>
          <p:nvPr userDrawn="1"/>
        </p:nvCxnSpPr>
        <p:spPr>
          <a:xfrm flipH="1">
            <a:off x="8016726" y="3796035"/>
            <a:ext cx="3567947" cy="0"/>
          </a:xfrm>
          <a:prstGeom prst="line">
            <a:avLst/>
          </a:prstGeom>
          <a:noFill/>
          <a:ln w="6350" cap="rnd" cmpd="sng" algn="ctr">
            <a:solidFill>
              <a:schemeClr val="bg1"/>
            </a:solidFill>
            <a:prstDash val="solid"/>
            <a:headEnd type="none" w="lg" len="med"/>
            <a:tailEnd type="none" w="lg" len="med"/>
          </a:ln>
          <a:effectLst/>
        </p:spPr>
      </p:cxnSp>
      <p:cxnSp>
        <p:nvCxnSpPr>
          <p:cNvPr id="62" name="Straight Connector 61">
            <a:extLst>
              <a:ext uri="{FF2B5EF4-FFF2-40B4-BE49-F238E27FC236}">
                <a16:creationId xmlns:a16="http://schemas.microsoft.com/office/drawing/2014/main" id="{D8DB73F7-C86B-8942-83F5-A5A5044BEE1F}"/>
              </a:ext>
              <a:ext uri="{C183D7F6-B498-43B3-948B-1728B52AA6E4}">
                <adec:decorative xmlns:adec="http://schemas.microsoft.com/office/drawing/2017/decorative" val="1"/>
              </a:ext>
            </a:extLst>
          </p:cNvPr>
          <p:cNvCxnSpPr>
            <a:cxnSpLocks/>
          </p:cNvCxnSpPr>
          <p:nvPr userDrawn="1"/>
        </p:nvCxnSpPr>
        <p:spPr>
          <a:xfrm>
            <a:off x="617360" y="3063878"/>
            <a:ext cx="3567947" cy="0"/>
          </a:xfrm>
          <a:prstGeom prst="line">
            <a:avLst/>
          </a:prstGeom>
          <a:ln w="635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95F806A0-3C32-58B1-7CDE-118770D63979}"/>
              </a:ext>
              <a:ext uri="{C183D7F6-B498-43B3-948B-1728B52AA6E4}">
                <adec:decorative xmlns:adec="http://schemas.microsoft.com/office/drawing/2017/decorative" val="1"/>
              </a:ext>
            </a:extLst>
          </p:cNvPr>
          <p:cNvSpPr/>
          <p:nvPr userDrawn="1"/>
        </p:nvSpPr>
        <p:spPr bwMode="auto">
          <a:xfrm>
            <a:off x="584200" y="5908121"/>
            <a:ext cx="11038987" cy="461147"/>
          </a:xfrm>
          <a:prstGeom prst="roundRect">
            <a:avLst>
              <a:gd name="adj" fmla="val 20116"/>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solidFill>
                <a:schemeClr val="bg1"/>
              </a:solidFill>
            </a:endParaRPr>
          </a:p>
        </p:txBody>
      </p:sp>
      <p:cxnSp>
        <p:nvCxnSpPr>
          <p:cNvPr id="56" name="Straight Connector 55">
            <a:extLst>
              <a:ext uri="{FF2B5EF4-FFF2-40B4-BE49-F238E27FC236}">
                <a16:creationId xmlns:a16="http://schemas.microsoft.com/office/drawing/2014/main" id="{E5E11882-CB08-356E-5B74-26B1248E37D8}"/>
              </a:ext>
              <a:ext uri="{C183D7F6-B498-43B3-948B-1728B52AA6E4}">
                <adec:decorative xmlns:adec="http://schemas.microsoft.com/office/drawing/2017/decorative" val="1"/>
              </a:ext>
            </a:extLst>
          </p:cNvPr>
          <p:cNvCxnSpPr>
            <a:cxnSpLocks/>
          </p:cNvCxnSpPr>
          <p:nvPr userDrawn="1"/>
        </p:nvCxnSpPr>
        <p:spPr>
          <a:xfrm flipV="1">
            <a:off x="423248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57" name="Straight Connector 56">
            <a:extLst>
              <a:ext uri="{FF2B5EF4-FFF2-40B4-BE49-F238E27FC236}">
                <a16:creationId xmlns:a16="http://schemas.microsoft.com/office/drawing/2014/main" id="{C63B8DCD-DE62-48E9-0A4B-BA3CD78E51BB}"/>
              </a:ext>
              <a:ext uri="{C183D7F6-B498-43B3-948B-1728B52AA6E4}">
                <adec:decorative xmlns:adec="http://schemas.microsoft.com/office/drawing/2017/decorative" val="1"/>
              </a:ext>
            </a:extLst>
          </p:cNvPr>
          <p:cNvCxnSpPr>
            <a:cxnSpLocks/>
          </p:cNvCxnSpPr>
          <p:nvPr userDrawn="1"/>
        </p:nvCxnSpPr>
        <p:spPr>
          <a:xfrm flipV="1">
            <a:off x="796110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A8F027FD-F521-DE87-CD2E-8041E95563ED}"/>
              </a:ext>
              <a:ext uri="{C183D7F6-B498-43B3-948B-1728B52AA6E4}">
                <adec:decorative xmlns:adec="http://schemas.microsoft.com/office/drawing/2017/decorative" val="1"/>
              </a:ext>
            </a:extLst>
          </p:cNvPr>
          <p:cNvCxnSpPr>
            <a:cxnSpLocks/>
          </p:cNvCxnSpPr>
          <p:nvPr userDrawn="1"/>
        </p:nvCxnSpPr>
        <p:spPr>
          <a:xfrm>
            <a:off x="617360" y="5143879"/>
            <a:ext cx="3567947" cy="0"/>
          </a:xfrm>
          <a:prstGeom prst="line">
            <a:avLst/>
          </a:prstGeom>
          <a:ln w="635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63" name="Text Placeholder 19">
            <a:extLst>
              <a:ext uri="{FF2B5EF4-FFF2-40B4-BE49-F238E27FC236}">
                <a16:creationId xmlns:a16="http://schemas.microsoft.com/office/drawing/2014/main" id="{8068FD61-0883-9F36-F1D7-B2A9A9FB1D7C}"/>
              </a:ext>
            </a:extLst>
          </p:cNvPr>
          <p:cNvSpPr>
            <a:spLocks noGrp="1"/>
          </p:cNvSpPr>
          <p:nvPr userDrawn="1">
            <p:ph type="body" sz="quarter" idx="10"/>
          </p:nvPr>
        </p:nvSpPr>
        <p:spPr>
          <a:xfrm>
            <a:off x="725424"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hasCustomPrompt="1"/>
          </p:nvPr>
        </p:nvSpPr>
        <p:spPr>
          <a:xfrm>
            <a:off x="725424" y="1841262"/>
            <a:ext cx="3285498" cy="1087722"/>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45720" anchor="t">
            <a:noAutofit/>
          </a:bodyPr>
          <a:lstStyle>
            <a:lvl1pPr marL="0" indent="0" algn="ctr">
              <a:buNone/>
              <a:defRPr sz="1000">
                <a:solidFill>
                  <a:schemeClr val="bg1"/>
                </a:solidFill>
              </a:defRPr>
            </a:lvl1pPr>
            <a:lvl2pPr>
              <a:defRPr sz="1200"/>
            </a:lvl2pPr>
            <a:lvl3pPr>
              <a:defRPr sz="1050"/>
            </a:lvl3pPr>
            <a:lvl4pPr>
              <a:defRPr sz="1000"/>
            </a:lvl4pPr>
            <a:lvl5pPr>
              <a:defRPr sz="1000"/>
            </a:lvl5pPr>
          </a:lstStyle>
          <a:p>
            <a:pPr lvl="0"/>
            <a:r>
              <a:rPr lang="en-US"/>
              <a:t>Click to edit</a:t>
            </a:r>
            <a:br>
              <a:rPr lang="en-US"/>
            </a:br>
            <a:r>
              <a:rPr lang="en-US"/>
              <a:t>Master text</a:t>
            </a:r>
            <a:endParaRPr lang="en-IN"/>
          </a:p>
        </p:txBody>
      </p:sp>
      <p:sp>
        <p:nvSpPr>
          <p:cNvPr id="76" name="Text Placeholder 75">
            <a:extLst>
              <a:ext uri="{FF2B5EF4-FFF2-40B4-BE49-F238E27FC236}">
                <a16:creationId xmlns:a16="http://schemas.microsoft.com/office/drawing/2014/main" id="{A786D3A4-9022-6969-01DC-7F30FFFDDBFF}"/>
              </a:ext>
            </a:extLst>
          </p:cNvPr>
          <p:cNvSpPr>
            <a:spLocks noGrp="1"/>
          </p:cNvSpPr>
          <p:nvPr>
            <p:ph type="body" sz="quarter" idx="19"/>
          </p:nvPr>
        </p:nvSpPr>
        <p:spPr>
          <a:xfrm>
            <a:off x="725424" y="3201900"/>
            <a:ext cx="2816429" cy="246221"/>
          </a:xfrm>
        </p:spPr>
        <p:txBody>
          <a:bodyPr/>
          <a:lstStyle>
            <a:lvl1pPr marL="0" indent="0">
              <a:buNone/>
              <a:defRPr sz="1600">
                <a:solidFill>
                  <a:schemeClr val="accent1">
                    <a:lumMod val="60000"/>
                    <a:lumOff val="40000"/>
                  </a:schemeClr>
                </a:solidFill>
                <a:latin typeface="+mj-lt"/>
              </a:defRPr>
            </a:lvl1pPr>
            <a:lvl2pPr marL="171450" indent="-115888">
              <a:tabLst/>
              <a:defRPr sz="1200"/>
            </a:lvl2pPr>
          </a:lstStyle>
          <a:p>
            <a:pPr lvl="0"/>
            <a:r>
              <a:rPr lang="en-US"/>
              <a:t>Click to edit Master text styles</a:t>
            </a:r>
          </a:p>
        </p:txBody>
      </p:sp>
      <p:sp>
        <p:nvSpPr>
          <p:cNvPr id="100" name="Text Placeholder 19">
            <a:extLst>
              <a:ext uri="{FF2B5EF4-FFF2-40B4-BE49-F238E27FC236}">
                <a16:creationId xmlns:a16="http://schemas.microsoft.com/office/drawing/2014/main" id="{3981418A-A896-E8E4-2620-0B17CEB96363}"/>
              </a:ext>
            </a:extLst>
          </p:cNvPr>
          <p:cNvSpPr>
            <a:spLocks noGrp="1"/>
          </p:cNvSpPr>
          <p:nvPr>
            <p:ph type="body" sz="quarter" idx="33"/>
          </p:nvPr>
        </p:nvSpPr>
        <p:spPr>
          <a:xfrm>
            <a:off x="725425" y="3520875"/>
            <a:ext cx="2816429" cy="184666"/>
          </a:xfrm>
        </p:spPr>
        <p:txBody>
          <a:bodyPr/>
          <a:lstStyle>
            <a:lvl1pPr marL="173038" indent="-115888">
              <a:spcBef>
                <a:spcPts val="300"/>
              </a:spcBef>
              <a:spcAft>
                <a:spcPts val="200"/>
              </a:spcAft>
              <a:buFont typeface="Arial" panose="020B0604020202020204" pitchFamily="34" charset="0"/>
              <a:buChar char="•"/>
              <a:defRPr sz="1200">
                <a:solidFill>
                  <a:schemeClr val="bg1"/>
                </a:solidFill>
                <a:latin typeface="+mn-lt"/>
              </a:defRPr>
            </a:lvl1pPr>
            <a:lvl2pPr marL="228600" indent="0">
              <a:buNone/>
              <a:defRPr/>
            </a:lvl2pPr>
          </a:lstStyle>
          <a:p>
            <a:pPr lvl="0"/>
            <a:r>
              <a:rPr lang="en-US"/>
              <a:t>Click to edit Master text styles</a:t>
            </a:r>
          </a:p>
        </p:txBody>
      </p:sp>
      <p:sp>
        <p:nvSpPr>
          <p:cNvPr id="68" name="Text Placeholder 19">
            <a:extLst>
              <a:ext uri="{FF2B5EF4-FFF2-40B4-BE49-F238E27FC236}">
                <a16:creationId xmlns:a16="http://schemas.microsoft.com/office/drawing/2014/main" id="{6B5B20DC-6BE6-AC3F-7438-B3A00512F21E}"/>
              </a:ext>
            </a:extLst>
          </p:cNvPr>
          <p:cNvSpPr>
            <a:spLocks noGrp="1"/>
          </p:cNvSpPr>
          <p:nvPr userDrawn="1">
            <p:ph type="body" sz="quarter" idx="13"/>
          </p:nvPr>
        </p:nvSpPr>
        <p:spPr>
          <a:xfrm>
            <a:off x="725425" y="5265400"/>
            <a:ext cx="2816429"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71" name="Text Placeholder 19">
            <a:extLst>
              <a:ext uri="{FF2B5EF4-FFF2-40B4-BE49-F238E27FC236}">
                <a16:creationId xmlns:a16="http://schemas.microsoft.com/office/drawing/2014/main" id="{181B8105-6CDF-D2DE-6AFA-A385BBC31670}"/>
              </a:ext>
            </a:extLst>
          </p:cNvPr>
          <p:cNvSpPr>
            <a:spLocks noGrp="1"/>
          </p:cNvSpPr>
          <p:nvPr userDrawn="1">
            <p:ph type="body" sz="quarter" idx="16"/>
          </p:nvPr>
        </p:nvSpPr>
        <p:spPr>
          <a:xfrm>
            <a:off x="725424"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
        <p:nvSpPr>
          <p:cNvPr id="64" name="Text Placeholder 19">
            <a:extLst>
              <a:ext uri="{FF2B5EF4-FFF2-40B4-BE49-F238E27FC236}">
                <a16:creationId xmlns:a16="http://schemas.microsoft.com/office/drawing/2014/main" id="{46082AB6-170E-8CF3-D9E4-F30B5BA7AD7E}"/>
              </a:ext>
            </a:extLst>
          </p:cNvPr>
          <p:cNvSpPr>
            <a:spLocks noGrp="1"/>
          </p:cNvSpPr>
          <p:nvPr userDrawn="1">
            <p:ph type="body" sz="quarter" idx="11"/>
          </p:nvPr>
        </p:nvSpPr>
        <p:spPr>
          <a:xfrm>
            <a:off x="4454044"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4523665" y="2159230"/>
            <a:ext cx="1463150" cy="3007946"/>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731520">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181334" y="2159231"/>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6181334" y="3205137"/>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81334" y="4251045"/>
            <a:ext cx="1497492" cy="916131"/>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4" name="Content Placeholder 79">
            <a:extLst>
              <a:ext uri="{FF2B5EF4-FFF2-40B4-BE49-F238E27FC236}">
                <a16:creationId xmlns:a16="http://schemas.microsoft.com/office/drawing/2014/main" id="{02F6F7BD-F793-FAD7-2A16-AF45BD54710E}"/>
              </a:ext>
            </a:extLst>
          </p:cNvPr>
          <p:cNvSpPr>
            <a:spLocks noGrp="1"/>
          </p:cNvSpPr>
          <p:nvPr>
            <p:ph sz="quarter" idx="27"/>
          </p:nvPr>
        </p:nvSpPr>
        <p:spPr>
          <a:xfrm>
            <a:off x="4523665" y="5310485"/>
            <a:ext cx="1497492" cy="352592"/>
          </a:xfrm>
          <a:prstGeom prst="roundRect">
            <a:avLst/>
          </a:prstGeom>
          <a:blipFill>
            <a:blip r:embed="rId7"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3" name="Content Placeholder 79">
            <a:extLst>
              <a:ext uri="{FF2B5EF4-FFF2-40B4-BE49-F238E27FC236}">
                <a16:creationId xmlns:a16="http://schemas.microsoft.com/office/drawing/2014/main" id="{369946CB-0637-4CF3-F149-CF7F63E4E2D0}"/>
              </a:ext>
            </a:extLst>
          </p:cNvPr>
          <p:cNvSpPr>
            <a:spLocks noGrp="1"/>
          </p:cNvSpPr>
          <p:nvPr>
            <p:ph sz="quarter" idx="26"/>
          </p:nvPr>
        </p:nvSpPr>
        <p:spPr>
          <a:xfrm>
            <a:off x="6181334" y="5310485"/>
            <a:ext cx="1497492" cy="352592"/>
          </a:xfrm>
          <a:prstGeom prst="roundRect">
            <a:avLst/>
          </a:prstGeom>
          <a:blipFill>
            <a:blip r:embed="rId7"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2" name="Text Placeholder 19">
            <a:extLst>
              <a:ext uri="{FF2B5EF4-FFF2-40B4-BE49-F238E27FC236}">
                <a16:creationId xmlns:a16="http://schemas.microsoft.com/office/drawing/2014/main" id="{EF6919F7-07CE-C436-CB9A-42FAAE9B817C}"/>
              </a:ext>
            </a:extLst>
          </p:cNvPr>
          <p:cNvSpPr>
            <a:spLocks noGrp="1"/>
          </p:cNvSpPr>
          <p:nvPr userDrawn="1">
            <p:ph type="body" sz="quarter" idx="17"/>
          </p:nvPr>
        </p:nvSpPr>
        <p:spPr>
          <a:xfrm>
            <a:off x="4454044"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
        <p:nvSpPr>
          <p:cNvPr id="65" name="Text Placeholder 19">
            <a:extLst>
              <a:ext uri="{FF2B5EF4-FFF2-40B4-BE49-F238E27FC236}">
                <a16:creationId xmlns:a16="http://schemas.microsoft.com/office/drawing/2014/main" id="{903A10FE-A006-7ED4-252B-244DC9C4CF8E}"/>
              </a:ext>
            </a:extLst>
          </p:cNvPr>
          <p:cNvSpPr>
            <a:spLocks noGrp="1"/>
          </p:cNvSpPr>
          <p:nvPr userDrawn="1">
            <p:ph type="body" sz="quarter" idx="12"/>
          </p:nvPr>
        </p:nvSpPr>
        <p:spPr>
          <a:xfrm>
            <a:off x="8157950" y="1277306"/>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99" name="Content Placeholder 79">
            <a:extLst>
              <a:ext uri="{FF2B5EF4-FFF2-40B4-BE49-F238E27FC236}">
                <a16:creationId xmlns:a16="http://schemas.microsoft.com/office/drawing/2014/main" id="{CCF1C177-A37E-50D5-EEAC-02CEAD2156FC}"/>
              </a:ext>
            </a:extLst>
          </p:cNvPr>
          <p:cNvSpPr>
            <a:spLocks noGrp="1"/>
          </p:cNvSpPr>
          <p:nvPr>
            <p:ph sz="quarter" idx="32"/>
          </p:nvPr>
        </p:nvSpPr>
        <p:spPr>
          <a:xfrm>
            <a:off x="8157950" y="1628136"/>
            <a:ext cx="3285498" cy="1988193"/>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69" name="Text Placeholder 19">
            <a:extLst>
              <a:ext uri="{FF2B5EF4-FFF2-40B4-BE49-F238E27FC236}">
                <a16:creationId xmlns:a16="http://schemas.microsoft.com/office/drawing/2014/main" id="{734EE56D-7C57-A9ED-4EEC-C18D8EAFCEB7}"/>
              </a:ext>
            </a:extLst>
          </p:cNvPr>
          <p:cNvSpPr>
            <a:spLocks noGrp="1"/>
          </p:cNvSpPr>
          <p:nvPr userDrawn="1">
            <p:ph type="body" sz="quarter" idx="14"/>
          </p:nvPr>
        </p:nvSpPr>
        <p:spPr>
          <a:xfrm>
            <a:off x="8157950" y="3930021"/>
            <a:ext cx="3285498" cy="246221"/>
          </a:xfrm>
        </p:spPr>
        <p:txBody>
          <a:bodyPr/>
          <a:lstStyle>
            <a:lvl1pPr marL="0" indent="0">
              <a:buNone/>
              <a:defRPr sz="1600">
                <a:solidFill>
                  <a:schemeClr val="accent1">
                    <a:lumMod val="60000"/>
                    <a:lumOff val="40000"/>
                  </a:schemeClr>
                </a:solidFill>
                <a:latin typeface="+mj-lt"/>
              </a:defRPr>
            </a:lvl1pPr>
            <a:lvl2pPr marL="228600" indent="0">
              <a:buNone/>
              <a:defRPr/>
            </a:lvl2pPr>
          </a:lstStyle>
          <a:p>
            <a:pPr lvl="0"/>
            <a:r>
              <a:rPr lang="en-US"/>
              <a:t>Click to edit Master text styles</a:t>
            </a:r>
          </a:p>
        </p:txBody>
      </p:sp>
      <p:sp>
        <p:nvSpPr>
          <p:cNvPr id="70" name="Text Placeholder 19">
            <a:extLst>
              <a:ext uri="{FF2B5EF4-FFF2-40B4-BE49-F238E27FC236}">
                <a16:creationId xmlns:a16="http://schemas.microsoft.com/office/drawing/2014/main" id="{58A65D1C-52B7-197B-2FC4-43449ABFCABD}"/>
              </a:ext>
            </a:extLst>
          </p:cNvPr>
          <p:cNvSpPr>
            <a:spLocks noGrp="1"/>
          </p:cNvSpPr>
          <p:nvPr userDrawn="1">
            <p:ph type="body" sz="quarter" idx="15"/>
          </p:nvPr>
        </p:nvSpPr>
        <p:spPr>
          <a:xfrm>
            <a:off x="8157950" y="4246880"/>
            <a:ext cx="3285498" cy="184666"/>
          </a:xfrm>
        </p:spPr>
        <p:txBody>
          <a:bodyPr/>
          <a:lstStyle>
            <a:lvl1pPr marL="0" indent="0">
              <a:buNone/>
              <a:defRPr sz="1200">
                <a:solidFill>
                  <a:schemeClr val="bg1"/>
                </a:solidFill>
                <a:latin typeface="+mn-lt"/>
              </a:defRPr>
            </a:lvl1pPr>
            <a:lvl2pPr marL="228600" indent="0">
              <a:buNone/>
              <a:defRPr/>
            </a:lvl2pPr>
          </a:lstStyle>
          <a:p>
            <a:pPr lvl="0"/>
            <a:r>
              <a:rPr lang="en-US"/>
              <a:t>Click to edit Master text styles</a:t>
            </a:r>
          </a:p>
        </p:txBody>
      </p:sp>
      <p:sp>
        <p:nvSpPr>
          <p:cNvPr id="95" name="Content Placeholder 79">
            <a:extLst>
              <a:ext uri="{FF2B5EF4-FFF2-40B4-BE49-F238E27FC236}">
                <a16:creationId xmlns:a16="http://schemas.microsoft.com/office/drawing/2014/main" id="{9503EABA-20B8-6893-82CD-1962B3CC6E14}"/>
              </a:ext>
            </a:extLst>
          </p:cNvPr>
          <p:cNvSpPr>
            <a:spLocks noGrp="1"/>
          </p:cNvSpPr>
          <p:nvPr>
            <p:ph sz="quarter" idx="28"/>
          </p:nvPr>
        </p:nvSpPr>
        <p:spPr>
          <a:xfrm>
            <a:off x="8157950"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6" name="Content Placeholder 79">
            <a:extLst>
              <a:ext uri="{FF2B5EF4-FFF2-40B4-BE49-F238E27FC236}">
                <a16:creationId xmlns:a16="http://schemas.microsoft.com/office/drawing/2014/main" id="{1CABCBCD-9387-E209-85CA-937B674F8FC4}"/>
              </a:ext>
            </a:extLst>
          </p:cNvPr>
          <p:cNvSpPr>
            <a:spLocks noGrp="1"/>
          </p:cNvSpPr>
          <p:nvPr>
            <p:ph sz="quarter" idx="29"/>
          </p:nvPr>
        </p:nvSpPr>
        <p:spPr>
          <a:xfrm>
            <a:off x="9006228"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7" name="Content Placeholder 79">
            <a:extLst>
              <a:ext uri="{FF2B5EF4-FFF2-40B4-BE49-F238E27FC236}">
                <a16:creationId xmlns:a16="http://schemas.microsoft.com/office/drawing/2014/main" id="{10E00F9F-0569-9CBD-F3AC-54BBEBA42B4D}"/>
              </a:ext>
            </a:extLst>
          </p:cNvPr>
          <p:cNvSpPr>
            <a:spLocks noGrp="1"/>
          </p:cNvSpPr>
          <p:nvPr>
            <p:ph sz="quarter" idx="30"/>
          </p:nvPr>
        </p:nvSpPr>
        <p:spPr>
          <a:xfrm>
            <a:off x="9854506"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8" name="Content Placeholder 79">
            <a:extLst>
              <a:ext uri="{FF2B5EF4-FFF2-40B4-BE49-F238E27FC236}">
                <a16:creationId xmlns:a16="http://schemas.microsoft.com/office/drawing/2014/main" id="{DF233606-C006-5D80-AAB4-16F601FEF40F}"/>
              </a:ext>
            </a:extLst>
          </p:cNvPr>
          <p:cNvSpPr>
            <a:spLocks noGrp="1"/>
          </p:cNvSpPr>
          <p:nvPr>
            <p:ph sz="quarter" idx="31"/>
          </p:nvPr>
        </p:nvSpPr>
        <p:spPr>
          <a:xfrm>
            <a:off x="10702784" y="5006081"/>
            <a:ext cx="740664" cy="65699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3" name="Text Placeholder 19">
            <a:extLst>
              <a:ext uri="{FF2B5EF4-FFF2-40B4-BE49-F238E27FC236}">
                <a16:creationId xmlns:a16="http://schemas.microsoft.com/office/drawing/2014/main" id="{6EA99964-67CF-9C1F-2BFD-7F45BC1262A0}"/>
              </a:ext>
            </a:extLst>
          </p:cNvPr>
          <p:cNvSpPr>
            <a:spLocks noGrp="1"/>
          </p:cNvSpPr>
          <p:nvPr userDrawn="1">
            <p:ph type="body" sz="quarter" idx="18"/>
          </p:nvPr>
        </p:nvSpPr>
        <p:spPr>
          <a:xfrm>
            <a:off x="8182665" y="6015584"/>
            <a:ext cx="3285498" cy="246221"/>
          </a:xfrm>
        </p:spPr>
        <p:txBody>
          <a:bodyPr/>
          <a:lstStyle>
            <a:lvl1pPr marL="0" indent="0" algn="ctr">
              <a:buNone/>
              <a:defRPr sz="1600">
                <a:solidFill>
                  <a:schemeClr val="bg1"/>
                </a:solidFill>
                <a:latin typeface="+mj-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96793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9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A94FF7-6B2E-5C2E-0E2B-846362E82128}"/>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F2D0BB09-2351-E676-8A1D-2F1C28C0D6D7}"/>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081C2E0E-3E34-7218-1C87-1EF42C5D503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0" name="Picture 29">
                <a:extLst>
                  <a:ext uri="{FF2B5EF4-FFF2-40B4-BE49-F238E27FC236}">
                    <a16:creationId xmlns:a16="http://schemas.microsoft.com/office/drawing/2014/main" id="{ACEF907B-1B8F-A25A-F438-240366220AE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B47F9C50-732B-4A38-A680-27EFEB0BC624}"/>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A88403D9-6B62-1217-7A2E-E1F523F8E203}"/>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3D8C0B2B-4DD1-0624-B5E3-E6A312E81C43}"/>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55BDB177-BF73-E27D-84B4-1F31B29C5FD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F7FC364C-275E-1A3F-761D-3E23DE86E0E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415FDA10-549D-E979-D5F4-14E3D6D3A1E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5E4C9152-6CE6-2C07-BACA-C94905FDA69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a:spLocks/>
          </p:cNvSpPr>
          <p:nvPr userDrawn="1"/>
        </p:nvSpPr>
        <p:spPr bwMode="auto">
          <a:xfrm>
            <a:off x="617359"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a:spLocks/>
          </p:cNvSpPr>
          <p:nvPr userDrawn="1"/>
        </p:nvSpPr>
        <p:spPr bwMode="auto">
          <a:xfrm>
            <a:off x="6209713"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95"/>
            <a:ext cx="2603499" cy="1240994"/>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3413536" y="3649695"/>
            <a:ext cx="2603499" cy="1240994"/>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209713" y="3649695"/>
            <a:ext cx="2603499" cy="1240994"/>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9005889" y="3649695"/>
            <a:ext cx="2603499" cy="1240994"/>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7359" y="5028044"/>
            <a:ext cx="2603499" cy="1240994"/>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3413536" y="5028044"/>
            <a:ext cx="2603499" cy="1240994"/>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6209713" y="5028044"/>
            <a:ext cx="2603499" cy="1240994"/>
          </a:xfrm>
          <a:prstGeom prst="roundRect">
            <a:avLst>
              <a:gd name="adj" fmla="val 7500"/>
            </a:avLst>
          </a:prstGeom>
          <a:blipFill>
            <a:blip r:embed="rId10"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9005889" y="5028044"/>
            <a:ext cx="2603499" cy="1240994"/>
          </a:xfrm>
          <a:prstGeom prst="roundRect">
            <a:avLst>
              <a:gd name="adj" fmla="val 7500"/>
            </a:avLst>
          </a:prstGeom>
          <a:blipFill>
            <a:blip r:embed="rId11"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26211378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0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1C5818-8246-5D4C-6B14-69B580B8DBE2}"/>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76FC413A-5F6C-C9CE-73D3-A1805FD0A221}"/>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48CFACFE-5CEB-17E9-5E76-53A9D559E7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0" name="Picture 29">
                <a:extLst>
                  <a:ext uri="{FF2B5EF4-FFF2-40B4-BE49-F238E27FC236}">
                    <a16:creationId xmlns:a16="http://schemas.microsoft.com/office/drawing/2014/main" id="{DADE7190-F3B8-E4B4-18AC-C90E3C8C1B0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0DDAF38B-990C-E8A3-B8B9-4D6A9353F437}"/>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B542E32-3DD6-2073-EBB5-DFB17B21B67A}"/>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E8C20715-C736-3995-2B33-4A8DE92F6CB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6ACE0056-6541-1FB4-15A0-574C636E726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7042D2C8-6931-9309-51C5-D1DF514A90D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A3F83673-77F1-BDDE-6077-A5C41FC2E449}"/>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B4B99E7D-E8B3-C46A-37A2-15D715706BD6}"/>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a:spLocks/>
          </p:cNvSpPr>
          <p:nvPr userDrawn="1"/>
        </p:nvSpPr>
        <p:spPr bwMode="auto">
          <a:xfrm>
            <a:off x="617359"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a:spLocks/>
          </p:cNvSpPr>
          <p:nvPr userDrawn="1"/>
        </p:nvSpPr>
        <p:spPr bwMode="auto">
          <a:xfrm>
            <a:off x="6209713" y="1172697"/>
            <a:ext cx="5399675" cy="2256303"/>
          </a:xfrm>
          <a:prstGeom prst="roundRect">
            <a:avLst>
              <a:gd name="adj" fmla="val 2490"/>
            </a:avLst>
          </a:prstGeom>
          <a:solidFill>
            <a:schemeClr val="bg1">
              <a:alpha val="10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noProof="0"/>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lumMod val="60000"/>
                    <a:lumOff val="40000"/>
                  </a:schemeClr>
                </a:solidFill>
                <a:latin typeface="+mj-lt"/>
              </a:defRPr>
            </a:lvl1pPr>
            <a:lvl2pPr marL="288925" indent="-174625">
              <a:buFont typeface="Arial" panose="020B0604020202020204" pitchFamily="34" charset="0"/>
              <a:buChar char="•"/>
              <a:defRPr sz="1400">
                <a:solidFill>
                  <a:schemeClr val="bg1"/>
                </a:solidFill>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63"/>
            <a:ext cx="2289208" cy="2619375"/>
          </a:xfrm>
          <a:prstGeom prst="roundRect">
            <a:avLst>
              <a:gd name="adj" fmla="val 4005"/>
            </a:avLst>
          </a:prstGeom>
          <a:blipFill>
            <a:blip r:embed="rId4"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2963215" y="3649663"/>
            <a:ext cx="2395436" cy="1318577"/>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5415299" y="3649663"/>
            <a:ext cx="2395436" cy="1318577"/>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7867383" y="3649663"/>
            <a:ext cx="2257937" cy="1318577"/>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2963215" y="5050762"/>
            <a:ext cx="1723353" cy="1218277"/>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4759470" y="5050762"/>
            <a:ext cx="2661059" cy="121827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7493431" y="5050762"/>
            <a:ext cx="2631889" cy="1218276"/>
          </a:xfrm>
          <a:prstGeom prst="roundRect">
            <a:avLst>
              <a:gd name="adj" fmla="val 7500"/>
            </a:avLst>
          </a:prstGeom>
          <a:blipFill>
            <a:blip r:embed="rId10"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10181968" y="3649663"/>
            <a:ext cx="1420812" cy="2619375"/>
          </a:xfrm>
          <a:prstGeom prst="roundRect">
            <a:avLst>
              <a:gd name="adj" fmla="val 5891"/>
            </a:avLst>
          </a:prstGeom>
          <a:blipFill>
            <a:blip r:embed="rId11" cstate="screen">
              <a:extLst>
                <a:ext uri="{28A0092B-C50C-407E-A947-70E740481C1C}">
                  <a14:useLocalDpi xmlns:a14="http://schemas.microsoft.com/office/drawing/2010/main"/>
                </a:ext>
              </a:extLst>
            </a:blip>
            <a:stretch>
              <a:fillRect/>
            </a:stretch>
          </a:blipFill>
        </p:spPr>
        <p:txBody>
          <a:bodyPr wrap="none" lIns="0" tIns="0" rIns="0" anchor="ctr">
            <a:noAutofit/>
          </a:bodyPr>
          <a:lstStyle>
            <a:lvl1pPr marL="0" indent="0" algn="ctr">
              <a:buNone/>
              <a:defRPr sz="1000"/>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269606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1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6AC4BFF-D196-AA96-37E7-FACDA804E47D}"/>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A8753585-20B0-509A-BF2F-2A4BDF1B0D47}"/>
                </a:ext>
              </a:extLst>
            </p:cNvPr>
            <p:cNvGrpSpPr/>
            <p:nvPr userDrawn="1"/>
          </p:nvGrpSpPr>
          <p:grpSpPr>
            <a:xfrm>
              <a:off x="0" y="0"/>
              <a:ext cx="12192000" cy="6858000"/>
              <a:chOff x="0" y="0"/>
              <a:chExt cx="12192000" cy="6858000"/>
            </a:xfrm>
          </p:grpSpPr>
          <p:pic>
            <p:nvPicPr>
              <p:cNvPr id="22" name="Picture 21" descr="A picture containing blue, electric blue, majorelle blue, blur&#10;&#10;Description automatically generated">
                <a:extLst>
                  <a:ext uri="{FF2B5EF4-FFF2-40B4-BE49-F238E27FC236}">
                    <a16:creationId xmlns:a16="http://schemas.microsoft.com/office/drawing/2014/main" id="{857A9451-4E49-FB87-AB57-37A71E07DDE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3" name="Picture 22">
                <a:extLst>
                  <a:ext uri="{FF2B5EF4-FFF2-40B4-BE49-F238E27FC236}">
                    <a16:creationId xmlns:a16="http://schemas.microsoft.com/office/drawing/2014/main" id="{5CB8EC1E-01BA-5969-F891-60D401DFA778}"/>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4" name="Group 13">
              <a:extLst>
                <a:ext uri="{FF2B5EF4-FFF2-40B4-BE49-F238E27FC236}">
                  <a16:creationId xmlns:a16="http://schemas.microsoft.com/office/drawing/2014/main" id="{06029611-386E-3A07-DCF9-334F2CB4F508}"/>
                </a:ext>
              </a:extLst>
            </p:cNvPr>
            <p:cNvGrpSpPr/>
            <p:nvPr userDrawn="1"/>
          </p:nvGrpSpPr>
          <p:grpSpPr>
            <a:xfrm>
              <a:off x="0" y="0"/>
              <a:ext cx="12192000" cy="6858002"/>
              <a:chOff x="0" y="0"/>
              <a:chExt cx="12192000" cy="6858002"/>
            </a:xfrm>
          </p:grpSpPr>
          <p:grpSp>
            <p:nvGrpSpPr>
              <p:cNvPr id="15" name="Group 14">
                <a:extLst>
                  <a:ext uri="{FF2B5EF4-FFF2-40B4-BE49-F238E27FC236}">
                    <a16:creationId xmlns:a16="http://schemas.microsoft.com/office/drawing/2014/main" id="{B4846701-D33E-6881-7C5B-9D82CCC65586}"/>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86F9F051-F65C-6C52-8B73-31D47BF72B71}"/>
                    </a:ext>
                  </a:extLst>
                </p:cNvPr>
                <p:cNvGrpSpPr/>
                <p:nvPr/>
              </p:nvGrpSpPr>
              <p:grpSpPr>
                <a:xfrm>
                  <a:off x="9486900" y="0"/>
                  <a:ext cx="2705100" cy="694583"/>
                  <a:chOff x="9486900" y="0"/>
                  <a:chExt cx="2705100" cy="694583"/>
                </a:xfrm>
              </p:grpSpPr>
              <p:sp>
                <p:nvSpPr>
                  <p:cNvPr id="20" name="Freeform: Shape 19">
                    <a:extLst>
                      <a:ext uri="{FF2B5EF4-FFF2-40B4-BE49-F238E27FC236}">
                        <a16:creationId xmlns:a16="http://schemas.microsoft.com/office/drawing/2014/main" id="{17F0C1ED-787F-505A-788B-D3BB7CD9A95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1" name="Freeform: Shape 20">
                    <a:extLst>
                      <a:ext uri="{FF2B5EF4-FFF2-40B4-BE49-F238E27FC236}">
                        <a16:creationId xmlns:a16="http://schemas.microsoft.com/office/drawing/2014/main" id="{6B4E8660-0895-8571-96CA-55492C83915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6581E848-2F42-4DC9-1314-54E994400C87}"/>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6" name="Freeform: Shape 15">
                <a:extLst>
                  <a:ext uri="{FF2B5EF4-FFF2-40B4-BE49-F238E27FC236}">
                    <a16:creationId xmlns:a16="http://schemas.microsoft.com/office/drawing/2014/main" id="{376CC51D-1A32-0B08-7B62-53B4F16DA7E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1226176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xtendable Agenda (Dark)">
    <p:bg>
      <p:bgPr>
        <a:solidFill>
          <a:srgbClr val="193467"/>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F42FD7-DC34-8A74-008D-B3D9CECF594B}"/>
              </a:ext>
              <a:ext uri="{C183D7F6-B498-43B3-948B-1728B52AA6E4}">
                <adec:decorative xmlns:adec="http://schemas.microsoft.com/office/drawing/2017/decorative" val="1"/>
              </a:ext>
            </a:extLst>
          </p:cNvPr>
          <p:cNvPicPr>
            <a:picLocks noChangeAspect="1"/>
          </p:cNvPicPr>
          <p:nvPr userDrawn="1"/>
        </p:nvPicPr>
        <p:blipFill rotWithShape="1">
          <a:blip r:embed="rId2">
            <a:alphaModFix amt="50000"/>
          </a:blip>
          <a:stretch/>
        </p:blipFill>
        <p:spPr>
          <a:xfrm>
            <a:off x="-528" y="-3345"/>
            <a:ext cx="12193057" cy="6864691"/>
          </a:xfrm>
          <a:prstGeom prst="rect">
            <a:avLst/>
          </a:prstGeom>
        </p:spPr>
      </p:pic>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805F267-4894-37E7-D6AD-BCCE79118B6E}"/>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fontAlgn="base">
              <a:spcBef>
                <a:spcPct val="0"/>
              </a:spcBef>
              <a:spcAft>
                <a:spcPts val="600"/>
              </a:spcAft>
            </a:pPr>
            <a:endParaRPr lang="en-IN" sz="2000" err="1">
              <a:solidFill>
                <a:schemeClr val="bg1"/>
              </a:solidFill>
              <a:latin typeface="+mj-lt"/>
              <a:ea typeface="Segoe UI Black" panose="020B0A02040204020203"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5" name="Text Placeholder 4">
            <a:extLst>
              <a:ext uri="{FF2B5EF4-FFF2-40B4-BE49-F238E27FC236}">
                <a16:creationId xmlns:a16="http://schemas.microsoft.com/office/drawing/2014/main" id="{7ECFA3EA-44B7-3F76-83B2-733C41CFFF8C}"/>
              </a:ext>
            </a:extLst>
          </p:cNvPr>
          <p:cNvSpPr>
            <a:spLocks noGrp="1"/>
          </p:cNvSpPr>
          <p:nvPr>
            <p:ph type="body" sz="quarter" idx="11" hasCustomPrompt="1"/>
          </p:nvPr>
        </p:nvSpPr>
        <p:spPr>
          <a:xfrm>
            <a:off x="4412325" y="585788"/>
            <a:ext cx="7197064" cy="4070858"/>
          </a:xfrm>
        </p:spPr>
        <p:txBody>
          <a:bodyPr/>
          <a:lstStyle>
            <a:lvl1pPr marL="457200" indent="-457200">
              <a:spcBef>
                <a:spcPts val="1200"/>
              </a:spcBef>
              <a:spcAft>
                <a:spcPts val="600"/>
              </a:spcAft>
              <a:buFont typeface="+mj-lt"/>
              <a:buAutoNum type="arabicPeriod"/>
              <a:defRPr sz="2000">
                <a:solidFill>
                  <a:schemeClr val="bg1"/>
                </a:solidFill>
              </a:defRPr>
            </a:lvl1pPr>
          </a:lstStyle>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1495223630"/>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12_custom layout (Dark)">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AB1B588-019F-D8E8-AA86-20AB78635F21}"/>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6" name="Group 15">
              <a:extLst>
                <a:ext uri="{FF2B5EF4-FFF2-40B4-BE49-F238E27FC236}">
                  <a16:creationId xmlns:a16="http://schemas.microsoft.com/office/drawing/2014/main" id="{D283474C-FF50-0168-1AD7-3EAF501F4A7C}"/>
                </a:ext>
              </a:extLst>
            </p:cNvPr>
            <p:cNvGrpSpPr/>
            <p:nvPr userDrawn="1"/>
          </p:nvGrpSpPr>
          <p:grpSpPr>
            <a:xfrm>
              <a:off x="0" y="0"/>
              <a:ext cx="12192000" cy="6858000"/>
              <a:chOff x="0" y="0"/>
              <a:chExt cx="12192000" cy="6858000"/>
            </a:xfrm>
          </p:grpSpPr>
          <p:pic>
            <p:nvPicPr>
              <p:cNvPr id="25" name="Picture 24" descr="A picture containing blue, electric blue, majorelle blue, blur&#10;&#10;Description automatically generated">
                <a:extLst>
                  <a:ext uri="{FF2B5EF4-FFF2-40B4-BE49-F238E27FC236}">
                    <a16:creationId xmlns:a16="http://schemas.microsoft.com/office/drawing/2014/main" id="{3F32EADD-96F4-8DD3-231D-9363795DC0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6" name="Picture 25">
                <a:extLst>
                  <a:ext uri="{FF2B5EF4-FFF2-40B4-BE49-F238E27FC236}">
                    <a16:creationId xmlns:a16="http://schemas.microsoft.com/office/drawing/2014/main" id="{B1F60262-8DAA-A45F-2BAE-07AC4B7FE7E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7" name="Group 16">
              <a:extLst>
                <a:ext uri="{FF2B5EF4-FFF2-40B4-BE49-F238E27FC236}">
                  <a16:creationId xmlns:a16="http://schemas.microsoft.com/office/drawing/2014/main" id="{F538E670-EBF1-4700-5CD4-AF99378A5644}"/>
                </a:ext>
              </a:extLst>
            </p:cNvPr>
            <p:cNvGrpSpPr/>
            <p:nvPr userDrawn="1"/>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98266262-6041-2029-BB81-D6CD5C8BE206}"/>
                  </a:ext>
                </a:extLst>
              </p:cNvPr>
              <p:cNvGrpSpPr/>
              <p:nvPr/>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4E982DEA-7C02-2A6F-34F7-AD71B9D5921F}"/>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7ADE6BAB-F577-C4FF-8C4E-BAC3496B459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4" name="Freeform: Shape 23">
                    <a:extLst>
                      <a:ext uri="{FF2B5EF4-FFF2-40B4-BE49-F238E27FC236}">
                        <a16:creationId xmlns:a16="http://schemas.microsoft.com/office/drawing/2014/main" id="{815ED668-E611-E10D-D10C-8C81E1A4EA9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2" name="Freeform: Shape 21">
                  <a:extLst>
                    <a:ext uri="{FF2B5EF4-FFF2-40B4-BE49-F238E27FC236}">
                      <a16:creationId xmlns:a16="http://schemas.microsoft.com/office/drawing/2014/main" id="{5367C23A-D60D-4A4B-EFA0-EB86357CD86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20" name="Freeform: Shape 19">
                <a:extLst>
                  <a:ext uri="{FF2B5EF4-FFF2-40B4-BE49-F238E27FC236}">
                    <a16:creationId xmlns:a16="http://schemas.microsoft.com/office/drawing/2014/main" id="{8707C726-89E4-7E99-F8C1-95DCD90CD22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14" name="Content Placeholder 13">
            <a:extLst>
              <a:ext uri="{FF2B5EF4-FFF2-40B4-BE49-F238E27FC236}">
                <a16:creationId xmlns:a16="http://schemas.microsoft.com/office/drawing/2014/main" id="{7F8F9E11-9FFE-8DED-8300-7CEBEBC6E92D}"/>
              </a:ext>
            </a:extLst>
          </p:cNvPr>
          <p:cNvSpPr>
            <a:spLocks noGrp="1"/>
          </p:cNvSpPr>
          <p:nvPr>
            <p:ph sz="quarter" idx="10"/>
          </p:nvPr>
        </p:nvSpPr>
        <p:spPr>
          <a:xfrm>
            <a:off x="9218613" y="1458034"/>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 name="Content Placeholder 13">
            <a:extLst>
              <a:ext uri="{FF2B5EF4-FFF2-40B4-BE49-F238E27FC236}">
                <a16:creationId xmlns:a16="http://schemas.microsoft.com/office/drawing/2014/main" id="{5685F1A3-7033-0357-7B06-541F7248BF98}"/>
              </a:ext>
            </a:extLst>
          </p:cNvPr>
          <p:cNvSpPr>
            <a:spLocks noGrp="1"/>
          </p:cNvSpPr>
          <p:nvPr>
            <p:ph sz="quarter" idx="11"/>
          </p:nvPr>
        </p:nvSpPr>
        <p:spPr>
          <a:xfrm>
            <a:off x="9218613" y="3088169"/>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4718304"/>
            <a:ext cx="2390775" cy="1545219"/>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042623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3_custom layout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E7CC29-FE38-4290-A208-32194EEDC427}"/>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E251E90E-713A-A492-5290-E8F9A78BD6E8}"/>
                </a:ext>
              </a:extLst>
            </p:cNvPr>
            <p:cNvGrpSpPr/>
            <p:nvPr userDrawn="1"/>
          </p:nvGrpSpPr>
          <p:grpSpPr>
            <a:xfrm>
              <a:off x="0" y="0"/>
              <a:ext cx="12192000" cy="6858000"/>
              <a:chOff x="0" y="0"/>
              <a:chExt cx="12192000" cy="6858000"/>
            </a:xfrm>
          </p:grpSpPr>
          <p:pic>
            <p:nvPicPr>
              <p:cNvPr id="24" name="Picture 23" descr="A picture containing blue, electric blue, majorelle blue, blur&#10;&#10;Description automatically generated">
                <a:extLst>
                  <a:ext uri="{FF2B5EF4-FFF2-40B4-BE49-F238E27FC236}">
                    <a16:creationId xmlns:a16="http://schemas.microsoft.com/office/drawing/2014/main" id="{7BA7B53F-4076-7FFB-4948-F42DEB2BE98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5" name="Picture 24">
                <a:extLst>
                  <a:ext uri="{FF2B5EF4-FFF2-40B4-BE49-F238E27FC236}">
                    <a16:creationId xmlns:a16="http://schemas.microsoft.com/office/drawing/2014/main" id="{8AD260E3-8A63-5903-3392-44E41CAA95A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5" name="Group 14">
              <a:extLst>
                <a:ext uri="{FF2B5EF4-FFF2-40B4-BE49-F238E27FC236}">
                  <a16:creationId xmlns:a16="http://schemas.microsoft.com/office/drawing/2014/main" id="{DC782711-7603-8F1F-4F8C-6B1ABB2F42DC}"/>
                </a:ext>
              </a:extLst>
            </p:cNvPr>
            <p:cNvGrpSpPr/>
            <p:nvPr userDrawn="1"/>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08DD60DB-476B-E31F-A917-C056E20F639F}"/>
                  </a:ext>
                </a:extLst>
              </p:cNvPr>
              <p:cNvGrpSpPr/>
              <p:nvPr/>
            </p:nvGrpSpPr>
            <p:grpSpPr>
              <a:xfrm>
                <a:off x="0" y="0"/>
                <a:ext cx="12192000" cy="6858002"/>
                <a:chOff x="0" y="0"/>
                <a:chExt cx="12192000" cy="6858002"/>
              </a:xfrm>
            </p:grpSpPr>
            <p:grpSp>
              <p:nvGrpSpPr>
                <p:cNvPr id="20" name="Group 19">
                  <a:extLst>
                    <a:ext uri="{FF2B5EF4-FFF2-40B4-BE49-F238E27FC236}">
                      <a16:creationId xmlns:a16="http://schemas.microsoft.com/office/drawing/2014/main" id="{09546DB9-EC4F-BFC9-E54B-CFE21EE98454}"/>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1B0C4405-2AD2-56D1-2EA5-B3965C7995C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23" name="Freeform: Shape 22">
                    <a:extLst>
                      <a:ext uri="{FF2B5EF4-FFF2-40B4-BE49-F238E27FC236}">
                        <a16:creationId xmlns:a16="http://schemas.microsoft.com/office/drawing/2014/main" id="{0002F5AE-145A-D5E7-9224-647F449134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21" name="Freeform: Shape 20">
                  <a:extLst>
                    <a:ext uri="{FF2B5EF4-FFF2-40B4-BE49-F238E27FC236}">
                      <a16:creationId xmlns:a16="http://schemas.microsoft.com/office/drawing/2014/main" id="{4D7E432D-5C10-8F9D-934F-E4AFBC16072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9" name="Freeform: Shape 18">
                <a:extLst>
                  <a:ext uri="{FF2B5EF4-FFF2-40B4-BE49-F238E27FC236}">
                    <a16:creationId xmlns:a16="http://schemas.microsoft.com/office/drawing/2014/main" id="{DA2162B8-E286-D926-6E13-6CF62B53EB0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solidFill>
                  <a:schemeClr val="bg1"/>
                </a:solidFill>
              </a:defRPr>
            </a:lvl1pPr>
          </a:lstStyle>
          <a:p>
            <a:pPr lvl="0"/>
            <a:r>
              <a:rPr lang="en-US"/>
              <a:t>Click to edit Master title style</a:t>
            </a:r>
          </a:p>
        </p:txBody>
      </p:sp>
      <p:sp>
        <p:nvSpPr>
          <p:cNvPr id="16" name="Text Placeholder 15">
            <a:extLst>
              <a:ext uri="{FF2B5EF4-FFF2-40B4-BE49-F238E27FC236}">
                <a16:creationId xmlns:a16="http://schemas.microsoft.com/office/drawing/2014/main" id="{33015405-CC0A-A610-6702-C8C57D162D56}"/>
              </a:ext>
            </a:extLst>
          </p:cNvPr>
          <p:cNvSpPr>
            <a:spLocks noGrp="1"/>
          </p:cNvSpPr>
          <p:nvPr>
            <p:ph type="body" sz="quarter" idx="13"/>
          </p:nvPr>
        </p:nvSpPr>
        <p:spPr>
          <a:xfrm>
            <a:off x="9218613" y="1749233"/>
            <a:ext cx="2390775" cy="276999"/>
          </a:xfrm>
        </p:spPr>
        <p:txBody>
          <a:bodyPr anchor="b"/>
          <a:lstStyle>
            <a:lvl1pPr marL="0" indent="0" algn="ctr">
              <a:buNone/>
              <a:defRPr sz="1800">
                <a:solidFill>
                  <a:schemeClr val="bg1"/>
                </a:solidFill>
                <a:latin typeface="+mj-lt"/>
              </a:defRPr>
            </a:lvl1pPr>
            <a:lvl2pPr marL="228600" indent="0">
              <a:buNone/>
              <a:defRPr/>
            </a:lvl2pPr>
          </a:lstStyle>
          <a:p>
            <a:pPr lvl="0"/>
            <a:r>
              <a:rPr lang="en-US"/>
              <a:t>Click to edit</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2212848"/>
            <a:ext cx="2390775" cy="4050675"/>
          </a:xfrm>
          <a:prstGeom prst="roundRect">
            <a:avLst>
              <a:gd name="adj" fmla="val 5830"/>
            </a:avLst>
          </a:prstGeom>
          <a:blipFill>
            <a:blip r:embed="rId4" cstate="screen">
              <a:extLst>
                <a:ext uri="{28A0092B-C50C-407E-A947-70E740481C1C}">
                  <a14:useLocalDpi xmlns:a14="http://schemas.microsoft.com/office/drawing/2010/main"/>
                </a:ext>
              </a:extLst>
            </a:blip>
            <a:stretch>
              <a:fillRect/>
            </a:stretch>
          </a:blipFill>
        </p:spPr>
        <p:txBody>
          <a:bodyPr lIns="0" tIns="914400" rIns="0" bIns="0">
            <a:noAutofit/>
          </a:bodyPr>
          <a:lstStyle>
            <a:lvl1pPr marL="0" indent="0" algn="ctr">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571012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092217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Tree>
    <p:extLst>
      <p:ext uri="{BB962C8B-B14F-4D97-AF65-F5344CB8AC3E}">
        <p14:creationId xmlns:p14="http://schemas.microsoft.com/office/powerpoint/2010/main" val="2270363741"/>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2_Title_IPS_Energy">
    <p:bg>
      <p:bgPr>
        <a:solidFill>
          <a:schemeClr val="tx1"/>
        </a:solidFill>
        <a:effectLst/>
      </p:bgPr>
    </p:bg>
    <p:spTree>
      <p:nvGrpSpPr>
        <p:cNvPr id="1" name=""/>
        <p:cNvGrpSpPr/>
        <p:nvPr/>
      </p:nvGrpSpPr>
      <p:grpSpPr>
        <a:xfrm>
          <a:off x="0" y="0"/>
          <a:ext cx="0" cy="0"/>
          <a:chOff x="0" y="0"/>
          <a:chExt cx="0" cy="0"/>
        </a:xfrm>
      </p:grpSpPr>
      <p:pic>
        <p:nvPicPr>
          <p:cNvPr id="4" name="Picture 3" descr="A blue planet with lights&#10;&#10;Description automatically generated">
            <a:extLst>
              <a:ext uri="{FF2B5EF4-FFF2-40B4-BE49-F238E27FC236}">
                <a16:creationId xmlns:a16="http://schemas.microsoft.com/office/drawing/2014/main" id="{88F962BF-04BD-0C97-EED5-F89AFF4F53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Freeform: Shape 16">
            <a:extLst>
              <a:ext uri="{FF2B5EF4-FFF2-40B4-BE49-F238E27FC236}">
                <a16:creationId xmlns:a16="http://schemas.microsoft.com/office/drawing/2014/main" id="{50F0A597-5712-CB94-356B-400C5AD79203}"/>
              </a:ext>
            </a:extLst>
          </p:cNvPr>
          <p:cNvSpPr/>
          <p:nvPr userDrawn="1"/>
        </p:nvSpPr>
        <p:spPr bwMode="auto">
          <a:xfrm>
            <a:off x="5830987" y="0"/>
            <a:ext cx="6361013" cy="6857997"/>
          </a:xfrm>
          <a:custGeom>
            <a:avLst/>
            <a:gdLst>
              <a:gd name="connsiteX0" fmla="*/ 2161533 w 6361013"/>
              <a:gd name="connsiteY0" fmla="*/ 0 h 6857997"/>
              <a:gd name="connsiteX1" fmla="*/ 6361013 w 6361013"/>
              <a:gd name="connsiteY1" fmla="*/ 0 h 6857997"/>
              <a:gd name="connsiteX2" fmla="*/ 6361013 w 6361013"/>
              <a:gd name="connsiteY2" fmla="*/ 140415 h 6857997"/>
              <a:gd name="connsiteX3" fmla="*/ 6361013 w 6361013"/>
              <a:gd name="connsiteY3" fmla="*/ 3980616 h 6857997"/>
              <a:gd name="connsiteX4" fmla="*/ 6323101 w 6361013"/>
              <a:gd name="connsiteY4" fmla="*/ 4125401 h 6857997"/>
              <a:gd name="connsiteX5" fmla="*/ 5963546 w 6361013"/>
              <a:gd name="connsiteY5" fmla="*/ 6857996 h 6857997"/>
              <a:gd name="connsiteX6" fmla="*/ 5688886 w 6361013"/>
              <a:gd name="connsiteY6" fmla="*/ 6857996 h 6857997"/>
              <a:gd name="connsiteX7" fmla="*/ 5688886 w 6361013"/>
              <a:gd name="connsiteY7" fmla="*/ 6857997 h 6857997"/>
              <a:gd name="connsiteX8" fmla="*/ 795515 w 6361013"/>
              <a:gd name="connsiteY8" fmla="*/ 6857996 h 6857997"/>
              <a:gd name="connsiteX9" fmla="*/ 795516 w 6361013"/>
              <a:gd name="connsiteY9" fmla="*/ 6857995 h 6857997"/>
              <a:gd name="connsiteX10" fmla="*/ 0 w 6361013"/>
              <a:gd name="connsiteY10" fmla="*/ 6857995 h 6857997"/>
              <a:gd name="connsiteX11" fmla="*/ 1836200 w 6361013"/>
              <a:gd name="connsiteY11" fmla="*/ 925859 h 6857997"/>
              <a:gd name="connsiteX12" fmla="*/ 1886873 w 6361013"/>
              <a:gd name="connsiteY12" fmla="*/ 1 h 6857997"/>
              <a:gd name="connsiteX13" fmla="*/ 2161533 w 6361013"/>
              <a:gd name="connsiteY13"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61013" h="6857997">
                <a:moveTo>
                  <a:pt x="2161533" y="0"/>
                </a:moveTo>
                <a:lnTo>
                  <a:pt x="6361013" y="0"/>
                </a:lnTo>
                <a:lnTo>
                  <a:pt x="6361013" y="140415"/>
                </a:lnTo>
                <a:lnTo>
                  <a:pt x="6361013" y="3980616"/>
                </a:lnTo>
                <a:lnTo>
                  <a:pt x="6323101" y="4125401"/>
                </a:lnTo>
                <a:cubicBezTo>
                  <a:pt x="6120865" y="5008527"/>
                  <a:pt x="5998351" y="5922049"/>
                  <a:pt x="5963546" y="6857996"/>
                </a:cubicBezTo>
                <a:lnTo>
                  <a:pt x="5688886" y="6857996"/>
                </a:lnTo>
                <a:lnTo>
                  <a:pt x="5688886" y="6857997"/>
                </a:lnTo>
                <a:lnTo>
                  <a:pt x="795515" y="6857996"/>
                </a:lnTo>
                <a:lnTo>
                  <a:pt x="795516" y="6857995"/>
                </a:lnTo>
                <a:lnTo>
                  <a:pt x="0" y="6857995"/>
                </a:lnTo>
                <a:cubicBezTo>
                  <a:pt x="1006258" y="5078618"/>
                  <a:pt x="1651495" y="3068069"/>
                  <a:pt x="1836200" y="925859"/>
                </a:cubicBezTo>
                <a:lnTo>
                  <a:pt x="1886873" y="1"/>
                </a:lnTo>
                <a:lnTo>
                  <a:pt x="2161533" y="1"/>
                </a:lnTo>
                <a:close/>
              </a:path>
            </a:pathLst>
          </a:custGeom>
          <a:gradFill flip="none" rotWithShape="1">
            <a:gsLst>
              <a:gs pos="0">
                <a:srgbClr val="D59DFF"/>
              </a:gs>
              <a:gs pos="80000">
                <a:schemeClr val="accent1"/>
              </a:gs>
              <a:gs pos="46000">
                <a:schemeClr val="accent1">
                  <a:lumMod val="60000"/>
                  <a:lumOff val="40000"/>
                </a:schemeClr>
              </a:gs>
            </a:gsLst>
            <a:path path="circle">
              <a:fillToRect t="100000" r="100000"/>
            </a:path>
            <a:tileRect l="-100000" b="-100000"/>
          </a:gradFill>
          <a:ln w="19050" cap="rnd">
            <a:noFill/>
            <a:headEnd type="none" w="med" len="med"/>
            <a:tailEnd type="none" w="med" len="med"/>
          </a:ln>
          <a:effectLst>
            <a:outerShdw blurRad="127000" dist="63500" dir="2400000" algn="tl" rotWithShape="0">
              <a:srgbClr val="000000">
                <a:alpha val="1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p>
            <a:pPr lvl="0" algn="ctr" defTabSz="932449">
              <a:spcBef>
                <a:spcPts val="200"/>
              </a:spcBef>
            </a:pPr>
            <a:endParaRPr lang="en-US" err="1">
              <a:solidFill>
                <a:schemeClr val="bg1"/>
              </a:solidFill>
              <a:latin typeface="+mj-lt"/>
              <a:cs typeface="Segoe Sans Display ExtraBold" pitchFamily="2"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737800" cy="1107996"/>
          </a:xfrm>
        </p:spPr>
        <p:txBody>
          <a:bodyPr wrap="square" anchor="b" anchorCtr="0">
            <a:spAutoFit/>
          </a:bodyPr>
          <a:lstStyle>
            <a:lvl1pPr>
              <a:defRPr>
                <a:solidFill>
                  <a:schemeClr val="tx1"/>
                </a:solidFill>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2042" y="4782281"/>
            <a:ext cx="473404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Picture Placeholder 13">
            <a:extLst>
              <a:ext uri="{FF2B5EF4-FFF2-40B4-BE49-F238E27FC236}">
                <a16:creationId xmlns:a16="http://schemas.microsoft.com/office/drawing/2014/main" id="{81271761-C604-221D-B424-8CBEF4F99A9A}"/>
              </a:ext>
            </a:extLst>
          </p:cNvPr>
          <p:cNvSpPr>
            <a:spLocks noGrp="1"/>
          </p:cNvSpPr>
          <p:nvPr>
            <p:ph type="pic" sz="quarter" idx="14" hasCustomPrompt="1"/>
          </p:nvPr>
        </p:nvSpPr>
        <p:spPr>
          <a:xfrm>
            <a:off x="5978012" y="0"/>
            <a:ext cx="6213988" cy="6857998"/>
          </a:xfrm>
          <a:custGeom>
            <a:avLst/>
            <a:gdLst>
              <a:gd name="connsiteX0" fmla="*/ 1886874 w 6213988"/>
              <a:gd name="connsiteY0" fmla="*/ 0 h 6857998"/>
              <a:gd name="connsiteX1" fmla="*/ 6213988 w 6213988"/>
              <a:gd name="connsiteY1" fmla="*/ 0 h 6857998"/>
              <a:gd name="connsiteX2" fmla="*/ 6213988 w 6213988"/>
              <a:gd name="connsiteY2" fmla="*/ 140414 h 6857998"/>
              <a:gd name="connsiteX3" fmla="*/ 6213988 w 6213988"/>
              <a:gd name="connsiteY3" fmla="*/ 3472644 h 6857998"/>
              <a:gd name="connsiteX4" fmla="*/ 6048441 w 6213988"/>
              <a:gd name="connsiteY4" fmla="*/ 4125403 h 6857998"/>
              <a:gd name="connsiteX5" fmla="*/ 5688887 w 6213988"/>
              <a:gd name="connsiteY5" fmla="*/ 6857998 h 6857998"/>
              <a:gd name="connsiteX6" fmla="*/ 795515 w 6213988"/>
              <a:gd name="connsiteY6" fmla="*/ 6857998 h 6857998"/>
              <a:gd name="connsiteX7" fmla="*/ 795516 w 6213988"/>
              <a:gd name="connsiteY7" fmla="*/ 6857997 h 6857998"/>
              <a:gd name="connsiteX8" fmla="*/ 0 w 6213988"/>
              <a:gd name="connsiteY8" fmla="*/ 6857997 h 6857998"/>
              <a:gd name="connsiteX9" fmla="*/ 1868695 w 6213988"/>
              <a:gd name="connsiteY9" fmla="*/ 46483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3988" h="6857998">
                <a:moveTo>
                  <a:pt x="1886874" y="0"/>
                </a:moveTo>
                <a:lnTo>
                  <a:pt x="6213988" y="0"/>
                </a:lnTo>
                <a:lnTo>
                  <a:pt x="6213988" y="140414"/>
                </a:lnTo>
                <a:lnTo>
                  <a:pt x="6213988" y="3472644"/>
                </a:lnTo>
                <a:lnTo>
                  <a:pt x="6048441" y="4125403"/>
                </a:lnTo>
                <a:cubicBezTo>
                  <a:pt x="5846205" y="5008529"/>
                  <a:pt x="5723692" y="5922052"/>
                  <a:pt x="5688887" y="6857998"/>
                </a:cubicBezTo>
                <a:lnTo>
                  <a:pt x="795515" y="6857998"/>
                </a:lnTo>
                <a:lnTo>
                  <a:pt x="795516" y="6857997"/>
                </a:lnTo>
                <a:lnTo>
                  <a:pt x="0" y="6857997"/>
                </a:lnTo>
                <a:cubicBezTo>
                  <a:pt x="1078134" y="4951521"/>
                  <a:pt x="1741830" y="2779670"/>
                  <a:pt x="1868695" y="464835"/>
                </a:cubicBezTo>
                <a:close/>
              </a:path>
            </a:pathLst>
          </a:custGeom>
          <a:blipFill dpi="0" rotWithShape="1">
            <a:blip r:embed="rId4" cstate="print">
              <a:extLst>
                <a:ext uri="{28A0092B-C50C-407E-A947-70E740481C1C}">
                  <a14:useLocalDpi xmlns:a14="http://schemas.microsoft.com/office/drawing/2010/main"/>
                </a:ext>
              </a:extLst>
            </a:blip>
            <a:srcRect/>
            <a:stretch>
              <a:fillRect/>
            </a:stretch>
          </a:blipFill>
        </p:spPr>
        <p:txBody>
          <a:bodyPr wrap="square" tIns="3931920">
            <a:noAutofit/>
          </a:bodyPr>
          <a:lstStyle>
            <a:lvl1pPr marL="0" indent="0" algn="ctr">
              <a:buNone/>
              <a:defRPr lang="en-US" sz="1600" kern="1200" spc="0" baseline="0" dirty="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above</a:t>
            </a:r>
            <a:br>
              <a:rPr lang="en-US"/>
            </a:br>
            <a:r>
              <a:rPr lang="en-US"/>
              <a:t>to insert</a:t>
            </a:r>
          </a:p>
        </p:txBody>
      </p:sp>
    </p:spTree>
    <p:extLst>
      <p:ext uri="{BB962C8B-B14F-4D97-AF65-F5344CB8AC3E}">
        <p14:creationId xmlns:p14="http://schemas.microsoft.com/office/powerpoint/2010/main" val="3316664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only (Dark)">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28B455-FECB-B7D6-8FDE-2BD26324B127}"/>
              </a:ext>
            </a:extLst>
          </p:cNvPr>
          <p:cNvPicPr>
            <a:picLocks noChangeAspect="1"/>
          </p:cNvPicPr>
          <p:nvPr/>
        </p:nvPicPr>
        <p:blipFill>
          <a:blip r:embed="rId2"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descr="A picture containing blue, electric blue, majorelle blue, blur&#10;&#10;Description automatically generated">
            <a:extLst>
              <a:ext uri="{FF2B5EF4-FFF2-40B4-BE49-F238E27FC236}">
                <a16:creationId xmlns:a16="http://schemas.microsoft.com/office/drawing/2014/main" id="{3600F912-90CC-925B-6278-FC1727358D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8" name="Group 7">
            <a:extLst>
              <a:ext uri="{FF2B5EF4-FFF2-40B4-BE49-F238E27FC236}">
                <a16:creationId xmlns:a16="http://schemas.microsoft.com/office/drawing/2014/main" id="{D0B02FFC-A32A-F3BE-3E95-79CE346B4955}"/>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898A0F8A-0B9B-58F2-2FE7-B8E7B354319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1" name="Freeform: Shape 10">
              <a:extLst>
                <a:ext uri="{FF2B5EF4-FFF2-40B4-BE49-F238E27FC236}">
                  <a16:creationId xmlns:a16="http://schemas.microsoft.com/office/drawing/2014/main" id="{6D747D3C-2451-FA89-28AD-1469BA113F4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9" name="Freeform: Shape 8">
            <a:extLst>
              <a:ext uri="{FF2B5EF4-FFF2-40B4-BE49-F238E27FC236}">
                <a16:creationId xmlns:a16="http://schemas.microsoft.com/office/drawing/2014/main" id="{831EEA3D-EDA2-D0AE-B040-3D77052A4E93}"/>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sp>
        <p:nvSpPr>
          <p:cNvPr id="7" name="Freeform: Shape 6">
            <a:extLst>
              <a:ext uri="{FF2B5EF4-FFF2-40B4-BE49-F238E27FC236}">
                <a16:creationId xmlns:a16="http://schemas.microsoft.com/office/drawing/2014/main" id="{DCB8B348-739B-0B41-0AEF-A96A3E004DC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994998496"/>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Customer story slide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5216DB-886C-1209-F59E-1FF3A711566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B0DF6C4-49F2-30D1-69C3-45FFD14CEDBF}"/>
                </a:ext>
              </a:extLst>
            </p:cNvPr>
            <p:cNvGrpSpPr/>
            <p:nvPr userDrawn="1"/>
          </p:nvGrpSpPr>
          <p:grpSpPr>
            <a:xfrm>
              <a:off x="0" y="0"/>
              <a:ext cx="12192000" cy="6858000"/>
              <a:chOff x="0" y="0"/>
              <a:chExt cx="12192000" cy="6858000"/>
            </a:xfrm>
          </p:grpSpPr>
          <p:pic>
            <p:nvPicPr>
              <p:cNvPr id="32" name="Picture 31" descr="A picture containing blue, electric blue, majorelle blue, blur&#10;&#10;Description automatically generated">
                <a:extLst>
                  <a:ext uri="{FF2B5EF4-FFF2-40B4-BE49-F238E27FC236}">
                    <a16:creationId xmlns:a16="http://schemas.microsoft.com/office/drawing/2014/main" id="{4CC43BD4-1985-F9B3-44AE-6C68FB362A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B4C10C80-D9BE-482B-B12F-DD0965C834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FF627A0-12F6-F460-B544-FBB2F7D2A318}"/>
                </a:ext>
              </a:extLst>
            </p:cNvPr>
            <p:cNvGrpSpPr/>
            <p:nvPr userDrawn="1"/>
          </p:nvGrpSpPr>
          <p:grpSpPr>
            <a:xfrm>
              <a:off x="0" y="0"/>
              <a:ext cx="12192000" cy="6858002"/>
              <a:chOff x="0" y="0"/>
              <a:chExt cx="12192000" cy="6858002"/>
            </a:xfrm>
          </p:grpSpPr>
          <p:grpSp>
            <p:nvGrpSpPr>
              <p:cNvPr id="11" name="Group 10">
                <a:extLst>
                  <a:ext uri="{FF2B5EF4-FFF2-40B4-BE49-F238E27FC236}">
                    <a16:creationId xmlns:a16="http://schemas.microsoft.com/office/drawing/2014/main" id="{450D8E45-35B6-B4E2-FDC3-4DF308DB27BA}"/>
                  </a:ext>
                </a:extLst>
              </p:cNvPr>
              <p:cNvGrpSpPr/>
              <p:nvPr/>
            </p:nvGrpSpPr>
            <p:grpSpPr>
              <a:xfrm>
                <a:off x="0" y="0"/>
                <a:ext cx="12192000" cy="6858002"/>
                <a:chOff x="0" y="0"/>
                <a:chExt cx="12192000" cy="6858002"/>
              </a:xfrm>
            </p:grpSpPr>
            <p:grpSp>
              <p:nvGrpSpPr>
                <p:cNvPr id="13" name="Group 12">
                  <a:extLst>
                    <a:ext uri="{FF2B5EF4-FFF2-40B4-BE49-F238E27FC236}">
                      <a16:creationId xmlns:a16="http://schemas.microsoft.com/office/drawing/2014/main" id="{8252B64A-D78A-9FE3-C7E3-3A2E5492F12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3A2A68B5-18BF-DCBE-D545-1F1EEE60858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31" name="Freeform: Shape 30">
                    <a:extLst>
                      <a:ext uri="{FF2B5EF4-FFF2-40B4-BE49-F238E27FC236}">
                        <a16:creationId xmlns:a16="http://schemas.microsoft.com/office/drawing/2014/main" id="{EC3BC400-28E0-DFD7-A22F-962FB51CAA6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8" name="Freeform: Shape 17">
                  <a:extLst>
                    <a:ext uri="{FF2B5EF4-FFF2-40B4-BE49-F238E27FC236}">
                      <a16:creationId xmlns:a16="http://schemas.microsoft.com/office/drawing/2014/main" id="{86938314-582E-2943-CC2F-39AC385C3C1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2" name="Freeform: Shape 11">
                <a:extLst>
                  <a:ext uri="{FF2B5EF4-FFF2-40B4-BE49-F238E27FC236}">
                    <a16:creationId xmlns:a16="http://schemas.microsoft.com/office/drawing/2014/main" id="{750AE3A2-F49C-48CF-5346-988DA98C4B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7" name="Rectangle: Top Corners Rounded 6">
            <a:extLst>
              <a:ext uri="{FF2B5EF4-FFF2-40B4-BE49-F238E27FC236}">
                <a16:creationId xmlns:a16="http://schemas.microsoft.com/office/drawing/2014/main" id="{CB0B2AFE-795D-9F81-C2DA-BE6BA5909955}"/>
              </a:ext>
              <a:ext uri="{C183D7F6-B498-43B3-948B-1728B52AA6E4}">
                <adec:decorative xmlns:adec="http://schemas.microsoft.com/office/drawing/2017/decorative" val="1"/>
              </a:ext>
            </a:extLst>
          </p:cNvPr>
          <p:cNvSpPr/>
          <p:nvPr userDrawn="1"/>
        </p:nvSpPr>
        <p:spPr bwMode="auto">
          <a:xfrm flipH="1">
            <a:off x="2994654" y="4151782"/>
            <a:ext cx="9211883" cy="2706217"/>
          </a:xfrm>
          <a:prstGeom prst="round2SameRect">
            <a:avLst>
              <a:gd name="adj1" fmla="val 0"/>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 uri="{C183D7F6-B498-43B3-948B-1728B52AA6E4}">
                <adec:decorative xmlns:adec="http://schemas.microsoft.com/office/drawing/2017/decorative" val="1"/>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no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 uri="{C183D7F6-B498-43B3-948B-1728B52AA6E4}">
                <adec:decorative xmlns:adec="http://schemas.microsoft.com/office/drawing/2017/decorative" val="1"/>
              </a:ext>
            </a:extLst>
          </p:cNvPr>
          <p:cNvSpPr/>
          <p:nvPr userDrawn="1"/>
        </p:nvSpPr>
        <p:spPr bwMode="auto">
          <a:xfrm>
            <a:off x="-1" y="0"/>
            <a:ext cx="2994654" cy="685800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a:solidFill>
                <a:schemeClr val="lt1"/>
              </a:solidFill>
            </a:endParaRPr>
          </a:p>
        </p:txBody>
      </p:sp>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37" name="Group 36">
            <a:extLst>
              <a:ext uri="{FF2B5EF4-FFF2-40B4-BE49-F238E27FC236}">
                <a16:creationId xmlns:a16="http://schemas.microsoft.com/office/drawing/2014/main" id="{E4776AAC-9A32-F029-8160-C8B636AF5080}"/>
              </a:ext>
              <a:ext uri="{C183D7F6-B498-43B3-948B-1728B52AA6E4}">
                <adec:decorative xmlns:adec="http://schemas.microsoft.com/office/drawing/2017/decorative" val="1"/>
              </a:ext>
            </a:extLst>
          </p:cNvPr>
          <p:cNvGrpSpPr/>
          <p:nvPr userDrawn="1"/>
        </p:nvGrpSpPr>
        <p:grpSpPr>
          <a:xfrm>
            <a:off x="327695" y="6180906"/>
            <a:ext cx="1554479" cy="343989"/>
            <a:chOff x="327695" y="6180906"/>
            <a:chExt cx="1554479" cy="343989"/>
          </a:xfrm>
        </p:grpSpPr>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268" r="76718"/>
            <a:stretch/>
          </p:blipFill>
          <p:spPr>
            <a:xfrm>
              <a:off x="327695" y="6180906"/>
              <a:ext cx="361915" cy="343989"/>
            </a:xfrm>
            <a:prstGeom prst="rect">
              <a:avLst/>
            </a:prstGeom>
          </p:spPr>
        </p:pic>
        <p:pic>
          <p:nvPicPr>
            <p:cNvPr id="36" name="Graphic 35">
              <a:extLst>
                <a:ext uri="{FF2B5EF4-FFF2-40B4-BE49-F238E27FC236}">
                  <a16:creationId xmlns:a16="http://schemas.microsoft.com/office/drawing/2014/main" id="{90BB7AFC-1C37-439A-40FD-08922295A1B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5488" t="-3268"/>
            <a:stretch/>
          </p:blipFill>
          <p:spPr>
            <a:xfrm>
              <a:off x="723899" y="6180906"/>
              <a:ext cx="1158275" cy="343989"/>
            </a:xfrm>
            <a:prstGeom prst="rect">
              <a:avLst/>
            </a:prstGeom>
          </p:spPr>
        </p:pic>
      </p:grpSp>
      <p:sp>
        <p:nvSpPr>
          <p:cNvPr id="38" name="Text Placeholder 35">
            <a:extLst>
              <a:ext uri="{FF2B5EF4-FFF2-40B4-BE49-F238E27FC236}">
                <a16:creationId xmlns:a16="http://schemas.microsoft.com/office/drawing/2014/main" id="{8FD5FFDC-A6EB-3C87-986F-196C59661E0C}"/>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54DFE48E-8FCA-F310-ED49-531C1EC2F6C4}"/>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820F9AEF-BAC6-1441-BB7B-65BCFBABC58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085151437"/>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2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ectangle 15">
            <a:extLst>
              <a:ext uri="{FF2B5EF4-FFF2-40B4-BE49-F238E27FC236}">
                <a16:creationId xmlns:a16="http://schemas.microsoft.com/office/drawing/2014/main" id="{E2FC0965-4144-7B0E-916F-401B71853545}"/>
              </a:ext>
              <a:ext uri="{C183D7F6-B498-43B3-948B-1728B52AA6E4}">
                <adec:decorative xmlns:adec="http://schemas.microsoft.com/office/drawing/2017/decorative" val="1"/>
              </a:ext>
            </a:extLst>
          </p:cNvPr>
          <p:cNvSpPr>
            <a:spLocks/>
          </p:cNvSpPr>
          <p:nvPr userDrawn="1"/>
        </p:nvSpPr>
        <p:spPr bwMode="auto">
          <a:xfrm>
            <a:off x="0" y="2264229"/>
            <a:ext cx="10043886" cy="2329544"/>
          </a:xfrm>
          <a:prstGeom prst="rect">
            <a:avLst/>
          </a:pr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21224"/>
            <a:ext cx="10043886" cy="615553"/>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4000" b="0" kern="1200" cap="none" spc="-50" baseline="0" dirty="0">
                <a:ln w="3175">
                  <a:noFill/>
                </a:ln>
                <a:solidFill>
                  <a:schemeClr val="bg1"/>
                </a:solidFill>
                <a:effectLst/>
                <a:latin typeface="+mj-lt"/>
                <a:ea typeface="+mn-ea"/>
                <a:cs typeface="Segoe UI" pitchFamily="34" charset="0"/>
              </a:defRPr>
            </a:lvl1pPr>
          </a:lstStyle>
          <a:p>
            <a:pPr marL="0" lvl="0"/>
            <a:r>
              <a:rPr lang="en-US"/>
              <a:t>Section Title</a:t>
            </a:r>
            <a:endParaRPr lang="en-IN"/>
          </a:p>
        </p:txBody>
      </p:sp>
    </p:spTree>
    <p:extLst>
      <p:ext uri="{BB962C8B-B14F-4D97-AF65-F5344CB8AC3E}">
        <p14:creationId xmlns:p14="http://schemas.microsoft.com/office/powerpoint/2010/main" val="257625457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3_Title_IPS_Energy">
    <p:bg>
      <p:bgPr>
        <a:solidFill>
          <a:schemeClr val="tx1"/>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4F8E1BC-4D0B-1CC1-F636-8E45300580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22625" y="0"/>
            <a:ext cx="896937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23BD7ED-3287-6703-675C-1704898102C2}"/>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4253460" cy="6858000"/>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261783"/>
            <a:ext cx="3670612" cy="677108"/>
          </a:xfrm>
        </p:spPr>
        <p:txBody>
          <a:bodyPr wrap="square" anchor="b" anchorCtr="0">
            <a:spAutoFit/>
          </a:bodyPr>
          <a:lstStyle>
            <a:lvl1pPr>
              <a:defRPr sz="440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582042" y="4213873"/>
            <a:ext cx="367061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
        <p:nvSpPr>
          <p:cNvPr id="21" name="TextBox 20">
            <a:extLst>
              <a:ext uri="{FF2B5EF4-FFF2-40B4-BE49-F238E27FC236}">
                <a16:creationId xmlns:a16="http://schemas.microsoft.com/office/drawing/2014/main" id="{9A3BFC05-8FCB-3C7C-B609-BB8F6C3C32F3}"/>
              </a:ext>
            </a:extLst>
          </p:cNvPr>
          <p:cNvSpPr txBox="1">
            <a:spLocks/>
          </p:cNvSpPr>
          <p:nvPr userDrawn="1"/>
        </p:nvSpPr>
        <p:spPr>
          <a:xfrm>
            <a:off x="588263" y="1968618"/>
            <a:ext cx="3183637" cy="73866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flip="none" rotWithShape="1">
                  <a:gsLst>
                    <a:gs pos="100000">
                      <a:srgbClr val="FFB900"/>
                    </a:gs>
                    <a:gs pos="39000">
                      <a:srgbClr val="9BF00B"/>
                    </a:gs>
                  </a:gsLst>
                  <a:lin ang="2700000" scaled="1"/>
                  <a:tileRect/>
                </a:gradFill>
                <a:effectLst/>
                <a:uLnTx/>
                <a:uFillTx/>
                <a:latin typeface="Segoe Sans Display"/>
                <a:ea typeface="+mn-ea"/>
                <a:cs typeface="+mn-cs"/>
              </a:rPr>
              <a:t>Energy &amp; Resources Industry</a:t>
            </a:r>
          </a:p>
        </p:txBody>
      </p:sp>
      <p:pic>
        <p:nvPicPr>
          <p:cNvPr id="9" name="MS logo white - EMF" descr="Microsoft logo white text version">
            <a:extLst>
              <a:ext uri="{FF2B5EF4-FFF2-40B4-BE49-F238E27FC236}">
                <a16:creationId xmlns:a16="http://schemas.microsoft.com/office/drawing/2014/main" id="{492C23D5-8500-01AD-CF7A-3F416F3BAC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96104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5" orient="horz" pos="2160">
          <p15:clr>
            <a:srgbClr val="FBAE40"/>
          </p15:clr>
        </p15:guide>
        <p15:guide id="6" orient="horz" pos="2229">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4_Title_IPS_Energy">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D776AF-D60E-775C-6628-6CE5A2385926}"/>
              </a:ext>
            </a:extLst>
          </p:cNvPr>
          <p:cNvPicPr>
            <a:picLocks noChangeAspect="1"/>
          </p:cNvPicPr>
          <p:nvPr userDrawn="1"/>
        </p:nvPicPr>
        <p:blipFill>
          <a:blip r:embed="rId2"/>
          <a:srcRect t="15741"/>
          <a:stretch/>
        </p:blipFill>
        <p:spPr>
          <a:xfrm>
            <a:off x="0" y="0"/>
            <a:ext cx="12192000" cy="6858000"/>
          </a:xfrm>
          <a:prstGeom prst="rect">
            <a:avLst/>
          </a:prstGeom>
        </p:spPr>
      </p:pic>
      <p:sp>
        <p:nvSpPr>
          <p:cNvPr id="7" name="Rectangle 6">
            <a:extLst>
              <a:ext uri="{FF2B5EF4-FFF2-40B4-BE49-F238E27FC236}">
                <a16:creationId xmlns:a16="http://schemas.microsoft.com/office/drawing/2014/main" id="{58A830B9-6ADA-D37D-8163-92B743CD8CE8}"/>
              </a:ext>
            </a:extLst>
          </p:cNvPr>
          <p:cNvSpPr/>
          <p:nvPr userDrawn="1"/>
        </p:nvSpPr>
        <p:spPr bwMode="auto">
          <a:xfrm>
            <a:off x="0" y="0"/>
            <a:ext cx="8782050" cy="6858000"/>
          </a:xfrm>
          <a:prstGeom prst="rect">
            <a:avLst/>
          </a:prstGeom>
          <a:gradFill flip="none" rotWithShape="1">
            <a:gsLst>
              <a:gs pos="0">
                <a:schemeClr val="bg2">
                  <a:lumMod val="50000"/>
                  <a:alpha val="9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868480"/>
            <a:ext cx="4167887" cy="677108"/>
          </a:xfrm>
        </p:spPr>
        <p:txBody>
          <a:bodyPr wrap="square" anchor="b" anchorCtr="0">
            <a:spAutoFit/>
          </a:bodyPr>
          <a:lstStyle>
            <a:lvl1pPr>
              <a:defRPr sz="440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582042" y="3974259"/>
            <a:ext cx="4174108"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
        <p:nvSpPr>
          <p:cNvPr id="21" name="TextBox 20">
            <a:extLst>
              <a:ext uri="{FF2B5EF4-FFF2-40B4-BE49-F238E27FC236}">
                <a16:creationId xmlns:a16="http://schemas.microsoft.com/office/drawing/2014/main" id="{9A3BFC05-8FCB-3C7C-B609-BB8F6C3C32F3}"/>
              </a:ext>
            </a:extLst>
          </p:cNvPr>
          <p:cNvSpPr txBox="1">
            <a:spLocks/>
          </p:cNvSpPr>
          <p:nvPr userDrawn="1"/>
        </p:nvSpPr>
        <p:spPr>
          <a:xfrm>
            <a:off x="588263" y="2116783"/>
            <a:ext cx="4145662"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flip="none" rotWithShape="1">
                  <a:gsLst>
                    <a:gs pos="100000">
                      <a:srgbClr val="FFB900"/>
                    </a:gs>
                    <a:gs pos="39000">
                      <a:srgbClr val="9BF00B"/>
                    </a:gs>
                  </a:gsLst>
                  <a:lin ang="2700000" scaled="1"/>
                  <a:tileRect/>
                </a:gradFill>
                <a:effectLst/>
                <a:uLnTx/>
                <a:uFillTx/>
                <a:latin typeface="Segoe Sans Display"/>
                <a:ea typeface="+mn-ea"/>
                <a:cs typeface="+mn-cs"/>
              </a:rPr>
              <a:t>Energy &amp; Resources Industry</a:t>
            </a:r>
          </a:p>
        </p:txBody>
      </p:sp>
      <p:pic>
        <p:nvPicPr>
          <p:cNvPr id="9" name="MS logo white - EMF" descr="Microsoft logo white text version">
            <a:extLst>
              <a:ext uri="{FF2B5EF4-FFF2-40B4-BE49-F238E27FC236}">
                <a16:creationId xmlns:a16="http://schemas.microsoft.com/office/drawing/2014/main" id="{492C23D5-8500-01AD-CF7A-3F416F3BAC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Freeform: Shape 13">
            <a:extLst>
              <a:ext uri="{FF2B5EF4-FFF2-40B4-BE49-F238E27FC236}">
                <a16:creationId xmlns:a16="http://schemas.microsoft.com/office/drawing/2014/main" id="{BBAA03FC-2164-CEA7-FF36-307390BA014C}"/>
              </a:ext>
            </a:extLst>
          </p:cNvPr>
          <p:cNvSpPr/>
          <p:nvPr userDrawn="1"/>
        </p:nvSpPr>
        <p:spPr bwMode="auto">
          <a:xfrm>
            <a:off x="0" y="5915037"/>
            <a:ext cx="12192000" cy="942963"/>
          </a:xfrm>
          <a:custGeom>
            <a:avLst/>
            <a:gdLst>
              <a:gd name="connsiteX0" fmla="*/ 2467498 w 12192000"/>
              <a:gd name="connsiteY0" fmla="*/ 44 h 942963"/>
              <a:gd name="connsiteX1" fmla="*/ 12192000 w 12192000"/>
              <a:gd name="connsiteY1" fmla="*/ 166449 h 942963"/>
              <a:gd name="connsiteX2" fmla="*/ 12192000 w 12192000"/>
              <a:gd name="connsiteY2" fmla="*/ 942963 h 942963"/>
              <a:gd name="connsiteX3" fmla="*/ 0 w 12192000"/>
              <a:gd name="connsiteY3" fmla="*/ 942963 h 942963"/>
              <a:gd name="connsiteX4" fmla="*/ 0 w 12192000"/>
              <a:gd name="connsiteY4" fmla="*/ 534171 h 942963"/>
              <a:gd name="connsiteX5" fmla="*/ 184954 w 12192000"/>
              <a:gd name="connsiteY5" fmla="*/ 457269 h 942963"/>
              <a:gd name="connsiteX6" fmla="*/ 2467498 w 12192000"/>
              <a:gd name="connsiteY6" fmla="*/ 44 h 94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942963">
                <a:moveTo>
                  <a:pt x="2467498" y="44"/>
                </a:moveTo>
                <a:cubicBezTo>
                  <a:pt x="4979870" y="-9159"/>
                  <a:pt x="7156703" y="1458296"/>
                  <a:pt x="12192000" y="166449"/>
                </a:cubicBezTo>
                <a:lnTo>
                  <a:pt x="12192000" y="942963"/>
                </a:lnTo>
                <a:lnTo>
                  <a:pt x="0" y="942963"/>
                </a:lnTo>
                <a:lnTo>
                  <a:pt x="0" y="534171"/>
                </a:lnTo>
                <a:lnTo>
                  <a:pt x="184954" y="457269"/>
                </a:lnTo>
                <a:cubicBezTo>
                  <a:pt x="1020662" y="123183"/>
                  <a:pt x="1757480" y="2645"/>
                  <a:pt x="2467498" y="44"/>
                </a:cubicBezTo>
                <a:close/>
              </a:path>
            </a:pathLst>
          </a:custGeom>
          <a:gradFill>
            <a:gsLst>
              <a:gs pos="0">
                <a:schemeClr val="accent1">
                  <a:alpha val="82000"/>
                </a:schemeClr>
              </a:gs>
              <a:gs pos="100000">
                <a:schemeClr val="bg2">
                  <a:lumMod val="50000"/>
                  <a:alpha val="3100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B936988A-B1BD-5EE4-3F31-03CFD3A98C9E}"/>
              </a:ext>
            </a:extLst>
          </p:cNvPr>
          <p:cNvSpPr/>
          <p:nvPr userDrawn="1"/>
        </p:nvSpPr>
        <p:spPr bwMode="auto">
          <a:xfrm>
            <a:off x="0" y="5629275"/>
            <a:ext cx="12192000" cy="1228725"/>
          </a:xfrm>
          <a:custGeom>
            <a:avLst/>
            <a:gdLst>
              <a:gd name="connsiteX0" fmla="*/ 2467498 w 12192000"/>
              <a:gd name="connsiteY0" fmla="*/ 44 h 942963"/>
              <a:gd name="connsiteX1" fmla="*/ 12192000 w 12192000"/>
              <a:gd name="connsiteY1" fmla="*/ 166449 h 942963"/>
              <a:gd name="connsiteX2" fmla="*/ 12192000 w 12192000"/>
              <a:gd name="connsiteY2" fmla="*/ 942963 h 942963"/>
              <a:gd name="connsiteX3" fmla="*/ 0 w 12192000"/>
              <a:gd name="connsiteY3" fmla="*/ 942963 h 942963"/>
              <a:gd name="connsiteX4" fmla="*/ 0 w 12192000"/>
              <a:gd name="connsiteY4" fmla="*/ 534171 h 942963"/>
              <a:gd name="connsiteX5" fmla="*/ 184954 w 12192000"/>
              <a:gd name="connsiteY5" fmla="*/ 457269 h 942963"/>
              <a:gd name="connsiteX6" fmla="*/ 2467498 w 12192000"/>
              <a:gd name="connsiteY6" fmla="*/ 44 h 94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942963">
                <a:moveTo>
                  <a:pt x="2467498" y="44"/>
                </a:moveTo>
                <a:cubicBezTo>
                  <a:pt x="4979870" y="-9159"/>
                  <a:pt x="7156703" y="1458296"/>
                  <a:pt x="12192000" y="166449"/>
                </a:cubicBezTo>
                <a:lnTo>
                  <a:pt x="12192000" y="942963"/>
                </a:lnTo>
                <a:lnTo>
                  <a:pt x="0" y="942963"/>
                </a:lnTo>
                <a:lnTo>
                  <a:pt x="0" y="534171"/>
                </a:lnTo>
                <a:lnTo>
                  <a:pt x="184954" y="457269"/>
                </a:lnTo>
                <a:cubicBezTo>
                  <a:pt x="1020662" y="123183"/>
                  <a:pt x="1757480" y="2645"/>
                  <a:pt x="2467498" y="44"/>
                </a:cubicBezTo>
                <a:close/>
              </a:path>
            </a:pathLst>
          </a:custGeom>
          <a:solidFill>
            <a:schemeClr val="bg2">
              <a:alpha val="74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78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1118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 Agenda Horizontal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A11A55-17E0-66B0-AC4F-9099140A165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8100"/>
            <a:ext cx="12192000" cy="6896100"/>
          </a:xfrm>
          <a:prstGeom prst="rect">
            <a:avLst/>
          </a:prstGeom>
        </p:spPr>
      </p:pic>
      <p:grpSp>
        <p:nvGrpSpPr>
          <p:cNvPr id="4" name="Group 3">
            <a:extLst>
              <a:ext uri="{FF2B5EF4-FFF2-40B4-BE49-F238E27FC236}">
                <a16:creationId xmlns:a16="http://schemas.microsoft.com/office/drawing/2014/main" id="{AEEE92E7-87F5-5719-2E75-01EAE1E7F923}"/>
              </a:ext>
              <a:ext uri="{C183D7F6-B498-43B3-948B-1728B52AA6E4}">
                <adec:decorative xmlns:adec="http://schemas.microsoft.com/office/drawing/2017/decorative" val="1"/>
              </a:ext>
            </a:extLst>
          </p:cNvPr>
          <p:cNvGrpSpPr/>
          <p:nvPr userDrawn="1"/>
        </p:nvGrpSpPr>
        <p:grpSpPr>
          <a:xfrm>
            <a:off x="7267562" y="0"/>
            <a:ext cx="4924438" cy="1264438"/>
            <a:chOff x="9486900" y="0"/>
            <a:chExt cx="2705100" cy="694583"/>
          </a:xfrm>
        </p:grpSpPr>
        <p:sp>
          <p:nvSpPr>
            <p:cNvPr id="5" name="Freeform: Shape 4">
              <a:extLst>
                <a:ext uri="{FF2B5EF4-FFF2-40B4-BE49-F238E27FC236}">
                  <a16:creationId xmlns:a16="http://schemas.microsoft.com/office/drawing/2014/main" id="{5AD50114-D481-126B-AF9E-8FDD595EE72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8FF3683C-882F-8E1A-8E98-48B5F2D87D8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8408B01E-CA2B-5C41-7D19-5D8A3309D7F3}"/>
              </a:ext>
              <a:ext uri="{C183D7F6-B498-43B3-948B-1728B52AA6E4}">
                <adec:decorative xmlns:adec="http://schemas.microsoft.com/office/drawing/2017/decorative" val="1"/>
              </a:ext>
            </a:extLst>
          </p:cNvPr>
          <p:cNvSpPr/>
          <p:nvPr userDrawn="1"/>
        </p:nvSpPr>
        <p:spPr>
          <a:xfrm>
            <a:off x="0" y="4679913"/>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48600">
                <a:srgbClr val="1B386F"/>
              </a:gs>
              <a:gs pos="82000">
                <a:srgbClr val="122C4F"/>
              </a:gs>
              <a:gs pos="16000">
                <a:srgbClr val="142944"/>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8" name="Rectangle 7">
            <a:extLst>
              <a:ext uri="{FF2B5EF4-FFF2-40B4-BE49-F238E27FC236}">
                <a16:creationId xmlns:a16="http://schemas.microsoft.com/office/drawing/2014/main" id="{1D099A2E-D5C8-16BC-127F-B615FB9095C4}"/>
              </a:ext>
              <a:ext uri="{C183D7F6-B498-43B3-948B-1728B52AA6E4}">
                <adec:decorative xmlns:adec="http://schemas.microsoft.com/office/drawing/2017/decorative" val="1"/>
              </a:ext>
            </a:extLst>
          </p:cNvPr>
          <p:cNvSpPr/>
          <p:nvPr userDrawn="1"/>
        </p:nvSpPr>
        <p:spPr bwMode="auto">
          <a:xfrm>
            <a:off x="3583966" y="1436688"/>
            <a:ext cx="8608034" cy="483235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10" name="Straight Connector 9">
            <a:extLst>
              <a:ext uri="{FF2B5EF4-FFF2-40B4-BE49-F238E27FC236}">
                <a16:creationId xmlns:a16="http://schemas.microsoft.com/office/drawing/2014/main" id="{CFE43A4D-366E-5BE6-3FF3-3675F375262E}"/>
              </a:ext>
            </a:extLst>
          </p:cNvPr>
          <p:cNvCxnSpPr>
            <a:cxnSpLocks/>
          </p:cNvCxnSpPr>
          <p:nvPr userDrawn="1"/>
        </p:nvCxnSpPr>
        <p:spPr>
          <a:xfrm>
            <a:off x="3583966" y="3096912"/>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BD1D35-AE00-94E8-219C-AEB4C385B7B3}"/>
              </a:ext>
            </a:extLst>
          </p:cNvPr>
          <p:cNvCxnSpPr>
            <a:cxnSpLocks/>
          </p:cNvCxnSpPr>
          <p:nvPr userDrawn="1"/>
        </p:nvCxnSpPr>
        <p:spPr>
          <a:xfrm>
            <a:off x="3583966" y="4608811"/>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FD4DBB-24D5-BA03-3945-F2C68FF301BB}"/>
              </a:ext>
              <a:ext uri="{C183D7F6-B498-43B3-948B-1728B52AA6E4}">
                <adec:decorative xmlns:adec="http://schemas.microsoft.com/office/drawing/2017/decorative" val="1"/>
              </a:ext>
            </a:extLst>
          </p:cNvPr>
          <p:cNvCxnSpPr>
            <a:cxnSpLocks/>
          </p:cNvCxnSpPr>
          <p:nvPr userDrawn="1"/>
        </p:nvCxnSpPr>
        <p:spPr>
          <a:xfrm>
            <a:off x="7842446" y="1436686"/>
            <a:ext cx="0" cy="4832351"/>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33">
            <a:extLst>
              <a:ext uri="{FF2B5EF4-FFF2-40B4-BE49-F238E27FC236}">
                <a16:creationId xmlns:a16="http://schemas.microsoft.com/office/drawing/2014/main" id="{C4F0D68B-771C-9693-267A-950C3543836C}"/>
              </a:ext>
            </a:extLst>
          </p:cNvPr>
          <p:cNvSpPr>
            <a:spLocks noGrp="1"/>
          </p:cNvSpPr>
          <p:nvPr>
            <p:ph type="body" sz="quarter" idx="10" hasCustomPrompt="1"/>
          </p:nvPr>
        </p:nvSpPr>
        <p:spPr>
          <a:xfrm>
            <a:off x="4077093" y="648885"/>
            <a:ext cx="7530700" cy="553998"/>
          </a:xfrm>
        </p:spPr>
        <p:txBody>
          <a:bodyPr vert="horz" wrap="square" lIns="0" tIns="0" rIns="0" bIns="0" rtlCol="0" anchor="t">
            <a:spAutoFit/>
          </a:bodyPr>
          <a:lstStyle>
            <a:lvl1pPr marL="0" indent="0">
              <a:buFont typeface="Arial" panose="020B0604020202020204" pitchFamily="34" charse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6" name="Picture Placeholder 35">
            <a:extLst>
              <a:ext uri="{FF2B5EF4-FFF2-40B4-BE49-F238E27FC236}">
                <a16:creationId xmlns:a16="http://schemas.microsoft.com/office/drawing/2014/main" id="{4374F96D-BBFA-A74D-6133-216EA0433A08}"/>
              </a:ext>
            </a:extLst>
          </p:cNvPr>
          <p:cNvSpPr>
            <a:spLocks noGrp="1"/>
          </p:cNvSpPr>
          <p:nvPr>
            <p:ph type="pic" sz="quarter" idx="25"/>
          </p:nvPr>
        </p:nvSpPr>
        <p:spPr>
          <a:xfrm>
            <a:off x="0" y="585788"/>
            <a:ext cx="3589093" cy="6272212"/>
          </a:xfrm>
          <a:custGeom>
            <a:avLst/>
            <a:gdLst>
              <a:gd name="connsiteX0" fmla="*/ 0 w 3589093"/>
              <a:gd name="connsiteY0" fmla="*/ 0 h 6272212"/>
              <a:gd name="connsiteX1" fmla="*/ 3232947 w 3589093"/>
              <a:gd name="connsiteY1" fmla="*/ 0 h 6272212"/>
              <a:gd name="connsiteX2" fmla="*/ 3589093 w 3589093"/>
              <a:gd name="connsiteY2" fmla="*/ 356146 h 6272212"/>
              <a:gd name="connsiteX3" fmla="*/ 3589093 w 3589093"/>
              <a:gd name="connsiteY3" fmla="*/ 6272212 h 6272212"/>
              <a:gd name="connsiteX4" fmla="*/ 0 w 3589093"/>
              <a:gd name="connsiteY4" fmla="*/ 6272212 h 627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9093" h="6272212">
                <a:moveTo>
                  <a:pt x="0" y="0"/>
                </a:moveTo>
                <a:lnTo>
                  <a:pt x="3232947" y="0"/>
                </a:lnTo>
                <a:cubicBezTo>
                  <a:pt x="3429641" y="0"/>
                  <a:pt x="3589093" y="159452"/>
                  <a:pt x="3589093" y="356146"/>
                </a:cubicBezTo>
                <a:lnTo>
                  <a:pt x="3589093" y="6272212"/>
                </a:lnTo>
                <a:lnTo>
                  <a:pt x="0" y="6272212"/>
                </a:lnTo>
                <a:close/>
              </a:path>
            </a:pathLst>
          </a:cu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wrap="square" bIns="640080" anchor="ctr">
            <a:noAutofit/>
          </a:bodyPr>
          <a:lstStyle>
            <a:lvl1pPr marL="0" indent="0" algn="ctr">
              <a:buFont typeface="Arial" panose="020B0604020202020204" pitchFamily="34" charset="0"/>
              <a:buNone/>
              <a:defRPr sz="2000"/>
            </a:lvl1pPr>
          </a:lstStyle>
          <a:p>
            <a:endParaRPr lang="en-IN"/>
          </a:p>
        </p:txBody>
      </p:sp>
      <p:sp>
        <p:nvSpPr>
          <p:cNvPr id="17" name="Freeform: Shape 16">
            <a:extLst>
              <a:ext uri="{FF2B5EF4-FFF2-40B4-BE49-F238E27FC236}">
                <a16:creationId xmlns:a16="http://schemas.microsoft.com/office/drawing/2014/main" id="{4658AC92-CD10-39CD-D8FC-E16484056E5E}"/>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0">
                <a:srgbClr val="1B386F"/>
              </a:gs>
              <a:gs pos="82000">
                <a:srgbClr val="122C4F"/>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8" name="Text Placeholder 35">
            <a:extLst>
              <a:ext uri="{FF2B5EF4-FFF2-40B4-BE49-F238E27FC236}">
                <a16:creationId xmlns:a16="http://schemas.microsoft.com/office/drawing/2014/main" id="{66C58D3A-A7FD-9C9C-1A32-5631C9D53DA8}"/>
              </a:ext>
            </a:extLst>
          </p:cNvPr>
          <p:cNvSpPr>
            <a:spLocks noGrp="1"/>
          </p:cNvSpPr>
          <p:nvPr>
            <p:ph type="body" sz="quarter" idx="17" hasCustomPrompt="1"/>
          </p:nvPr>
        </p:nvSpPr>
        <p:spPr>
          <a:xfrm>
            <a:off x="40770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1</a:t>
            </a:r>
          </a:p>
        </p:txBody>
      </p:sp>
      <p:sp>
        <p:nvSpPr>
          <p:cNvPr id="24" name="Text Placeholder 35">
            <a:extLst>
              <a:ext uri="{FF2B5EF4-FFF2-40B4-BE49-F238E27FC236}">
                <a16:creationId xmlns:a16="http://schemas.microsoft.com/office/drawing/2014/main" id="{9869C516-D465-8D5A-967B-7F77C438AA7B}"/>
              </a:ext>
            </a:extLst>
          </p:cNvPr>
          <p:cNvSpPr>
            <a:spLocks noGrp="1"/>
          </p:cNvSpPr>
          <p:nvPr>
            <p:ph type="body" sz="quarter" idx="11" hasCustomPrompt="1"/>
          </p:nvPr>
        </p:nvSpPr>
        <p:spPr>
          <a:xfrm>
            <a:off x="40770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56" name="Text Placeholder 35">
            <a:extLst>
              <a:ext uri="{FF2B5EF4-FFF2-40B4-BE49-F238E27FC236}">
                <a16:creationId xmlns:a16="http://schemas.microsoft.com/office/drawing/2014/main" id="{B9BF54FC-1D4A-5DFA-0032-92BCD81D9761}"/>
              </a:ext>
            </a:extLst>
          </p:cNvPr>
          <p:cNvSpPr>
            <a:spLocks noGrp="1"/>
          </p:cNvSpPr>
          <p:nvPr>
            <p:ph type="body" sz="quarter" idx="20" hasCustomPrompt="1"/>
          </p:nvPr>
        </p:nvSpPr>
        <p:spPr>
          <a:xfrm>
            <a:off x="81029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2</a:t>
            </a:r>
          </a:p>
        </p:txBody>
      </p:sp>
      <p:sp>
        <p:nvSpPr>
          <p:cNvPr id="61" name="Text Placeholder 35">
            <a:extLst>
              <a:ext uri="{FF2B5EF4-FFF2-40B4-BE49-F238E27FC236}">
                <a16:creationId xmlns:a16="http://schemas.microsoft.com/office/drawing/2014/main" id="{265F9026-2C7E-5C95-D1E2-DC8E0A241193}"/>
              </a:ext>
            </a:extLst>
          </p:cNvPr>
          <p:cNvSpPr>
            <a:spLocks noGrp="1"/>
          </p:cNvSpPr>
          <p:nvPr>
            <p:ph type="body" sz="quarter" idx="14" hasCustomPrompt="1"/>
          </p:nvPr>
        </p:nvSpPr>
        <p:spPr>
          <a:xfrm>
            <a:off x="81029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81" name="Text Placeholder 35">
            <a:extLst>
              <a:ext uri="{FF2B5EF4-FFF2-40B4-BE49-F238E27FC236}">
                <a16:creationId xmlns:a16="http://schemas.microsoft.com/office/drawing/2014/main" id="{E4DFB804-BFEB-9EA0-79A6-FC5A731B649B}"/>
              </a:ext>
            </a:extLst>
          </p:cNvPr>
          <p:cNvSpPr>
            <a:spLocks noGrp="1"/>
          </p:cNvSpPr>
          <p:nvPr>
            <p:ph type="body" sz="quarter" idx="18" hasCustomPrompt="1"/>
          </p:nvPr>
        </p:nvSpPr>
        <p:spPr>
          <a:xfrm>
            <a:off x="40770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3</a:t>
            </a:r>
          </a:p>
        </p:txBody>
      </p:sp>
      <p:sp>
        <p:nvSpPr>
          <p:cNvPr id="85" name="Text Placeholder 35">
            <a:extLst>
              <a:ext uri="{FF2B5EF4-FFF2-40B4-BE49-F238E27FC236}">
                <a16:creationId xmlns:a16="http://schemas.microsoft.com/office/drawing/2014/main" id="{49E47AD0-8467-6FD2-03D0-A0C3C78C6DE4}"/>
              </a:ext>
            </a:extLst>
          </p:cNvPr>
          <p:cNvSpPr>
            <a:spLocks noGrp="1"/>
          </p:cNvSpPr>
          <p:nvPr>
            <p:ph type="body" sz="quarter" idx="12" hasCustomPrompt="1"/>
          </p:nvPr>
        </p:nvSpPr>
        <p:spPr>
          <a:xfrm>
            <a:off x="40770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03" name="Text Placeholder 35">
            <a:extLst>
              <a:ext uri="{FF2B5EF4-FFF2-40B4-BE49-F238E27FC236}">
                <a16:creationId xmlns:a16="http://schemas.microsoft.com/office/drawing/2014/main" id="{7B0F3D0F-5458-51CA-1FA0-68ABB7839BA0}"/>
              </a:ext>
            </a:extLst>
          </p:cNvPr>
          <p:cNvSpPr>
            <a:spLocks noGrp="1"/>
          </p:cNvSpPr>
          <p:nvPr>
            <p:ph type="body" sz="quarter" idx="21" hasCustomPrompt="1"/>
          </p:nvPr>
        </p:nvSpPr>
        <p:spPr>
          <a:xfrm>
            <a:off x="81029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4</a:t>
            </a:r>
          </a:p>
        </p:txBody>
      </p:sp>
      <p:sp>
        <p:nvSpPr>
          <p:cNvPr id="106" name="Text Placeholder 35">
            <a:extLst>
              <a:ext uri="{FF2B5EF4-FFF2-40B4-BE49-F238E27FC236}">
                <a16:creationId xmlns:a16="http://schemas.microsoft.com/office/drawing/2014/main" id="{78168A6F-ED1A-7BC8-57CC-889D1F348069}"/>
              </a:ext>
            </a:extLst>
          </p:cNvPr>
          <p:cNvSpPr>
            <a:spLocks noGrp="1"/>
          </p:cNvSpPr>
          <p:nvPr>
            <p:ph type="body" sz="quarter" idx="15" hasCustomPrompt="1"/>
          </p:nvPr>
        </p:nvSpPr>
        <p:spPr>
          <a:xfrm>
            <a:off x="81029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2" name="Text Placeholder 35">
            <a:extLst>
              <a:ext uri="{FF2B5EF4-FFF2-40B4-BE49-F238E27FC236}">
                <a16:creationId xmlns:a16="http://schemas.microsoft.com/office/drawing/2014/main" id="{CBC0B0DC-D1E6-BD07-03E6-7C2A787913D1}"/>
              </a:ext>
            </a:extLst>
          </p:cNvPr>
          <p:cNvSpPr>
            <a:spLocks noGrp="1"/>
          </p:cNvSpPr>
          <p:nvPr>
            <p:ph type="body" sz="quarter" idx="19" hasCustomPrompt="1"/>
          </p:nvPr>
        </p:nvSpPr>
        <p:spPr>
          <a:xfrm>
            <a:off x="40770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5</a:t>
            </a:r>
          </a:p>
        </p:txBody>
      </p:sp>
      <p:sp>
        <p:nvSpPr>
          <p:cNvPr id="114" name="Text Placeholder 35">
            <a:extLst>
              <a:ext uri="{FF2B5EF4-FFF2-40B4-BE49-F238E27FC236}">
                <a16:creationId xmlns:a16="http://schemas.microsoft.com/office/drawing/2014/main" id="{9C38B597-13D5-8241-9581-008F486F804F}"/>
              </a:ext>
            </a:extLst>
          </p:cNvPr>
          <p:cNvSpPr>
            <a:spLocks noGrp="1"/>
          </p:cNvSpPr>
          <p:nvPr>
            <p:ph type="body" sz="quarter" idx="13" hasCustomPrompt="1"/>
          </p:nvPr>
        </p:nvSpPr>
        <p:spPr>
          <a:xfrm>
            <a:off x="40770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8" name="Text Placeholder 35">
            <a:extLst>
              <a:ext uri="{FF2B5EF4-FFF2-40B4-BE49-F238E27FC236}">
                <a16:creationId xmlns:a16="http://schemas.microsoft.com/office/drawing/2014/main" id="{06BE2B25-6DC7-DBA0-A1A1-4A58DF443363}"/>
              </a:ext>
            </a:extLst>
          </p:cNvPr>
          <p:cNvSpPr>
            <a:spLocks noGrp="1"/>
          </p:cNvSpPr>
          <p:nvPr>
            <p:ph type="body" sz="quarter" idx="22" hasCustomPrompt="1"/>
          </p:nvPr>
        </p:nvSpPr>
        <p:spPr>
          <a:xfrm>
            <a:off x="81029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6</a:t>
            </a:r>
          </a:p>
        </p:txBody>
      </p:sp>
      <p:sp>
        <p:nvSpPr>
          <p:cNvPr id="119" name="Text Placeholder 35">
            <a:extLst>
              <a:ext uri="{FF2B5EF4-FFF2-40B4-BE49-F238E27FC236}">
                <a16:creationId xmlns:a16="http://schemas.microsoft.com/office/drawing/2014/main" id="{9A3D07B2-9D81-A77B-2541-5D865BE965AB}"/>
              </a:ext>
            </a:extLst>
          </p:cNvPr>
          <p:cNvSpPr>
            <a:spLocks noGrp="1"/>
          </p:cNvSpPr>
          <p:nvPr>
            <p:ph type="body" sz="quarter" idx="16" hasCustomPrompt="1"/>
          </p:nvPr>
        </p:nvSpPr>
        <p:spPr>
          <a:xfrm>
            <a:off x="81029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Tree>
    <p:extLst>
      <p:ext uri="{BB962C8B-B14F-4D97-AF65-F5344CB8AC3E}">
        <p14:creationId xmlns:p14="http://schemas.microsoft.com/office/powerpoint/2010/main" val="705188000"/>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pic>
        <p:nvPicPr>
          <p:cNvPr id="4" name="Picture 3" descr="A picture containing white, design, black and white, art">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descr="A picture containing white, design, black and white, art">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14" name="Text Placeholder 13">
            <a:extLst>
              <a:ext uri="{FF2B5EF4-FFF2-40B4-BE49-F238E27FC236}">
                <a16:creationId xmlns:a16="http://schemas.microsoft.com/office/drawing/2014/main" id="{B927115C-A571-52E9-B87C-79F8ACAB8BDC}"/>
              </a:ext>
            </a:extLst>
          </p:cNvPr>
          <p:cNvSpPr>
            <a:spLocks noGrp="1"/>
          </p:cNvSpPr>
          <p:nvPr>
            <p:ph type="body" sz="quarter" idx="10"/>
          </p:nvPr>
        </p:nvSpPr>
        <p:spPr>
          <a:xfrm>
            <a:off x="588962" y="1437180"/>
            <a:ext cx="11018520" cy="1612749"/>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539895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797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144">
          <p15:clr>
            <a:srgbClr val="A4A3A4"/>
          </p15:clr>
        </p15:guide>
        <p15:guide id="32" pos="3348">
          <p15:clr>
            <a:srgbClr val="A4A3A4"/>
          </p15:clr>
        </p15:guide>
        <p15:guide id="33" pos="3754">
          <p15:clr>
            <a:srgbClr val="A4A3A4"/>
          </p15:clr>
        </p15:guide>
        <p15:guide id="34" pos="3931">
          <p15:clr>
            <a:srgbClr val="A4A3A4"/>
          </p15:clr>
        </p15:guide>
        <p15:guide id="35" pos="4342">
          <p15:clr>
            <a:srgbClr val="A4A3A4"/>
          </p15:clr>
        </p15:guide>
        <p15:guide id="36" pos="4531">
          <p15:clr>
            <a:srgbClr val="A4A3A4"/>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Agenda six top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28" name="Picture 27">
            <a:extLst>
              <a:ext uri="{FF2B5EF4-FFF2-40B4-BE49-F238E27FC236}">
                <a16:creationId xmlns:a16="http://schemas.microsoft.com/office/drawing/2014/main" id="{58F1A0BE-0E25-35BB-5CE3-05A6E5FFD09E}"/>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75000"/>
            </a:schemeClr>
          </a:solidFill>
          <a:ln>
            <a:noFill/>
            <a:headEnd type="none" w="med" len="med"/>
            <a:tailEnd type="none" w="med" len="med"/>
          </a:ln>
          <a:effectLst>
            <a:outerShdw blurRad="635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6" name="Text Placeholder 35">
            <a:extLst>
              <a:ext uri="{FF2B5EF4-FFF2-40B4-BE49-F238E27FC236}">
                <a16:creationId xmlns:a16="http://schemas.microsoft.com/office/drawing/2014/main" id="{81E71D8E-4065-A2DB-81E3-697DDFC618FF}"/>
              </a:ext>
            </a:extLst>
          </p:cNvPr>
          <p:cNvSpPr>
            <a:spLocks noGrp="1"/>
          </p:cNvSpPr>
          <p:nvPr>
            <p:ph type="body" sz="quarter" idx="17" hasCustomPrompt="1"/>
          </p:nvPr>
        </p:nvSpPr>
        <p:spPr>
          <a:xfrm>
            <a:off x="4480553" y="83148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8" name="Text Placeholder 35">
            <a:extLst>
              <a:ext uri="{FF2B5EF4-FFF2-40B4-BE49-F238E27FC236}">
                <a16:creationId xmlns:a16="http://schemas.microsoft.com/office/drawing/2014/main" id="{16091568-9EBC-3550-9798-500C8041BA45}"/>
              </a:ext>
            </a:extLst>
          </p:cNvPr>
          <p:cNvSpPr>
            <a:spLocks noGrp="1"/>
          </p:cNvSpPr>
          <p:nvPr>
            <p:ph type="body" sz="quarter" idx="11" hasCustomPrompt="1"/>
          </p:nvPr>
        </p:nvSpPr>
        <p:spPr>
          <a:xfrm>
            <a:off x="5436016" y="83148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1" name="Text Placeholder 35">
            <a:extLst>
              <a:ext uri="{FF2B5EF4-FFF2-40B4-BE49-F238E27FC236}">
                <a16:creationId xmlns:a16="http://schemas.microsoft.com/office/drawing/2014/main" id="{9EA1927C-5FFA-5700-709F-264CB5E9AA26}"/>
              </a:ext>
            </a:extLst>
          </p:cNvPr>
          <p:cNvSpPr>
            <a:spLocks noGrp="1"/>
          </p:cNvSpPr>
          <p:nvPr>
            <p:ph type="body" sz="quarter" idx="22" hasCustomPrompt="1"/>
          </p:nvPr>
        </p:nvSpPr>
        <p:spPr>
          <a:xfrm>
            <a:off x="4480553" y="17206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13" name="Text Placeholder 35">
            <a:extLst>
              <a:ext uri="{FF2B5EF4-FFF2-40B4-BE49-F238E27FC236}">
                <a16:creationId xmlns:a16="http://schemas.microsoft.com/office/drawing/2014/main" id="{FD884ED6-6095-9A5D-31DF-A1B22F039647}"/>
              </a:ext>
            </a:extLst>
          </p:cNvPr>
          <p:cNvSpPr>
            <a:spLocks noGrp="1"/>
          </p:cNvSpPr>
          <p:nvPr>
            <p:ph type="body" sz="quarter" idx="16" hasCustomPrompt="1"/>
          </p:nvPr>
        </p:nvSpPr>
        <p:spPr>
          <a:xfrm>
            <a:off x="5436016" y="17206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7" name="Text Placeholder 35">
            <a:extLst>
              <a:ext uri="{FF2B5EF4-FFF2-40B4-BE49-F238E27FC236}">
                <a16:creationId xmlns:a16="http://schemas.microsoft.com/office/drawing/2014/main" id="{4948F9C1-BF79-BC44-A439-D9B19E801DD0}"/>
              </a:ext>
            </a:extLst>
          </p:cNvPr>
          <p:cNvSpPr>
            <a:spLocks noGrp="1"/>
          </p:cNvSpPr>
          <p:nvPr>
            <p:ph type="body" sz="quarter" idx="21" hasCustomPrompt="1"/>
          </p:nvPr>
        </p:nvSpPr>
        <p:spPr>
          <a:xfrm>
            <a:off x="4480553" y="260974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18" name="Text Placeholder 35">
            <a:extLst>
              <a:ext uri="{FF2B5EF4-FFF2-40B4-BE49-F238E27FC236}">
                <a16:creationId xmlns:a16="http://schemas.microsoft.com/office/drawing/2014/main" id="{A40A85EB-27C1-CCC1-88D1-E406DBECEF3F}"/>
              </a:ext>
            </a:extLst>
          </p:cNvPr>
          <p:cNvSpPr>
            <a:spLocks noGrp="1"/>
          </p:cNvSpPr>
          <p:nvPr>
            <p:ph type="body" sz="quarter" idx="15" hasCustomPrompt="1"/>
          </p:nvPr>
        </p:nvSpPr>
        <p:spPr>
          <a:xfrm>
            <a:off x="5436016" y="260974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0" name="Text Placeholder 35">
            <a:extLst>
              <a:ext uri="{FF2B5EF4-FFF2-40B4-BE49-F238E27FC236}">
                <a16:creationId xmlns:a16="http://schemas.microsoft.com/office/drawing/2014/main" id="{6522EAEB-0C68-CF5D-F9E6-995A1AA9A132}"/>
              </a:ext>
            </a:extLst>
          </p:cNvPr>
          <p:cNvSpPr>
            <a:spLocks noGrp="1"/>
          </p:cNvSpPr>
          <p:nvPr>
            <p:ph type="body" sz="quarter" idx="20" hasCustomPrompt="1"/>
          </p:nvPr>
        </p:nvSpPr>
        <p:spPr>
          <a:xfrm>
            <a:off x="4480553" y="349887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21" name="Text Placeholder 35">
            <a:extLst>
              <a:ext uri="{FF2B5EF4-FFF2-40B4-BE49-F238E27FC236}">
                <a16:creationId xmlns:a16="http://schemas.microsoft.com/office/drawing/2014/main" id="{84479399-C3AA-749E-5957-F0F68047DA41}"/>
              </a:ext>
            </a:extLst>
          </p:cNvPr>
          <p:cNvSpPr>
            <a:spLocks noGrp="1"/>
          </p:cNvSpPr>
          <p:nvPr>
            <p:ph type="body" sz="quarter" idx="14" hasCustomPrompt="1"/>
          </p:nvPr>
        </p:nvSpPr>
        <p:spPr>
          <a:xfrm>
            <a:off x="5436016" y="349887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3" name="Text Placeholder 35">
            <a:extLst>
              <a:ext uri="{FF2B5EF4-FFF2-40B4-BE49-F238E27FC236}">
                <a16:creationId xmlns:a16="http://schemas.microsoft.com/office/drawing/2014/main" id="{69F54C0D-5051-8548-1C02-31BC8121ACA4}"/>
              </a:ext>
            </a:extLst>
          </p:cNvPr>
          <p:cNvSpPr>
            <a:spLocks noGrp="1"/>
          </p:cNvSpPr>
          <p:nvPr>
            <p:ph type="body" sz="quarter" idx="19" hasCustomPrompt="1"/>
          </p:nvPr>
        </p:nvSpPr>
        <p:spPr>
          <a:xfrm>
            <a:off x="4480553" y="438800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24" name="Text Placeholder 35">
            <a:extLst>
              <a:ext uri="{FF2B5EF4-FFF2-40B4-BE49-F238E27FC236}">
                <a16:creationId xmlns:a16="http://schemas.microsoft.com/office/drawing/2014/main" id="{249AFB9A-B381-AB4F-0BA8-3E596521A57B}"/>
              </a:ext>
            </a:extLst>
          </p:cNvPr>
          <p:cNvSpPr>
            <a:spLocks noGrp="1"/>
          </p:cNvSpPr>
          <p:nvPr>
            <p:ph type="body" sz="quarter" idx="13" hasCustomPrompt="1"/>
          </p:nvPr>
        </p:nvSpPr>
        <p:spPr>
          <a:xfrm>
            <a:off x="5436016" y="438800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6" name="Text Placeholder 35">
            <a:extLst>
              <a:ext uri="{FF2B5EF4-FFF2-40B4-BE49-F238E27FC236}">
                <a16:creationId xmlns:a16="http://schemas.microsoft.com/office/drawing/2014/main" id="{9A70A032-51DC-61D1-D3AB-6FBF724964E6}"/>
              </a:ext>
            </a:extLst>
          </p:cNvPr>
          <p:cNvSpPr>
            <a:spLocks noGrp="1"/>
          </p:cNvSpPr>
          <p:nvPr>
            <p:ph type="body" sz="quarter" idx="18" hasCustomPrompt="1"/>
          </p:nvPr>
        </p:nvSpPr>
        <p:spPr>
          <a:xfrm>
            <a:off x="4480553" y="5277137"/>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27" name="Text Placeholder 35">
            <a:extLst>
              <a:ext uri="{FF2B5EF4-FFF2-40B4-BE49-F238E27FC236}">
                <a16:creationId xmlns:a16="http://schemas.microsoft.com/office/drawing/2014/main" id="{66EC96AD-25D3-BDC6-0029-8D3A2B42E830}"/>
              </a:ext>
            </a:extLst>
          </p:cNvPr>
          <p:cNvSpPr>
            <a:spLocks noGrp="1"/>
          </p:cNvSpPr>
          <p:nvPr>
            <p:ph type="body" sz="quarter" idx="12" hasCustomPrompt="1"/>
          </p:nvPr>
        </p:nvSpPr>
        <p:spPr>
          <a:xfrm>
            <a:off x="5436016" y="5277137"/>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305120934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Agenda eight top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22A4C08-8D9B-7EB7-4EFC-CDD476EE593F}"/>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75000"/>
            </a:schemeClr>
          </a:solidFill>
          <a:ln>
            <a:noFill/>
            <a:headEnd type="none" w="med" len="med"/>
            <a:tailEnd type="none" w="med" len="med"/>
          </a:ln>
          <a:effectLst>
            <a:outerShdw blurRad="635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42" name="Text Placeholder 35">
            <a:extLst>
              <a:ext uri="{FF2B5EF4-FFF2-40B4-BE49-F238E27FC236}">
                <a16:creationId xmlns:a16="http://schemas.microsoft.com/office/drawing/2014/main" id="{27E77BF6-2F02-6AB1-244C-A33EEA6866E6}"/>
              </a:ext>
            </a:extLst>
          </p:cNvPr>
          <p:cNvSpPr>
            <a:spLocks noGrp="1"/>
          </p:cNvSpPr>
          <p:nvPr>
            <p:ph type="body" sz="quarter" idx="35" hasCustomPrompt="1"/>
          </p:nvPr>
        </p:nvSpPr>
        <p:spPr>
          <a:xfrm>
            <a:off x="4480553" y="527444"/>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3" name="Text Placeholder 35">
            <a:extLst>
              <a:ext uri="{FF2B5EF4-FFF2-40B4-BE49-F238E27FC236}">
                <a16:creationId xmlns:a16="http://schemas.microsoft.com/office/drawing/2014/main" id="{558DA852-A25B-3004-E952-719FA55D94FB}"/>
              </a:ext>
            </a:extLst>
          </p:cNvPr>
          <p:cNvSpPr>
            <a:spLocks noGrp="1"/>
          </p:cNvSpPr>
          <p:nvPr>
            <p:ph type="body" sz="quarter" idx="36" hasCustomPrompt="1"/>
          </p:nvPr>
        </p:nvSpPr>
        <p:spPr>
          <a:xfrm>
            <a:off x="5436016" y="527444"/>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44" name="Text Placeholder 35">
            <a:extLst>
              <a:ext uri="{FF2B5EF4-FFF2-40B4-BE49-F238E27FC236}">
                <a16:creationId xmlns:a16="http://schemas.microsoft.com/office/drawing/2014/main" id="{5C08C2F8-5024-C4BC-16C1-47D660E2FC69}"/>
              </a:ext>
            </a:extLst>
          </p:cNvPr>
          <p:cNvSpPr>
            <a:spLocks noGrp="1"/>
          </p:cNvSpPr>
          <p:nvPr>
            <p:ph type="body" sz="quarter" idx="37" hasCustomPrompt="1"/>
          </p:nvPr>
        </p:nvSpPr>
        <p:spPr>
          <a:xfrm>
            <a:off x="4480553" y="1281381"/>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45" name="Text Placeholder 35">
            <a:extLst>
              <a:ext uri="{FF2B5EF4-FFF2-40B4-BE49-F238E27FC236}">
                <a16:creationId xmlns:a16="http://schemas.microsoft.com/office/drawing/2014/main" id="{A18A491A-45A0-7F25-09EA-A8BC6C2D2382}"/>
              </a:ext>
            </a:extLst>
          </p:cNvPr>
          <p:cNvSpPr>
            <a:spLocks noGrp="1"/>
          </p:cNvSpPr>
          <p:nvPr>
            <p:ph type="body" sz="quarter" idx="38" hasCustomPrompt="1"/>
          </p:nvPr>
        </p:nvSpPr>
        <p:spPr>
          <a:xfrm>
            <a:off x="5436016" y="1281381"/>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2" name="Text Placeholder 35">
            <a:extLst>
              <a:ext uri="{FF2B5EF4-FFF2-40B4-BE49-F238E27FC236}">
                <a16:creationId xmlns:a16="http://schemas.microsoft.com/office/drawing/2014/main" id="{956A9372-5D07-5C45-7C37-29797CA487FF}"/>
              </a:ext>
            </a:extLst>
          </p:cNvPr>
          <p:cNvSpPr>
            <a:spLocks noGrp="1"/>
          </p:cNvSpPr>
          <p:nvPr userDrawn="1">
            <p:ph type="body" sz="quarter" idx="17" hasCustomPrompt="1"/>
          </p:nvPr>
        </p:nvSpPr>
        <p:spPr>
          <a:xfrm>
            <a:off x="4480553" y="20353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36" name="Text Placeholder 35">
            <a:extLst>
              <a:ext uri="{FF2B5EF4-FFF2-40B4-BE49-F238E27FC236}">
                <a16:creationId xmlns:a16="http://schemas.microsoft.com/office/drawing/2014/main" id="{25EF701A-EECF-9B1A-6540-7EFB3A28B325}"/>
              </a:ext>
            </a:extLst>
          </p:cNvPr>
          <p:cNvSpPr>
            <a:spLocks noGrp="1"/>
          </p:cNvSpPr>
          <p:nvPr userDrawn="1">
            <p:ph type="body" sz="quarter" idx="11" hasCustomPrompt="1"/>
          </p:nvPr>
        </p:nvSpPr>
        <p:spPr>
          <a:xfrm>
            <a:off x="5436016" y="20353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6" name="Text Placeholder 35">
            <a:extLst>
              <a:ext uri="{FF2B5EF4-FFF2-40B4-BE49-F238E27FC236}">
                <a16:creationId xmlns:a16="http://schemas.microsoft.com/office/drawing/2014/main" id="{8CC548CB-B856-5757-3FE8-ECA642FC3526}"/>
              </a:ext>
            </a:extLst>
          </p:cNvPr>
          <p:cNvSpPr>
            <a:spLocks noGrp="1"/>
          </p:cNvSpPr>
          <p:nvPr userDrawn="1">
            <p:ph type="body" sz="quarter" idx="22" hasCustomPrompt="1"/>
          </p:nvPr>
        </p:nvSpPr>
        <p:spPr>
          <a:xfrm>
            <a:off x="4480553" y="2789255"/>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41" name="Text Placeholder 35">
            <a:extLst>
              <a:ext uri="{FF2B5EF4-FFF2-40B4-BE49-F238E27FC236}">
                <a16:creationId xmlns:a16="http://schemas.microsoft.com/office/drawing/2014/main" id="{C1B8DE60-C280-DB99-5F3A-50EE10BF0D0F}"/>
              </a:ext>
            </a:extLst>
          </p:cNvPr>
          <p:cNvSpPr>
            <a:spLocks noGrp="1"/>
          </p:cNvSpPr>
          <p:nvPr userDrawn="1">
            <p:ph type="body" sz="quarter" idx="16" hasCustomPrompt="1"/>
          </p:nvPr>
        </p:nvSpPr>
        <p:spPr>
          <a:xfrm>
            <a:off x="5436016" y="2789255"/>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4" name="Text Placeholder 35">
            <a:extLst>
              <a:ext uri="{FF2B5EF4-FFF2-40B4-BE49-F238E27FC236}">
                <a16:creationId xmlns:a16="http://schemas.microsoft.com/office/drawing/2014/main" id="{40CE3D49-5D1D-C6CC-D4F1-E75D834D5F86}"/>
              </a:ext>
            </a:extLst>
          </p:cNvPr>
          <p:cNvSpPr>
            <a:spLocks noGrp="1"/>
          </p:cNvSpPr>
          <p:nvPr userDrawn="1">
            <p:ph type="body" sz="quarter" idx="21" hasCustomPrompt="1"/>
          </p:nvPr>
        </p:nvSpPr>
        <p:spPr>
          <a:xfrm>
            <a:off x="4480553" y="3543192"/>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40" name="Text Placeholder 35">
            <a:extLst>
              <a:ext uri="{FF2B5EF4-FFF2-40B4-BE49-F238E27FC236}">
                <a16:creationId xmlns:a16="http://schemas.microsoft.com/office/drawing/2014/main" id="{5C7AE02B-FB9D-762B-AB5F-DE191AC40875}"/>
              </a:ext>
            </a:extLst>
          </p:cNvPr>
          <p:cNvSpPr>
            <a:spLocks noGrp="1"/>
          </p:cNvSpPr>
          <p:nvPr userDrawn="1">
            <p:ph type="body" sz="quarter" idx="15" hasCustomPrompt="1"/>
          </p:nvPr>
        </p:nvSpPr>
        <p:spPr>
          <a:xfrm>
            <a:off x="5436016" y="3543192"/>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2" name="Text Placeholder 35">
            <a:extLst>
              <a:ext uri="{FF2B5EF4-FFF2-40B4-BE49-F238E27FC236}">
                <a16:creationId xmlns:a16="http://schemas.microsoft.com/office/drawing/2014/main" id="{B622147B-A43D-FAE4-FCD2-1B938D7FC3E3}"/>
              </a:ext>
            </a:extLst>
          </p:cNvPr>
          <p:cNvSpPr>
            <a:spLocks noGrp="1"/>
          </p:cNvSpPr>
          <p:nvPr userDrawn="1">
            <p:ph type="body" sz="quarter" idx="20" hasCustomPrompt="1"/>
          </p:nvPr>
        </p:nvSpPr>
        <p:spPr>
          <a:xfrm>
            <a:off x="4480553" y="429712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39" name="Text Placeholder 35">
            <a:extLst>
              <a:ext uri="{FF2B5EF4-FFF2-40B4-BE49-F238E27FC236}">
                <a16:creationId xmlns:a16="http://schemas.microsoft.com/office/drawing/2014/main" id="{7B6DF795-EF74-1C8A-39CC-8B2DD75A94C0}"/>
              </a:ext>
            </a:extLst>
          </p:cNvPr>
          <p:cNvSpPr>
            <a:spLocks noGrp="1"/>
          </p:cNvSpPr>
          <p:nvPr userDrawn="1">
            <p:ph type="body" sz="quarter" idx="14" hasCustomPrompt="1"/>
          </p:nvPr>
        </p:nvSpPr>
        <p:spPr>
          <a:xfrm>
            <a:off x="5436016" y="429712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0" name="Text Placeholder 35">
            <a:extLst>
              <a:ext uri="{FF2B5EF4-FFF2-40B4-BE49-F238E27FC236}">
                <a16:creationId xmlns:a16="http://schemas.microsoft.com/office/drawing/2014/main" id="{2B10AC93-2B34-EE9C-672C-DB79A9B274F9}"/>
              </a:ext>
            </a:extLst>
          </p:cNvPr>
          <p:cNvSpPr>
            <a:spLocks noGrp="1"/>
          </p:cNvSpPr>
          <p:nvPr userDrawn="1">
            <p:ph type="body" sz="quarter" idx="19" hasCustomPrompt="1"/>
          </p:nvPr>
        </p:nvSpPr>
        <p:spPr>
          <a:xfrm>
            <a:off x="4480553" y="5051066"/>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7</a:t>
            </a:r>
          </a:p>
        </p:txBody>
      </p:sp>
      <p:sp>
        <p:nvSpPr>
          <p:cNvPr id="38" name="Text Placeholder 35">
            <a:extLst>
              <a:ext uri="{FF2B5EF4-FFF2-40B4-BE49-F238E27FC236}">
                <a16:creationId xmlns:a16="http://schemas.microsoft.com/office/drawing/2014/main" id="{2E3339B5-7B67-FB30-EEE4-5E79A97FC1B6}"/>
              </a:ext>
            </a:extLst>
          </p:cNvPr>
          <p:cNvSpPr>
            <a:spLocks noGrp="1"/>
          </p:cNvSpPr>
          <p:nvPr userDrawn="1">
            <p:ph type="body" sz="quarter" idx="13" hasCustomPrompt="1"/>
          </p:nvPr>
        </p:nvSpPr>
        <p:spPr>
          <a:xfrm>
            <a:off x="5436016" y="5051066"/>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5" name="Text Placeholder 35">
            <a:extLst>
              <a:ext uri="{FF2B5EF4-FFF2-40B4-BE49-F238E27FC236}">
                <a16:creationId xmlns:a16="http://schemas.microsoft.com/office/drawing/2014/main" id="{A0097874-DF6B-47A3-BEB4-438610EE5773}"/>
              </a:ext>
            </a:extLst>
          </p:cNvPr>
          <p:cNvSpPr>
            <a:spLocks noGrp="1"/>
          </p:cNvSpPr>
          <p:nvPr userDrawn="1">
            <p:ph type="body" sz="quarter" idx="18" hasCustomPrompt="1"/>
          </p:nvPr>
        </p:nvSpPr>
        <p:spPr>
          <a:xfrm>
            <a:off x="4480553" y="5805000"/>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4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8</a:t>
            </a:r>
          </a:p>
        </p:txBody>
      </p:sp>
      <p:sp>
        <p:nvSpPr>
          <p:cNvPr id="37" name="Text Placeholder 35">
            <a:extLst>
              <a:ext uri="{FF2B5EF4-FFF2-40B4-BE49-F238E27FC236}">
                <a16:creationId xmlns:a16="http://schemas.microsoft.com/office/drawing/2014/main" id="{D7FDD5DE-6586-AF13-BA53-08047CC60BAF}"/>
              </a:ext>
            </a:extLst>
          </p:cNvPr>
          <p:cNvSpPr>
            <a:spLocks noGrp="1"/>
          </p:cNvSpPr>
          <p:nvPr userDrawn="1">
            <p:ph type="body" sz="quarter" idx="12" hasCustomPrompt="1"/>
          </p:nvPr>
        </p:nvSpPr>
        <p:spPr>
          <a:xfrm>
            <a:off x="5436016" y="5805000"/>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2006433864"/>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Extendable 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3DD631-C778-53A9-8073-57102E74234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805F267-4894-37E7-D6AD-BCCE79118B6E}"/>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15" y="0"/>
            <a:ext cx="3888175" cy="626903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5CA1D436-3B66-752F-B501-0FD893F56553}"/>
              </a:ext>
              <a:ext uri="{C183D7F6-B498-43B3-948B-1728B52AA6E4}">
                <adec:decorative xmlns:adec="http://schemas.microsoft.com/office/drawing/2017/decorative" val="1"/>
              </a:ext>
            </a:extLst>
          </p:cNvPr>
          <p:cNvSpPr/>
          <p:nvPr/>
        </p:nvSpPr>
        <p:spPr bwMode="auto">
          <a:xfrm>
            <a:off x="4123399" y="147578"/>
            <a:ext cx="7774914" cy="6562845"/>
          </a:xfrm>
          <a:prstGeom prst="roundRect">
            <a:avLst>
              <a:gd name="adj" fmla="val 3093"/>
            </a:avLst>
          </a:prstGeom>
          <a:solidFill>
            <a:schemeClr val="bg1">
              <a:alpha val="75000"/>
            </a:schemeClr>
          </a:solidFill>
          <a:ln>
            <a:noFill/>
            <a:headEnd type="none" w="med" len="med"/>
            <a:tailEnd type="none" w="med" len="med"/>
          </a:ln>
          <a:effectLst>
            <a:outerShdw blurRad="635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4" name="Text Placeholder 33">
            <a:extLst>
              <a:ext uri="{FF2B5EF4-FFF2-40B4-BE49-F238E27FC236}">
                <a16:creationId xmlns:a16="http://schemas.microsoft.com/office/drawing/2014/main" id="{37FD1376-F363-B9B2-E836-2CEB56DB6E56}"/>
              </a:ext>
            </a:extLst>
          </p:cNvPr>
          <p:cNvSpPr>
            <a:spLocks noGrp="1"/>
          </p:cNvSpPr>
          <p:nvPr userDrawn="1">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5" name="Text Placeholder 4">
            <a:extLst>
              <a:ext uri="{FF2B5EF4-FFF2-40B4-BE49-F238E27FC236}">
                <a16:creationId xmlns:a16="http://schemas.microsoft.com/office/drawing/2014/main" id="{7ECFA3EA-44B7-3F76-83B2-733C41CFFF8C}"/>
              </a:ext>
            </a:extLst>
          </p:cNvPr>
          <p:cNvSpPr>
            <a:spLocks noGrp="1"/>
          </p:cNvSpPr>
          <p:nvPr>
            <p:ph type="body" sz="quarter" idx="11" hasCustomPrompt="1"/>
          </p:nvPr>
        </p:nvSpPr>
        <p:spPr>
          <a:xfrm>
            <a:off x="4412325" y="585788"/>
            <a:ext cx="7197064" cy="4070858"/>
          </a:xfrm>
        </p:spPr>
        <p:txBody>
          <a:bodyPr/>
          <a:lstStyle>
            <a:lvl1pPr marL="457200" indent="-457200">
              <a:spcBef>
                <a:spcPts val="1200"/>
              </a:spcBef>
              <a:spcAft>
                <a:spcPts val="600"/>
              </a:spcAft>
              <a:buFont typeface="+mj-lt"/>
              <a:buAutoNum type="arabicPeriod"/>
              <a:defRPr sz="2000">
                <a:solidFill>
                  <a:schemeClr val="tx1"/>
                </a:solidFill>
              </a:defRPr>
            </a:lvl1pPr>
          </a:lstStyle>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288980737"/>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 Agenda Horizon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94EB13-CC2F-CF47-A7A0-2F47508A91D9}"/>
              </a:ext>
              <a:ext uri="{C183D7F6-B498-43B3-948B-1728B52AA6E4}">
                <adec:decorative xmlns:adec="http://schemas.microsoft.com/office/drawing/2017/decorative" val="1"/>
              </a:ext>
            </a:extLst>
          </p:cNvPr>
          <p:cNvGrpSpPr/>
          <p:nvPr userDrawn="1"/>
        </p:nvGrpSpPr>
        <p:grpSpPr>
          <a:xfrm>
            <a:off x="7267562" y="0"/>
            <a:ext cx="4924438" cy="1264438"/>
            <a:chOff x="9486900" y="0"/>
            <a:chExt cx="2705100" cy="694583"/>
          </a:xfrm>
        </p:grpSpPr>
        <p:sp>
          <p:nvSpPr>
            <p:cNvPr id="4" name="Freeform: Shape 3">
              <a:extLst>
                <a:ext uri="{FF2B5EF4-FFF2-40B4-BE49-F238E27FC236}">
                  <a16:creationId xmlns:a16="http://schemas.microsoft.com/office/drawing/2014/main" id="{1D955973-3EC0-DB75-67CD-51589DA4FB5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317500" dir="18900000" sx="85000" sy="85000" algn="bl" rotWithShape="0">
                <a:prstClr val="black">
                  <a:alpha val="5000"/>
                </a:prstClr>
              </a:outerShdw>
            </a:effectLst>
          </p:spPr>
          <p:txBody>
            <a:bodyPr rtlCol="0" anchor="ctr"/>
            <a:lstStyle/>
            <a:p>
              <a:endParaRPr lang="en-US"/>
            </a:p>
          </p:txBody>
        </p:sp>
        <p:sp>
          <p:nvSpPr>
            <p:cNvPr id="5" name="Freeform: Shape 4">
              <a:extLst>
                <a:ext uri="{FF2B5EF4-FFF2-40B4-BE49-F238E27FC236}">
                  <a16:creationId xmlns:a16="http://schemas.microsoft.com/office/drawing/2014/main" id="{878A2699-15F8-F1EE-2FB2-20F4E846E65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sp>
        <p:nvSpPr>
          <p:cNvPr id="6" name="Freeform: Shape 5">
            <a:extLst>
              <a:ext uri="{FF2B5EF4-FFF2-40B4-BE49-F238E27FC236}">
                <a16:creationId xmlns:a16="http://schemas.microsoft.com/office/drawing/2014/main" id="{DD26B0B9-404C-EA38-1335-A74BC53DF9C2}"/>
              </a:ext>
              <a:ext uri="{C183D7F6-B498-43B3-948B-1728B52AA6E4}">
                <adec:decorative xmlns:adec="http://schemas.microsoft.com/office/drawing/2017/decorative" val="1"/>
              </a:ext>
            </a:extLst>
          </p:cNvPr>
          <p:cNvSpPr/>
          <p:nvPr userDrawn="1"/>
        </p:nvSpPr>
        <p:spPr>
          <a:xfrm>
            <a:off x="0" y="4679913"/>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50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7" name="Rectangle 6">
            <a:extLst>
              <a:ext uri="{FF2B5EF4-FFF2-40B4-BE49-F238E27FC236}">
                <a16:creationId xmlns:a16="http://schemas.microsoft.com/office/drawing/2014/main" id="{4C2BFC60-D075-C455-8E9E-B07223C8164C}"/>
              </a:ext>
              <a:ext uri="{C183D7F6-B498-43B3-948B-1728B52AA6E4}">
                <adec:decorative xmlns:adec="http://schemas.microsoft.com/office/drawing/2017/decorative" val="1"/>
              </a:ext>
            </a:extLst>
          </p:cNvPr>
          <p:cNvSpPr/>
          <p:nvPr userDrawn="1"/>
        </p:nvSpPr>
        <p:spPr bwMode="auto">
          <a:xfrm>
            <a:off x="588263" y="1436688"/>
            <a:ext cx="11603737" cy="483235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4D6E8988-7526-2727-C520-531C7CEC442B}"/>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endParaRPr lang="en-US"/>
          </a:p>
        </p:txBody>
      </p:sp>
      <p:pic>
        <p:nvPicPr>
          <p:cNvPr id="19" name="Picture 18">
            <a:extLst>
              <a:ext uri="{FF2B5EF4-FFF2-40B4-BE49-F238E27FC236}">
                <a16:creationId xmlns:a16="http://schemas.microsoft.com/office/drawing/2014/main" id="{89C0A6A5-E601-8E43-468B-4CDF2DAD359B}"/>
              </a:ext>
              <a:ext uri="{C183D7F6-B498-43B3-948B-1728B52AA6E4}">
                <adec:decorative xmlns:adec="http://schemas.microsoft.com/office/drawing/2017/decorative" val="1"/>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5000"/>
                    </a14:imgEffect>
                  </a14:imgLayer>
                </a14:imgProps>
              </a:ext>
              <a:ext uri="{28A0092B-C50C-407E-A947-70E740481C1C}">
                <a14:useLocalDpi xmlns:a14="http://schemas.microsoft.com/office/drawing/2010/main"/>
              </a:ext>
            </a:extLst>
          </a:blip>
          <a:srcRect/>
          <a:stretch>
            <a:fillRect/>
          </a:stretch>
        </p:blipFill>
        <p:spPr>
          <a:xfrm>
            <a:off x="1" y="585789"/>
            <a:ext cx="3578942" cy="6272211"/>
          </a:xfrm>
          <a:custGeom>
            <a:avLst/>
            <a:gdLst>
              <a:gd name="connsiteX0" fmla="*/ 0 w 3578942"/>
              <a:gd name="connsiteY0" fmla="*/ 0 h 6272211"/>
              <a:gd name="connsiteX1" fmla="*/ 3214355 w 3578942"/>
              <a:gd name="connsiteY1" fmla="*/ 0 h 6272211"/>
              <a:gd name="connsiteX2" fmla="*/ 3578942 w 3578942"/>
              <a:gd name="connsiteY2" fmla="*/ 364587 h 6272211"/>
              <a:gd name="connsiteX3" fmla="*/ 3578942 w 3578942"/>
              <a:gd name="connsiteY3" fmla="*/ 6272211 h 6272211"/>
              <a:gd name="connsiteX4" fmla="*/ 0 w 3578942"/>
              <a:gd name="connsiteY4" fmla="*/ 6272211 h 6272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8942" h="6272211">
                <a:moveTo>
                  <a:pt x="0" y="0"/>
                </a:moveTo>
                <a:lnTo>
                  <a:pt x="3214355" y="0"/>
                </a:lnTo>
                <a:cubicBezTo>
                  <a:pt x="3415711" y="0"/>
                  <a:pt x="3578942" y="163231"/>
                  <a:pt x="3578942" y="364587"/>
                </a:cubicBezTo>
                <a:lnTo>
                  <a:pt x="3578942" y="6272211"/>
                </a:lnTo>
                <a:lnTo>
                  <a:pt x="0" y="6272211"/>
                </a:lnTo>
                <a:close/>
              </a:path>
            </a:pathLst>
          </a:custGeom>
          <a:ln w="15875">
            <a:gradFill>
              <a:gsLst>
                <a:gs pos="0">
                  <a:schemeClr val="bg1"/>
                </a:gs>
                <a:gs pos="50000">
                  <a:schemeClr val="bg1">
                    <a:alpha val="0"/>
                  </a:schemeClr>
                </a:gs>
              </a:gsLst>
              <a:lin ang="9000000" scaled="0"/>
            </a:gradFill>
          </a:ln>
          <a:effectLst>
            <a:outerShdw blurRad="355600" dist="38100" dir="18900000" algn="bl" rotWithShape="0">
              <a:prstClr val="black">
                <a:alpha val="15000"/>
              </a:prstClr>
            </a:outerShdw>
          </a:effectLst>
        </p:spPr>
      </p:pic>
      <p:sp>
        <p:nvSpPr>
          <p:cNvPr id="27" name="Text Placeholder 33">
            <a:extLst>
              <a:ext uri="{FF2B5EF4-FFF2-40B4-BE49-F238E27FC236}">
                <a16:creationId xmlns:a16="http://schemas.microsoft.com/office/drawing/2014/main" id="{F685E9FE-35A4-1494-0C1D-BC481FE3E169}"/>
              </a:ext>
            </a:extLst>
          </p:cNvPr>
          <p:cNvSpPr>
            <a:spLocks noGrp="1"/>
          </p:cNvSpPr>
          <p:nvPr>
            <p:ph type="body" sz="quarter" idx="10" hasCustomPrompt="1"/>
          </p:nvPr>
        </p:nvSpPr>
        <p:spPr>
          <a:xfrm>
            <a:off x="4077093" y="648885"/>
            <a:ext cx="7530700" cy="553998"/>
          </a:xfrm>
        </p:spPr>
        <p:txBody>
          <a:bodyPr vert="horz" wrap="square" lIns="0" tIns="0" rIns="0" bIns="0" rtlCol="0" anchor="t">
            <a:spAutoFit/>
          </a:bodyPr>
          <a:lstStyle>
            <a:lvl1pPr marL="0" indent="0">
              <a:buNone/>
              <a:defRPr lang="en-IN" sz="3600" b="0" cap="none" spc="-50" dirty="0">
                <a:ln w="3175">
                  <a:noFill/>
                </a:ln>
                <a:gradFill>
                  <a:gsLst>
                    <a:gs pos="0">
                      <a:schemeClr val="tx2"/>
                    </a:gs>
                    <a:gs pos="100000">
                      <a:schemeClr val="tx2">
                        <a:lumMod val="60000"/>
                        <a:lumOff val="40000"/>
                      </a:schemeClr>
                    </a:gs>
                  </a:gsLst>
                  <a:lin ang="2700000" scaled="1"/>
                </a:gradFill>
                <a:effectLst/>
                <a:latin typeface="+mj-lt"/>
              </a:defRPr>
            </a:lvl1pPr>
          </a:lstStyle>
          <a:p>
            <a:pPr marL="342900" lvl="0" indent="-571500">
              <a:spcBef>
                <a:spcPct val="0"/>
              </a:spcBef>
            </a:pPr>
            <a:r>
              <a:rPr lang="en-US"/>
              <a:t>Title</a:t>
            </a:r>
            <a:endParaRPr lang="en-IN"/>
          </a:p>
        </p:txBody>
      </p:sp>
      <p:sp>
        <p:nvSpPr>
          <p:cNvPr id="9" name="Picture Placeholder 35">
            <a:extLst>
              <a:ext uri="{FF2B5EF4-FFF2-40B4-BE49-F238E27FC236}">
                <a16:creationId xmlns:a16="http://schemas.microsoft.com/office/drawing/2014/main" id="{5943C84E-F2B7-DB92-12AE-D3AE2057C3E4}"/>
              </a:ext>
            </a:extLst>
          </p:cNvPr>
          <p:cNvSpPr>
            <a:spLocks noGrp="1"/>
          </p:cNvSpPr>
          <p:nvPr>
            <p:ph type="pic" sz="quarter" idx="25"/>
          </p:nvPr>
        </p:nvSpPr>
        <p:spPr>
          <a:xfrm>
            <a:off x="0" y="585788"/>
            <a:ext cx="3589093" cy="6272212"/>
          </a:xfrm>
          <a:custGeom>
            <a:avLst/>
            <a:gdLst>
              <a:gd name="connsiteX0" fmla="*/ 0 w 3589093"/>
              <a:gd name="connsiteY0" fmla="*/ 0 h 6272212"/>
              <a:gd name="connsiteX1" fmla="*/ 3232947 w 3589093"/>
              <a:gd name="connsiteY1" fmla="*/ 0 h 6272212"/>
              <a:gd name="connsiteX2" fmla="*/ 3589093 w 3589093"/>
              <a:gd name="connsiteY2" fmla="*/ 356146 h 6272212"/>
              <a:gd name="connsiteX3" fmla="*/ 3589093 w 3589093"/>
              <a:gd name="connsiteY3" fmla="*/ 6272212 h 6272212"/>
              <a:gd name="connsiteX4" fmla="*/ 0 w 3589093"/>
              <a:gd name="connsiteY4" fmla="*/ 6272212 h 627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9093" h="6272212">
                <a:moveTo>
                  <a:pt x="0" y="0"/>
                </a:moveTo>
                <a:lnTo>
                  <a:pt x="3232947" y="0"/>
                </a:lnTo>
                <a:cubicBezTo>
                  <a:pt x="3429641" y="0"/>
                  <a:pt x="3589093" y="159452"/>
                  <a:pt x="3589093" y="356146"/>
                </a:cubicBezTo>
                <a:lnTo>
                  <a:pt x="3589093" y="6272212"/>
                </a:lnTo>
                <a:lnTo>
                  <a:pt x="0" y="6272212"/>
                </a:lnTo>
                <a:close/>
              </a:path>
            </a:pathLst>
          </a:cu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wrap="square" bIns="640080" anchor="ctr">
            <a:noAutofit/>
          </a:bodyPr>
          <a:lstStyle>
            <a:lvl1pPr marL="0" indent="0" algn="ctr">
              <a:buFont typeface="Arial" panose="020B0604020202020204" pitchFamily="34" charset="0"/>
              <a:buNone/>
              <a:defRPr sz="2000"/>
            </a:lvl1pPr>
          </a:lstStyle>
          <a:p>
            <a:endParaRPr lang="en-IN"/>
          </a:p>
        </p:txBody>
      </p:sp>
      <p:sp>
        <p:nvSpPr>
          <p:cNvPr id="2" name="Text Placeholder 35">
            <a:extLst>
              <a:ext uri="{FF2B5EF4-FFF2-40B4-BE49-F238E27FC236}">
                <a16:creationId xmlns:a16="http://schemas.microsoft.com/office/drawing/2014/main" id="{AA960027-0129-7FA0-8062-B8695379BD3C}"/>
              </a:ext>
            </a:extLst>
          </p:cNvPr>
          <p:cNvSpPr>
            <a:spLocks noGrp="1"/>
          </p:cNvSpPr>
          <p:nvPr>
            <p:ph type="body" sz="quarter" idx="17" hasCustomPrompt="1"/>
          </p:nvPr>
        </p:nvSpPr>
        <p:spPr>
          <a:xfrm>
            <a:off x="4077094" y="1662878"/>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1</a:t>
            </a:r>
          </a:p>
        </p:txBody>
      </p:sp>
      <p:sp>
        <p:nvSpPr>
          <p:cNvPr id="28" name="Text Placeholder 35">
            <a:extLst>
              <a:ext uri="{FF2B5EF4-FFF2-40B4-BE49-F238E27FC236}">
                <a16:creationId xmlns:a16="http://schemas.microsoft.com/office/drawing/2014/main" id="{8EFED0C6-EA2A-FAD6-CC22-96205F9A94BC}"/>
              </a:ext>
            </a:extLst>
          </p:cNvPr>
          <p:cNvSpPr>
            <a:spLocks noGrp="1"/>
          </p:cNvSpPr>
          <p:nvPr>
            <p:ph type="body" sz="quarter" idx="11" hasCustomPrompt="1"/>
          </p:nvPr>
        </p:nvSpPr>
        <p:spPr>
          <a:xfrm>
            <a:off x="4077094" y="2338345"/>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1" name="Text Placeholder 35">
            <a:extLst>
              <a:ext uri="{FF2B5EF4-FFF2-40B4-BE49-F238E27FC236}">
                <a16:creationId xmlns:a16="http://schemas.microsoft.com/office/drawing/2014/main" id="{78FEC705-61DA-3E3C-454E-C15492D51C8B}"/>
              </a:ext>
            </a:extLst>
          </p:cNvPr>
          <p:cNvSpPr>
            <a:spLocks noGrp="1"/>
          </p:cNvSpPr>
          <p:nvPr>
            <p:ph type="body" sz="quarter" idx="20" hasCustomPrompt="1"/>
          </p:nvPr>
        </p:nvSpPr>
        <p:spPr>
          <a:xfrm>
            <a:off x="8102994" y="1662878"/>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2</a:t>
            </a:r>
          </a:p>
        </p:txBody>
      </p:sp>
      <p:sp>
        <p:nvSpPr>
          <p:cNvPr id="31" name="Text Placeholder 35">
            <a:extLst>
              <a:ext uri="{FF2B5EF4-FFF2-40B4-BE49-F238E27FC236}">
                <a16:creationId xmlns:a16="http://schemas.microsoft.com/office/drawing/2014/main" id="{786D4BA8-8528-44EC-BC1D-8E530D913EA4}"/>
              </a:ext>
            </a:extLst>
          </p:cNvPr>
          <p:cNvSpPr>
            <a:spLocks noGrp="1"/>
          </p:cNvSpPr>
          <p:nvPr>
            <p:ph type="body" sz="quarter" idx="14" hasCustomPrompt="1"/>
          </p:nvPr>
        </p:nvSpPr>
        <p:spPr>
          <a:xfrm>
            <a:off x="8102994" y="2338345"/>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8" name="Text Placeholder 35">
            <a:extLst>
              <a:ext uri="{FF2B5EF4-FFF2-40B4-BE49-F238E27FC236}">
                <a16:creationId xmlns:a16="http://schemas.microsoft.com/office/drawing/2014/main" id="{0A42AA3D-4A85-9257-F46F-A5C32C17E772}"/>
              </a:ext>
            </a:extLst>
          </p:cNvPr>
          <p:cNvSpPr>
            <a:spLocks noGrp="1"/>
          </p:cNvSpPr>
          <p:nvPr>
            <p:ph type="body" sz="quarter" idx="18" hasCustomPrompt="1"/>
          </p:nvPr>
        </p:nvSpPr>
        <p:spPr>
          <a:xfrm>
            <a:off x="4077094" y="3201621"/>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3</a:t>
            </a:r>
          </a:p>
        </p:txBody>
      </p:sp>
      <p:sp>
        <p:nvSpPr>
          <p:cNvPr id="29" name="Text Placeholder 35">
            <a:extLst>
              <a:ext uri="{FF2B5EF4-FFF2-40B4-BE49-F238E27FC236}">
                <a16:creationId xmlns:a16="http://schemas.microsoft.com/office/drawing/2014/main" id="{3A0C4F3B-DD2A-D85C-6652-1A67E41AFE77}"/>
              </a:ext>
            </a:extLst>
          </p:cNvPr>
          <p:cNvSpPr>
            <a:spLocks noGrp="1"/>
          </p:cNvSpPr>
          <p:nvPr>
            <p:ph type="body" sz="quarter" idx="12" hasCustomPrompt="1"/>
          </p:nvPr>
        </p:nvSpPr>
        <p:spPr>
          <a:xfrm>
            <a:off x="4077094" y="3877088"/>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2" name="Text Placeholder 35">
            <a:extLst>
              <a:ext uri="{FF2B5EF4-FFF2-40B4-BE49-F238E27FC236}">
                <a16:creationId xmlns:a16="http://schemas.microsoft.com/office/drawing/2014/main" id="{4CD7A510-7474-4D07-280B-F55F2A425B42}"/>
              </a:ext>
            </a:extLst>
          </p:cNvPr>
          <p:cNvSpPr>
            <a:spLocks noGrp="1"/>
          </p:cNvSpPr>
          <p:nvPr>
            <p:ph type="body" sz="quarter" idx="21" hasCustomPrompt="1"/>
          </p:nvPr>
        </p:nvSpPr>
        <p:spPr>
          <a:xfrm>
            <a:off x="8102994" y="3201621"/>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4</a:t>
            </a:r>
          </a:p>
        </p:txBody>
      </p:sp>
      <p:sp>
        <p:nvSpPr>
          <p:cNvPr id="32" name="Text Placeholder 35">
            <a:extLst>
              <a:ext uri="{FF2B5EF4-FFF2-40B4-BE49-F238E27FC236}">
                <a16:creationId xmlns:a16="http://schemas.microsoft.com/office/drawing/2014/main" id="{C1602467-F0C1-6CAE-16ED-B5F7945322EC}"/>
              </a:ext>
            </a:extLst>
          </p:cNvPr>
          <p:cNvSpPr>
            <a:spLocks noGrp="1"/>
          </p:cNvSpPr>
          <p:nvPr>
            <p:ph type="body" sz="quarter" idx="15" hasCustomPrompt="1"/>
          </p:nvPr>
        </p:nvSpPr>
        <p:spPr>
          <a:xfrm>
            <a:off x="8102994" y="3877088"/>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0" name="Text Placeholder 35">
            <a:extLst>
              <a:ext uri="{FF2B5EF4-FFF2-40B4-BE49-F238E27FC236}">
                <a16:creationId xmlns:a16="http://schemas.microsoft.com/office/drawing/2014/main" id="{46D5CE3B-8D17-6534-61FA-4E1CD1506A82}"/>
              </a:ext>
            </a:extLst>
          </p:cNvPr>
          <p:cNvSpPr>
            <a:spLocks noGrp="1"/>
          </p:cNvSpPr>
          <p:nvPr>
            <p:ph type="body" sz="quarter" idx="19" hasCustomPrompt="1"/>
          </p:nvPr>
        </p:nvSpPr>
        <p:spPr>
          <a:xfrm>
            <a:off x="4077094" y="4718280"/>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5</a:t>
            </a:r>
          </a:p>
        </p:txBody>
      </p:sp>
      <p:sp>
        <p:nvSpPr>
          <p:cNvPr id="30" name="Text Placeholder 35">
            <a:extLst>
              <a:ext uri="{FF2B5EF4-FFF2-40B4-BE49-F238E27FC236}">
                <a16:creationId xmlns:a16="http://schemas.microsoft.com/office/drawing/2014/main" id="{41B2D09B-C75B-7148-28CD-8E41AB7FB89B}"/>
              </a:ext>
            </a:extLst>
          </p:cNvPr>
          <p:cNvSpPr>
            <a:spLocks noGrp="1"/>
          </p:cNvSpPr>
          <p:nvPr>
            <p:ph type="body" sz="quarter" idx="13" hasCustomPrompt="1"/>
          </p:nvPr>
        </p:nvSpPr>
        <p:spPr>
          <a:xfrm>
            <a:off x="4077094" y="5393747"/>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3" name="Text Placeholder 35">
            <a:extLst>
              <a:ext uri="{FF2B5EF4-FFF2-40B4-BE49-F238E27FC236}">
                <a16:creationId xmlns:a16="http://schemas.microsoft.com/office/drawing/2014/main" id="{C897771B-DFEC-E8A3-93CF-925CB6170BDF}"/>
              </a:ext>
            </a:extLst>
          </p:cNvPr>
          <p:cNvSpPr>
            <a:spLocks noGrp="1"/>
          </p:cNvSpPr>
          <p:nvPr>
            <p:ph type="body" sz="quarter" idx="22" hasCustomPrompt="1"/>
          </p:nvPr>
        </p:nvSpPr>
        <p:spPr>
          <a:xfrm>
            <a:off x="8102994" y="4718280"/>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6</a:t>
            </a:r>
          </a:p>
        </p:txBody>
      </p:sp>
      <p:sp>
        <p:nvSpPr>
          <p:cNvPr id="33" name="Text Placeholder 35">
            <a:extLst>
              <a:ext uri="{FF2B5EF4-FFF2-40B4-BE49-F238E27FC236}">
                <a16:creationId xmlns:a16="http://schemas.microsoft.com/office/drawing/2014/main" id="{14F23EA4-A09C-C174-76CB-D617C4F363C6}"/>
              </a:ext>
            </a:extLst>
          </p:cNvPr>
          <p:cNvSpPr>
            <a:spLocks noGrp="1"/>
          </p:cNvSpPr>
          <p:nvPr>
            <p:ph type="body" sz="quarter" idx="16" hasCustomPrompt="1"/>
          </p:nvPr>
        </p:nvSpPr>
        <p:spPr>
          <a:xfrm>
            <a:off x="8102994" y="5393747"/>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Tree>
    <p:extLst>
      <p:ext uri="{BB962C8B-B14F-4D97-AF65-F5344CB8AC3E}">
        <p14:creationId xmlns:p14="http://schemas.microsoft.com/office/powerpoint/2010/main" val="2611140180"/>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64B197-ECE6-EBED-BFF1-65C2CD41175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17AC8CED-C8E3-DC9C-8A5B-8058E42ECF28}"/>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206998"/>
            <a:ext cx="12193057" cy="1651001"/>
          </a:xfrm>
          <a:prstGeom prst="rect">
            <a:avLst/>
          </a:prstGeom>
        </p:spPr>
      </p:pic>
      <p:sp>
        <p:nvSpPr>
          <p:cNvPr id="6" name="Rectangle: Rounded Corners 5">
            <a:extLst>
              <a:ext uri="{FF2B5EF4-FFF2-40B4-BE49-F238E27FC236}">
                <a16:creationId xmlns:a16="http://schemas.microsoft.com/office/drawing/2014/main" id="{83AC11BA-CD7A-E729-1DFA-E77FAC92BACF}"/>
              </a:ext>
              <a:ext uri="{C183D7F6-B498-43B3-948B-1728B52AA6E4}">
                <adec:decorative xmlns:adec="http://schemas.microsoft.com/office/drawing/2017/decorative" val="1"/>
              </a:ext>
            </a:extLst>
          </p:cNvPr>
          <p:cNvSpPr/>
          <p:nvPr userDrawn="1"/>
        </p:nvSpPr>
        <p:spPr bwMode="auto">
          <a:xfrm>
            <a:off x="428172" y="1651000"/>
            <a:ext cx="11335657" cy="3675743"/>
          </a:xfrm>
          <a:prstGeom prst="roundRect">
            <a:avLst>
              <a:gd name="adj" fmla="val 5804"/>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p>
        </p:txBody>
      </p:sp>
      <p:sp>
        <p:nvSpPr>
          <p:cNvPr id="2" name="Title 1">
            <a:extLst>
              <a:ext uri="{FF2B5EF4-FFF2-40B4-BE49-F238E27FC236}">
                <a16:creationId xmlns:a16="http://schemas.microsoft.com/office/drawing/2014/main" id="{57A6327E-C1E8-E038-EE6D-624AA5DF813D}"/>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5" name="Text Placeholder 35">
            <a:extLst>
              <a:ext uri="{FF2B5EF4-FFF2-40B4-BE49-F238E27FC236}">
                <a16:creationId xmlns:a16="http://schemas.microsoft.com/office/drawing/2014/main" id="{64A1F96F-2516-1B0B-E8E5-E06824266929}"/>
              </a:ext>
            </a:extLst>
          </p:cNvPr>
          <p:cNvSpPr>
            <a:spLocks noGrp="1"/>
          </p:cNvSpPr>
          <p:nvPr>
            <p:ph type="body" sz="quarter" idx="11" hasCustomPrompt="1"/>
          </p:nvPr>
        </p:nvSpPr>
        <p:spPr>
          <a:xfrm>
            <a:off x="86086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6" name="Text Placeholder 35">
            <a:extLst>
              <a:ext uri="{FF2B5EF4-FFF2-40B4-BE49-F238E27FC236}">
                <a16:creationId xmlns:a16="http://schemas.microsoft.com/office/drawing/2014/main" id="{AAF9214D-DFFF-7325-02FE-90E349D10B13}"/>
              </a:ext>
            </a:extLst>
          </p:cNvPr>
          <p:cNvSpPr>
            <a:spLocks noGrp="1"/>
          </p:cNvSpPr>
          <p:nvPr>
            <p:ph type="body" sz="quarter" idx="12" hasCustomPrompt="1"/>
          </p:nvPr>
        </p:nvSpPr>
        <p:spPr>
          <a:xfrm>
            <a:off x="86086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C3EBA369-354A-2B39-8269-96BF3CE4F081}"/>
              </a:ext>
            </a:extLst>
          </p:cNvPr>
          <p:cNvSpPr>
            <a:spLocks noGrp="1"/>
          </p:cNvSpPr>
          <p:nvPr>
            <p:ph type="body" sz="quarter" idx="13" hasCustomPrompt="1"/>
          </p:nvPr>
        </p:nvSpPr>
        <p:spPr>
          <a:xfrm>
            <a:off x="86086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8" name="Text Placeholder 35">
            <a:extLst>
              <a:ext uri="{FF2B5EF4-FFF2-40B4-BE49-F238E27FC236}">
                <a16:creationId xmlns:a16="http://schemas.microsoft.com/office/drawing/2014/main" id="{0253D337-973C-F3E7-0B46-9A1223F963F3}"/>
              </a:ext>
            </a:extLst>
          </p:cNvPr>
          <p:cNvSpPr>
            <a:spLocks noGrp="1"/>
          </p:cNvSpPr>
          <p:nvPr>
            <p:ph type="body" sz="quarter" idx="14" hasCustomPrompt="1"/>
          </p:nvPr>
        </p:nvSpPr>
        <p:spPr>
          <a:xfrm>
            <a:off x="462717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9" name="Text Placeholder 35">
            <a:extLst>
              <a:ext uri="{FF2B5EF4-FFF2-40B4-BE49-F238E27FC236}">
                <a16:creationId xmlns:a16="http://schemas.microsoft.com/office/drawing/2014/main" id="{898A37EE-3577-8A9E-AE3F-9414285877F4}"/>
              </a:ext>
            </a:extLst>
          </p:cNvPr>
          <p:cNvSpPr>
            <a:spLocks noGrp="1"/>
          </p:cNvSpPr>
          <p:nvPr>
            <p:ph type="body" sz="quarter" idx="15" hasCustomPrompt="1"/>
          </p:nvPr>
        </p:nvSpPr>
        <p:spPr>
          <a:xfrm>
            <a:off x="462717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0" name="Text Placeholder 35">
            <a:extLst>
              <a:ext uri="{FF2B5EF4-FFF2-40B4-BE49-F238E27FC236}">
                <a16:creationId xmlns:a16="http://schemas.microsoft.com/office/drawing/2014/main" id="{487A2308-ADBE-3807-0402-8DDB10301B97}"/>
              </a:ext>
            </a:extLst>
          </p:cNvPr>
          <p:cNvSpPr>
            <a:spLocks noGrp="1"/>
          </p:cNvSpPr>
          <p:nvPr>
            <p:ph type="body" sz="quarter" idx="16" hasCustomPrompt="1"/>
          </p:nvPr>
        </p:nvSpPr>
        <p:spPr>
          <a:xfrm>
            <a:off x="462717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Text Placeholder 35">
            <a:extLst>
              <a:ext uri="{FF2B5EF4-FFF2-40B4-BE49-F238E27FC236}">
                <a16:creationId xmlns:a16="http://schemas.microsoft.com/office/drawing/2014/main" id="{D355C1F5-AE39-4EB0-041B-05866C9987D6}"/>
              </a:ext>
            </a:extLst>
          </p:cNvPr>
          <p:cNvSpPr>
            <a:spLocks noGrp="1"/>
          </p:cNvSpPr>
          <p:nvPr>
            <p:ph type="body" sz="quarter" idx="17" hasCustomPrompt="1"/>
          </p:nvPr>
        </p:nvSpPr>
        <p:spPr>
          <a:xfrm>
            <a:off x="840028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52" name="Text Placeholder 35">
            <a:extLst>
              <a:ext uri="{FF2B5EF4-FFF2-40B4-BE49-F238E27FC236}">
                <a16:creationId xmlns:a16="http://schemas.microsoft.com/office/drawing/2014/main" id="{CB83188C-B3D2-228E-4EF1-AC119C1787A4}"/>
              </a:ext>
            </a:extLst>
          </p:cNvPr>
          <p:cNvSpPr>
            <a:spLocks noGrp="1"/>
          </p:cNvSpPr>
          <p:nvPr>
            <p:ph type="body" sz="quarter" idx="18" hasCustomPrompt="1"/>
          </p:nvPr>
        </p:nvSpPr>
        <p:spPr>
          <a:xfrm>
            <a:off x="840028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Text Placeholder 35">
            <a:extLst>
              <a:ext uri="{FF2B5EF4-FFF2-40B4-BE49-F238E27FC236}">
                <a16:creationId xmlns:a16="http://schemas.microsoft.com/office/drawing/2014/main" id="{BB2C7B94-4726-A697-9654-6199C966F1B3}"/>
              </a:ext>
            </a:extLst>
          </p:cNvPr>
          <p:cNvSpPr>
            <a:spLocks noGrp="1"/>
          </p:cNvSpPr>
          <p:nvPr>
            <p:ph type="body" sz="quarter" idx="19" hasCustomPrompt="1"/>
          </p:nvPr>
        </p:nvSpPr>
        <p:spPr>
          <a:xfrm>
            <a:off x="840028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30" name="Straight Connector 29">
            <a:extLst>
              <a:ext uri="{FF2B5EF4-FFF2-40B4-BE49-F238E27FC236}">
                <a16:creationId xmlns:a16="http://schemas.microsoft.com/office/drawing/2014/main" id="{A688E66F-B612-CFA7-A0E0-CBFC7C051224}"/>
              </a:ext>
              <a:ext uri="{C183D7F6-B498-43B3-948B-1728B52AA6E4}">
                <adec:decorative xmlns:adec="http://schemas.microsoft.com/office/drawing/2017/decorative" val="1"/>
              </a:ext>
            </a:extLst>
          </p:cNvPr>
          <p:cNvCxnSpPr>
            <a:cxnSpLocks/>
          </p:cNvCxnSpPr>
          <p:nvPr userDrawn="1"/>
        </p:nvCxnSpPr>
        <p:spPr>
          <a:xfrm>
            <a:off x="4349093" y="1651000"/>
            <a:ext cx="0" cy="3675743"/>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9779C3-A4E0-0B24-5DF1-70B8FF8C1175}"/>
              </a:ext>
              <a:ext uri="{C183D7F6-B498-43B3-948B-1728B52AA6E4}">
                <adec:decorative xmlns:adec="http://schemas.microsoft.com/office/drawing/2017/decorative" val="1"/>
              </a:ext>
            </a:extLst>
          </p:cNvPr>
          <p:cNvCxnSpPr>
            <a:cxnSpLocks/>
          </p:cNvCxnSpPr>
          <p:nvPr userDrawn="1"/>
        </p:nvCxnSpPr>
        <p:spPr>
          <a:xfrm>
            <a:off x="8118804" y="1651000"/>
            <a:ext cx="0" cy="3675743"/>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943649"/>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A4E856E-A679-2449-FEE3-6D1968B3F31E}"/>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3" name="Freeform: Shape 2">
              <a:extLst>
                <a:ext uri="{FF2B5EF4-FFF2-40B4-BE49-F238E27FC236}">
                  <a16:creationId xmlns:a16="http://schemas.microsoft.com/office/drawing/2014/main" id="{A72DFF52-C1D8-248E-836A-400A248DBA56}"/>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571500" dist="1524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4" name="Freeform: Shape 3">
              <a:extLst>
                <a:ext uri="{FF2B5EF4-FFF2-40B4-BE49-F238E27FC236}">
                  <a16:creationId xmlns:a16="http://schemas.microsoft.com/office/drawing/2014/main" id="{8B0DC967-1A28-B588-A0A8-1116730ADFD3}"/>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1524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pic>
        <p:nvPicPr>
          <p:cNvPr id="5" name="Picture 4">
            <a:extLst>
              <a:ext uri="{FF2B5EF4-FFF2-40B4-BE49-F238E27FC236}">
                <a16:creationId xmlns:a16="http://schemas.microsoft.com/office/drawing/2014/main" id="{7B91A752-9C2A-ACCE-C231-5E310C86A573}"/>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3057" cy="2260599"/>
          </a:xfrm>
          <a:prstGeom prst="rect">
            <a:avLst/>
          </a:prstGeom>
        </p:spPr>
      </p:pic>
      <p:sp>
        <p:nvSpPr>
          <p:cNvPr id="12" name="Rectangle: Top Corners Rounded 11">
            <a:extLst>
              <a:ext uri="{FF2B5EF4-FFF2-40B4-BE49-F238E27FC236}">
                <a16:creationId xmlns:a16="http://schemas.microsoft.com/office/drawing/2014/main" id="{C28DBDCE-FD93-A5EF-2A0D-92F1693F313F}"/>
              </a:ext>
              <a:ext uri="{C183D7F6-B498-43B3-948B-1728B52AA6E4}">
                <adec:decorative xmlns:adec="http://schemas.microsoft.com/office/drawing/2017/decorative" val="1"/>
              </a:ext>
            </a:extLst>
          </p:cNvPr>
          <p:cNvSpPr/>
          <p:nvPr userDrawn="1"/>
        </p:nvSpPr>
        <p:spPr bwMode="auto">
          <a:xfrm>
            <a:off x="588263"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13" name="Rectangle: Top Corners Rounded 12">
            <a:extLst>
              <a:ext uri="{FF2B5EF4-FFF2-40B4-BE49-F238E27FC236}">
                <a16:creationId xmlns:a16="http://schemas.microsoft.com/office/drawing/2014/main" id="{3E794E6B-0DDC-FA88-C661-E687C1F241A0}"/>
              </a:ext>
              <a:ext uri="{C183D7F6-B498-43B3-948B-1728B52AA6E4}">
                <adec:decorative xmlns:adec="http://schemas.microsoft.com/office/drawing/2017/decorative" val="1"/>
              </a:ext>
            </a:extLst>
          </p:cNvPr>
          <p:cNvSpPr/>
          <p:nvPr userDrawn="1"/>
        </p:nvSpPr>
        <p:spPr bwMode="auto">
          <a:xfrm>
            <a:off x="6157455"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27" name="Straight Connector 26">
            <a:extLst>
              <a:ext uri="{FF2B5EF4-FFF2-40B4-BE49-F238E27FC236}">
                <a16:creationId xmlns:a16="http://schemas.microsoft.com/office/drawing/2014/main" id="{A6EE28D3-9CD9-2BAB-3F0B-FD55CD39936B}"/>
              </a:ext>
              <a:ext uri="{C183D7F6-B498-43B3-948B-1728B52AA6E4}">
                <adec:decorative xmlns:adec="http://schemas.microsoft.com/office/drawing/2017/decorative" val="1"/>
              </a:ext>
            </a:extLst>
          </p:cNvPr>
          <p:cNvCxnSpPr>
            <a:cxnSpLocks/>
          </p:cNvCxnSpPr>
          <p:nvPr userDrawn="1"/>
        </p:nvCxnSpPr>
        <p:spPr>
          <a:xfrm rot="5400000">
            <a:off x="2461412"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D11C4F4-5CFF-A588-A1C8-6F3BD56438E2}"/>
              </a:ext>
              <a:ext uri="{C183D7F6-B498-43B3-948B-1728B52AA6E4}">
                <adec:decorative xmlns:adec="http://schemas.microsoft.com/office/drawing/2017/decorative" val="1"/>
              </a:ext>
            </a:extLst>
          </p:cNvPr>
          <p:cNvCxnSpPr>
            <a:cxnSpLocks/>
          </p:cNvCxnSpPr>
          <p:nvPr userDrawn="1"/>
        </p:nvCxnSpPr>
        <p:spPr>
          <a:xfrm rot="5400000">
            <a:off x="5246008"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Top Corners Rounded 28">
            <a:extLst>
              <a:ext uri="{FF2B5EF4-FFF2-40B4-BE49-F238E27FC236}">
                <a16:creationId xmlns:a16="http://schemas.microsoft.com/office/drawing/2014/main" id="{47AE8B0E-381B-4352-3BFC-AC578B879B03}"/>
              </a:ext>
              <a:ext uri="{C183D7F6-B498-43B3-948B-1728B52AA6E4}">
                <adec:decorative xmlns:adec="http://schemas.microsoft.com/office/drawing/2017/decorative" val="1"/>
              </a:ext>
            </a:extLst>
          </p:cNvPr>
          <p:cNvSpPr/>
          <p:nvPr userDrawn="1"/>
        </p:nvSpPr>
        <p:spPr bwMode="auto">
          <a:xfrm>
            <a:off x="3372859"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37" name="Straight Connector 36">
            <a:extLst>
              <a:ext uri="{FF2B5EF4-FFF2-40B4-BE49-F238E27FC236}">
                <a16:creationId xmlns:a16="http://schemas.microsoft.com/office/drawing/2014/main" id="{B152C352-0EA4-6BD1-14F9-ED126610B5BD}"/>
              </a:ext>
              <a:ext uri="{C183D7F6-B498-43B3-948B-1728B52AA6E4}">
                <adec:decorative xmlns:adec="http://schemas.microsoft.com/office/drawing/2017/decorative" val="1"/>
              </a:ext>
            </a:extLst>
          </p:cNvPr>
          <p:cNvCxnSpPr>
            <a:cxnSpLocks/>
          </p:cNvCxnSpPr>
          <p:nvPr userDrawn="1"/>
        </p:nvCxnSpPr>
        <p:spPr>
          <a:xfrm rot="5400000">
            <a:off x="8030604"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Rectangle: Top Corners Rounded 37">
            <a:extLst>
              <a:ext uri="{FF2B5EF4-FFF2-40B4-BE49-F238E27FC236}">
                <a16:creationId xmlns:a16="http://schemas.microsoft.com/office/drawing/2014/main" id="{C919AA73-25A8-BA6C-41F3-B84E042FB494}"/>
              </a:ext>
              <a:ext uri="{C183D7F6-B498-43B3-948B-1728B52AA6E4}">
                <adec:decorative xmlns:adec="http://schemas.microsoft.com/office/drawing/2017/decorative" val="1"/>
              </a:ext>
            </a:extLst>
          </p:cNvPr>
          <p:cNvSpPr/>
          <p:nvPr userDrawn="1"/>
        </p:nvSpPr>
        <p:spPr bwMode="auto">
          <a:xfrm>
            <a:off x="8942051"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2" name="Title 1">
            <a:extLst>
              <a:ext uri="{FF2B5EF4-FFF2-40B4-BE49-F238E27FC236}">
                <a16:creationId xmlns:a16="http://schemas.microsoft.com/office/drawing/2014/main" id="{46CA8B06-CE0C-F5BB-0026-5AE6D48C9833}"/>
              </a:ext>
            </a:extLst>
          </p:cNvPr>
          <p:cNvSpPr>
            <a:spLocks noGrp="1"/>
          </p:cNvSpPr>
          <p:nvPr userDrawn="1">
            <p:ph type="title"/>
          </p:nvPr>
        </p:nvSpPr>
        <p:spPr>
          <a:xfrm>
            <a:off x="588263" y="689088"/>
            <a:ext cx="11018520" cy="553998"/>
          </a:xfrm>
        </p:spPr>
        <p:txBody>
          <a:bodyPr vert="horz" wrap="square" lIns="0" tIns="0" rIns="0" bIns="0" rtlCol="0" anchor="t">
            <a:spAutoFit/>
          </a:bodyPr>
          <a:lstStyle>
            <a:lvl1pPr marL="0" indent="0" algn="ctr">
              <a:buFont typeface="Arial" panose="020B0604020202020204" pitchFamily="34" charset="0"/>
              <a:buNone/>
              <a:defRPr lang="en-IN" dirty="0">
                <a:solidFill>
                  <a:schemeClr val="bg1"/>
                </a:solidFill>
              </a:defRPr>
            </a:lvl1pPr>
          </a:lstStyle>
          <a:p>
            <a:pPr marL="0" lvl="0"/>
            <a:r>
              <a:rPr lang="en-US"/>
              <a:t>Click to edit Master title style</a:t>
            </a:r>
            <a:endParaRPr lang="en-IN"/>
          </a:p>
        </p:txBody>
      </p:sp>
      <p:sp>
        <p:nvSpPr>
          <p:cNvPr id="56" name="Text Placeholder 35">
            <a:extLst>
              <a:ext uri="{FF2B5EF4-FFF2-40B4-BE49-F238E27FC236}">
                <a16:creationId xmlns:a16="http://schemas.microsoft.com/office/drawing/2014/main" id="{1F76A3C2-0DBA-5F2F-3E2A-B2AE0BD98591}"/>
              </a:ext>
            </a:extLst>
          </p:cNvPr>
          <p:cNvSpPr>
            <a:spLocks noGrp="1"/>
          </p:cNvSpPr>
          <p:nvPr userDrawn="1">
            <p:ph type="body" sz="quarter" idx="20" hasCustomPrompt="1"/>
          </p:nvPr>
        </p:nvSpPr>
        <p:spPr>
          <a:xfrm>
            <a:off x="1979038" y="272534"/>
            <a:ext cx="8233924" cy="307777"/>
          </a:xfrm>
          <a:noFill/>
        </p:spPr>
        <p:txBody>
          <a:bodyPr wrap="square">
            <a:spAutoFit/>
          </a:bodyPr>
          <a:lstStyle>
            <a:lvl1pPr marL="0" indent="0" algn="ctr">
              <a:buFont typeface="Arial" panose="020B0604020202020204" pitchFamily="34" charset="0"/>
              <a:buNone/>
              <a:defRPr lang="en-US" sz="2000" dirty="0" smtClean="0">
                <a:solidFill>
                  <a:schemeClr val="bg1"/>
                </a:solidFill>
                <a:latin typeface="+mj-lt"/>
                <a:cs typeface="+mn-cs"/>
              </a:defRPr>
            </a:lvl1pPr>
          </a:lstStyle>
          <a:p>
            <a:pPr marL="0" lvl="0" algn="ctr" defTabSz="914400"/>
            <a:r>
              <a:rPr lang="en-US"/>
              <a:t>Trend Slide 1</a:t>
            </a:r>
          </a:p>
        </p:txBody>
      </p:sp>
      <p:sp>
        <p:nvSpPr>
          <p:cNvPr id="57" name="Text Placeholder 35">
            <a:extLst>
              <a:ext uri="{FF2B5EF4-FFF2-40B4-BE49-F238E27FC236}">
                <a16:creationId xmlns:a16="http://schemas.microsoft.com/office/drawing/2014/main" id="{B100716B-85B4-8C73-0832-A40725D0E5DF}"/>
              </a:ext>
            </a:extLst>
          </p:cNvPr>
          <p:cNvSpPr>
            <a:spLocks noGrp="1"/>
          </p:cNvSpPr>
          <p:nvPr userDrawn="1">
            <p:ph type="body" sz="quarter" idx="21" hasCustomPrompt="1"/>
          </p:nvPr>
        </p:nvSpPr>
        <p:spPr>
          <a:xfrm>
            <a:off x="585217" y="1383945"/>
            <a:ext cx="11021566" cy="369332"/>
          </a:xfrm>
          <a:noFill/>
        </p:spPr>
        <p:txBody>
          <a:bodyPr wrap="square" lIns="0" tIns="0" rIns="0" bIns="0" anchor="ctr">
            <a:spAutoFit/>
          </a:bodyPr>
          <a:lstStyle>
            <a:lvl1pPr marL="0" indent="0" algn="ctr">
              <a:buFont typeface="Arial" panose="020B0604020202020204" pitchFamily="34" charset="0"/>
              <a:buNone/>
              <a:defRPr lang="en-US" sz="2400" spc="-50" dirty="0" smtClean="0">
                <a:ln w="3175">
                  <a:noFill/>
                </a:ln>
                <a:solidFill>
                  <a:schemeClr val="accent1">
                    <a:lumMod val="60000"/>
                    <a:lumOff val="40000"/>
                  </a:schemeClr>
                </a:solidFill>
                <a:latin typeface="+mj-lt"/>
              </a:defRPr>
            </a:lvl1pPr>
          </a:lstStyle>
          <a:p>
            <a:pPr marL="0" lvl="0" algn="ctr">
              <a:spcBef>
                <a:spcPct val="0"/>
              </a:spcBef>
            </a:pPr>
            <a:r>
              <a:rPr lang="en-US"/>
              <a:t>Click to add Sub-Title</a:t>
            </a:r>
          </a:p>
        </p:txBody>
      </p:sp>
      <p:sp>
        <p:nvSpPr>
          <p:cNvPr id="59" name="Picture Placeholder 58">
            <a:extLst>
              <a:ext uri="{FF2B5EF4-FFF2-40B4-BE49-F238E27FC236}">
                <a16:creationId xmlns:a16="http://schemas.microsoft.com/office/drawing/2014/main" id="{17EE7144-C827-02B6-0814-30A25D61E975}"/>
              </a:ext>
            </a:extLst>
          </p:cNvPr>
          <p:cNvSpPr>
            <a:spLocks noGrp="1"/>
          </p:cNvSpPr>
          <p:nvPr userDrawn="1">
            <p:ph type="pic" sz="quarter" idx="22"/>
          </p:nvPr>
        </p:nvSpPr>
        <p:spPr>
          <a:xfrm>
            <a:off x="584882"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48" name="Text Placeholder 35">
            <a:extLst>
              <a:ext uri="{FF2B5EF4-FFF2-40B4-BE49-F238E27FC236}">
                <a16:creationId xmlns:a16="http://schemas.microsoft.com/office/drawing/2014/main" id="{64C57D9C-393F-251B-13F3-37C00DEE541F}"/>
              </a:ext>
            </a:extLst>
          </p:cNvPr>
          <p:cNvSpPr>
            <a:spLocks noGrp="1"/>
          </p:cNvSpPr>
          <p:nvPr userDrawn="1">
            <p:ph type="body" sz="quarter" idx="13" hasCustomPrompt="1"/>
          </p:nvPr>
        </p:nvSpPr>
        <p:spPr>
          <a:xfrm>
            <a:off x="73660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4857C950-FF0D-E01B-2872-0C488D39C60E}"/>
              </a:ext>
            </a:extLst>
          </p:cNvPr>
          <p:cNvSpPr>
            <a:spLocks noGrp="1"/>
          </p:cNvSpPr>
          <p:nvPr userDrawn="1">
            <p:ph type="body" sz="quarter" idx="12" hasCustomPrompt="1"/>
          </p:nvPr>
        </p:nvSpPr>
        <p:spPr>
          <a:xfrm>
            <a:off x="73660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0" name="Picture Placeholder 58">
            <a:extLst>
              <a:ext uri="{FF2B5EF4-FFF2-40B4-BE49-F238E27FC236}">
                <a16:creationId xmlns:a16="http://schemas.microsoft.com/office/drawing/2014/main" id="{D7AB8E79-861B-AC28-DED3-52FC6A047FCD}"/>
              </a:ext>
            </a:extLst>
          </p:cNvPr>
          <p:cNvSpPr>
            <a:spLocks noGrp="1"/>
          </p:cNvSpPr>
          <p:nvPr userDrawn="1">
            <p:ph type="pic" sz="quarter" idx="23"/>
          </p:nvPr>
        </p:nvSpPr>
        <p:spPr>
          <a:xfrm>
            <a:off x="3372860"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0" name="Text Placeholder 35">
            <a:extLst>
              <a:ext uri="{FF2B5EF4-FFF2-40B4-BE49-F238E27FC236}">
                <a16:creationId xmlns:a16="http://schemas.microsoft.com/office/drawing/2014/main" id="{30FCCE78-5AD8-C625-6E17-E990FF71CA19}"/>
              </a:ext>
            </a:extLst>
          </p:cNvPr>
          <p:cNvSpPr>
            <a:spLocks noGrp="1"/>
          </p:cNvSpPr>
          <p:nvPr userDrawn="1">
            <p:ph type="body" sz="quarter" idx="15" hasCustomPrompt="1"/>
          </p:nvPr>
        </p:nvSpPr>
        <p:spPr>
          <a:xfrm>
            <a:off x="352119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9" name="Text Placeholder 35">
            <a:extLst>
              <a:ext uri="{FF2B5EF4-FFF2-40B4-BE49-F238E27FC236}">
                <a16:creationId xmlns:a16="http://schemas.microsoft.com/office/drawing/2014/main" id="{BDF16B7A-81FF-7E26-764B-993FE32F4EDC}"/>
              </a:ext>
            </a:extLst>
          </p:cNvPr>
          <p:cNvSpPr>
            <a:spLocks noGrp="1"/>
          </p:cNvSpPr>
          <p:nvPr userDrawn="1">
            <p:ph type="body" sz="quarter" idx="14" hasCustomPrompt="1"/>
          </p:nvPr>
        </p:nvSpPr>
        <p:spPr>
          <a:xfrm>
            <a:off x="352119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1" name="Picture Placeholder 58">
            <a:extLst>
              <a:ext uri="{FF2B5EF4-FFF2-40B4-BE49-F238E27FC236}">
                <a16:creationId xmlns:a16="http://schemas.microsoft.com/office/drawing/2014/main" id="{574C98C7-F18C-A7A1-6560-CB540FDAAA64}"/>
              </a:ext>
            </a:extLst>
          </p:cNvPr>
          <p:cNvSpPr>
            <a:spLocks noGrp="1"/>
          </p:cNvSpPr>
          <p:nvPr userDrawn="1">
            <p:ph type="pic" sz="quarter" idx="24"/>
          </p:nvPr>
        </p:nvSpPr>
        <p:spPr>
          <a:xfrm>
            <a:off x="6157456"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2" name="Text Placeholder 35">
            <a:extLst>
              <a:ext uri="{FF2B5EF4-FFF2-40B4-BE49-F238E27FC236}">
                <a16:creationId xmlns:a16="http://schemas.microsoft.com/office/drawing/2014/main" id="{A2D533A1-741E-0402-DB98-F019D7B5A6D5}"/>
              </a:ext>
            </a:extLst>
          </p:cNvPr>
          <p:cNvSpPr>
            <a:spLocks noGrp="1"/>
          </p:cNvSpPr>
          <p:nvPr userDrawn="1">
            <p:ph type="body" sz="quarter" idx="17" hasCustomPrompt="1"/>
          </p:nvPr>
        </p:nvSpPr>
        <p:spPr>
          <a:xfrm>
            <a:off x="630579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Text Placeholder 35">
            <a:extLst>
              <a:ext uri="{FF2B5EF4-FFF2-40B4-BE49-F238E27FC236}">
                <a16:creationId xmlns:a16="http://schemas.microsoft.com/office/drawing/2014/main" id="{E78FE4B6-821D-3948-1876-0CC6058ADC5B}"/>
              </a:ext>
            </a:extLst>
          </p:cNvPr>
          <p:cNvSpPr>
            <a:spLocks noGrp="1"/>
          </p:cNvSpPr>
          <p:nvPr userDrawn="1">
            <p:ph type="body" sz="quarter" idx="16" hasCustomPrompt="1"/>
          </p:nvPr>
        </p:nvSpPr>
        <p:spPr>
          <a:xfrm>
            <a:off x="630579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Picture Placeholder 58">
            <a:extLst>
              <a:ext uri="{FF2B5EF4-FFF2-40B4-BE49-F238E27FC236}">
                <a16:creationId xmlns:a16="http://schemas.microsoft.com/office/drawing/2014/main" id="{A07E071B-E47E-D95A-15AF-45035C61AF29}"/>
              </a:ext>
            </a:extLst>
          </p:cNvPr>
          <p:cNvSpPr>
            <a:spLocks noGrp="1"/>
          </p:cNvSpPr>
          <p:nvPr userDrawn="1">
            <p:ph type="pic" sz="quarter" idx="25"/>
          </p:nvPr>
        </p:nvSpPr>
        <p:spPr>
          <a:xfrm>
            <a:off x="8942052"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4" name="Text Placeholder 35">
            <a:extLst>
              <a:ext uri="{FF2B5EF4-FFF2-40B4-BE49-F238E27FC236}">
                <a16:creationId xmlns:a16="http://schemas.microsoft.com/office/drawing/2014/main" id="{34F322DB-C32F-C6EE-7ABD-F1BB762B9EE7}"/>
              </a:ext>
            </a:extLst>
          </p:cNvPr>
          <p:cNvSpPr>
            <a:spLocks noGrp="1"/>
          </p:cNvSpPr>
          <p:nvPr userDrawn="1">
            <p:ph type="body" sz="quarter" idx="19" hasCustomPrompt="1"/>
          </p:nvPr>
        </p:nvSpPr>
        <p:spPr>
          <a:xfrm>
            <a:off x="909038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Text Placeholder 35">
            <a:extLst>
              <a:ext uri="{FF2B5EF4-FFF2-40B4-BE49-F238E27FC236}">
                <a16:creationId xmlns:a16="http://schemas.microsoft.com/office/drawing/2014/main" id="{8DCBB671-7F89-1D55-E26E-3D4573046A1A}"/>
              </a:ext>
            </a:extLst>
          </p:cNvPr>
          <p:cNvSpPr>
            <a:spLocks noGrp="1"/>
          </p:cNvSpPr>
          <p:nvPr userDrawn="1">
            <p:ph type="body" sz="quarter" idx="18" hasCustomPrompt="1"/>
          </p:nvPr>
        </p:nvSpPr>
        <p:spPr>
          <a:xfrm>
            <a:off x="909038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85905151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565912-9045-AD6D-B8CE-C5C20C8D6AB0}"/>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DC77E53A-EBF4-D02E-2CF2-2EA4E2FEF35D}"/>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4597400"/>
            <a:ext cx="12193057" cy="2260599"/>
          </a:xfrm>
          <a:prstGeom prst="rect">
            <a:avLst/>
          </a:prstGeom>
        </p:spPr>
      </p:pic>
      <p:sp>
        <p:nvSpPr>
          <p:cNvPr id="6" name="Title 5">
            <a:extLst>
              <a:ext uri="{FF2B5EF4-FFF2-40B4-BE49-F238E27FC236}">
                <a16:creationId xmlns:a16="http://schemas.microsoft.com/office/drawing/2014/main" id="{4251715A-8B69-8C4A-446F-8EB4C336DC9F}"/>
              </a:ext>
            </a:extLst>
          </p:cNvPr>
          <p:cNvSpPr>
            <a:spLocks noGrp="1"/>
          </p:cNvSpPr>
          <p:nvPr>
            <p:ph type="title"/>
          </p:nvPr>
        </p:nvSpPr>
        <p:spPr/>
        <p:txBody>
          <a:bodyPr/>
          <a:lstStyle>
            <a:lvl1pPr>
              <a:defRPr lang="en-IN" sz="3600" b="0" kern="1200" cap="none" spc="-50" baseline="0" dirty="0">
                <a:ln w="3175">
                  <a:noFill/>
                </a:ln>
                <a:gradFill>
                  <a:gsLst>
                    <a:gs pos="0">
                      <a:schemeClr val="tx2"/>
                    </a:gs>
                    <a:gs pos="100000">
                      <a:schemeClr val="tx2">
                        <a:lumMod val="60000"/>
                        <a:lumOff val="40000"/>
                      </a:schemeClr>
                    </a:gs>
                  </a:gsLst>
                  <a:lin ang="2700000" scaled="1"/>
                </a:gradFill>
                <a:effectLst/>
                <a:latin typeface="+mj-lt"/>
                <a:ea typeface="+mn-ea"/>
                <a:cs typeface="Segoe UI" pitchFamily="34" charset="0"/>
              </a:defRPr>
            </a:lvl1pPr>
          </a:lstStyle>
          <a:p>
            <a:pPr marL="0" lvl="0" indent="0" algn="l" defTabSz="932742" rtl="0" eaLnBrk="1" latinLnBrk="0" hangingPunct="1">
              <a:lnSpc>
                <a:spcPct val="100000"/>
              </a:lnSpc>
              <a:spcBef>
                <a:spcPct val="0"/>
              </a:spcBef>
              <a:buFont typeface="Arial" panose="020B0604020202020204" pitchFamily="34" charset="0"/>
              <a:buNone/>
            </a:pPr>
            <a:r>
              <a:rPr lang="en-US"/>
              <a:t>Click to edit Master title style</a:t>
            </a:r>
            <a:endParaRPr lang="en-IN"/>
          </a:p>
        </p:txBody>
      </p:sp>
      <p:sp>
        <p:nvSpPr>
          <p:cNvPr id="54" name="Text Placeholder 35">
            <a:extLst>
              <a:ext uri="{FF2B5EF4-FFF2-40B4-BE49-F238E27FC236}">
                <a16:creationId xmlns:a16="http://schemas.microsoft.com/office/drawing/2014/main" id="{E34633BE-224E-A72F-F239-0C634EE285EE}"/>
              </a:ext>
            </a:extLst>
          </p:cNvPr>
          <p:cNvSpPr>
            <a:spLocks noGrp="1"/>
          </p:cNvSpPr>
          <p:nvPr>
            <p:ph type="body" sz="quarter" idx="12" hasCustomPrompt="1"/>
          </p:nvPr>
        </p:nvSpPr>
        <p:spPr>
          <a:xfrm>
            <a:off x="164148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49F3A1C9-22C2-B2DE-5AA8-5E193775CE9B}"/>
              </a:ext>
            </a:extLst>
          </p:cNvPr>
          <p:cNvSpPr>
            <a:spLocks noGrp="1"/>
          </p:cNvSpPr>
          <p:nvPr>
            <p:ph type="body" sz="quarter" idx="13" hasCustomPrompt="1"/>
          </p:nvPr>
        </p:nvSpPr>
        <p:spPr>
          <a:xfrm>
            <a:off x="538671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6" name="Text Placeholder 35">
            <a:extLst>
              <a:ext uri="{FF2B5EF4-FFF2-40B4-BE49-F238E27FC236}">
                <a16:creationId xmlns:a16="http://schemas.microsoft.com/office/drawing/2014/main" id="{995B0996-FC32-A1EC-CBE6-BEA248773126}"/>
              </a:ext>
            </a:extLst>
          </p:cNvPr>
          <p:cNvSpPr>
            <a:spLocks noGrp="1"/>
          </p:cNvSpPr>
          <p:nvPr>
            <p:ph type="body" sz="quarter" idx="14" hasCustomPrompt="1"/>
          </p:nvPr>
        </p:nvSpPr>
        <p:spPr>
          <a:xfrm>
            <a:off x="9118761"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68EB6933-83C2-D087-6432-D84B3201DF9B}"/>
              </a:ext>
            </a:extLst>
          </p:cNvPr>
          <p:cNvSpPr>
            <a:spLocks noGrp="1"/>
          </p:cNvSpPr>
          <p:nvPr>
            <p:ph type="body" sz="quarter" idx="15" hasCustomPrompt="1"/>
          </p:nvPr>
        </p:nvSpPr>
        <p:spPr>
          <a:xfrm>
            <a:off x="771076"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Picture Placeholder 58">
            <a:extLst>
              <a:ext uri="{FF2B5EF4-FFF2-40B4-BE49-F238E27FC236}">
                <a16:creationId xmlns:a16="http://schemas.microsoft.com/office/drawing/2014/main" id="{4C88004B-4EC7-740D-8C2D-140D0E7D1B04}"/>
              </a:ext>
            </a:extLst>
          </p:cNvPr>
          <p:cNvSpPr>
            <a:spLocks noGrp="1"/>
          </p:cNvSpPr>
          <p:nvPr>
            <p:ph type="pic" sz="quarter" idx="22"/>
          </p:nvPr>
        </p:nvSpPr>
        <p:spPr>
          <a:xfrm>
            <a:off x="69668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8" name="Text Placeholder 35">
            <a:extLst>
              <a:ext uri="{FF2B5EF4-FFF2-40B4-BE49-F238E27FC236}">
                <a16:creationId xmlns:a16="http://schemas.microsoft.com/office/drawing/2014/main" id="{849E8E7A-D29B-1E43-3C96-A12DBA895B91}"/>
              </a:ext>
            </a:extLst>
          </p:cNvPr>
          <p:cNvSpPr>
            <a:spLocks noGrp="1"/>
          </p:cNvSpPr>
          <p:nvPr>
            <p:ph type="body" sz="quarter" idx="16" hasCustomPrompt="1"/>
          </p:nvPr>
        </p:nvSpPr>
        <p:spPr>
          <a:xfrm>
            <a:off x="2933368"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Picture Placeholder 58">
            <a:extLst>
              <a:ext uri="{FF2B5EF4-FFF2-40B4-BE49-F238E27FC236}">
                <a16:creationId xmlns:a16="http://schemas.microsoft.com/office/drawing/2014/main" id="{72BD3D90-2C7C-1912-52A9-4D2346AC40F5}"/>
              </a:ext>
            </a:extLst>
          </p:cNvPr>
          <p:cNvSpPr>
            <a:spLocks noGrp="1"/>
          </p:cNvSpPr>
          <p:nvPr>
            <p:ph type="pic" sz="quarter" idx="23"/>
          </p:nvPr>
        </p:nvSpPr>
        <p:spPr>
          <a:xfrm>
            <a:off x="287700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9" name="Text Placeholder 35">
            <a:extLst>
              <a:ext uri="{FF2B5EF4-FFF2-40B4-BE49-F238E27FC236}">
                <a16:creationId xmlns:a16="http://schemas.microsoft.com/office/drawing/2014/main" id="{D05BB2D3-BFFF-95C2-C09E-A27396254C32}"/>
              </a:ext>
            </a:extLst>
          </p:cNvPr>
          <p:cNvSpPr>
            <a:spLocks noGrp="1"/>
          </p:cNvSpPr>
          <p:nvPr>
            <p:ph type="body" sz="quarter" idx="17" hasCustomPrompt="1"/>
          </p:nvPr>
        </p:nvSpPr>
        <p:spPr>
          <a:xfrm>
            <a:off x="5113689"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Picture Placeholder 58">
            <a:extLst>
              <a:ext uri="{FF2B5EF4-FFF2-40B4-BE49-F238E27FC236}">
                <a16:creationId xmlns:a16="http://schemas.microsoft.com/office/drawing/2014/main" id="{742863C8-B87E-BF0D-5D42-CF54BA5D7BDE}"/>
              </a:ext>
            </a:extLst>
          </p:cNvPr>
          <p:cNvSpPr>
            <a:spLocks noGrp="1"/>
          </p:cNvSpPr>
          <p:nvPr>
            <p:ph type="pic" sz="quarter" idx="24"/>
          </p:nvPr>
        </p:nvSpPr>
        <p:spPr>
          <a:xfrm>
            <a:off x="505732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60" name="Text Placeholder 35">
            <a:extLst>
              <a:ext uri="{FF2B5EF4-FFF2-40B4-BE49-F238E27FC236}">
                <a16:creationId xmlns:a16="http://schemas.microsoft.com/office/drawing/2014/main" id="{AB26DBD1-E856-5F7E-6C2B-256EBA461558}"/>
              </a:ext>
            </a:extLst>
          </p:cNvPr>
          <p:cNvSpPr>
            <a:spLocks noGrp="1"/>
          </p:cNvSpPr>
          <p:nvPr>
            <p:ph type="body" sz="quarter" idx="18" hasCustomPrompt="1"/>
          </p:nvPr>
        </p:nvSpPr>
        <p:spPr>
          <a:xfrm>
            <a:off x="7294010"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Picture Placeholder 58">
            <a:extLst>
              <a:ext uri="{FF2B5EF4-FFF2-40B4-BE49-F238E27FC236}">
                <a16:creationId xmlns:a16="http://schemas.microsoft.com/office/drawing/2014/main" id="{F286992A-0F07-B711-9722-DCCAADF1BACD}"/>
              </a:ext>
            </a:extLst>
          </p:cNvPr>
          <p:cNvSpPr>
            <a:spLocks noGrp="1"/>
          </p:cNvSpPr>
          <p:nvPr>
            <p:ph type="pic" sz="quarter" idx="25"/>
          </p:nvPr>
        </p:nvSpPr>
        <p:spPr>
          <a:xfrm>
            <a:off x="723764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61" name="Text Placeholder 35">
            <a:extLst>
              <a:ext uri="{FF2B5EF4-FFF2-40B4-BE49-F238E27FC236}">
                <a16:creationId xmlns:a16="http://schemas.microsoft.com/office/drawing/2014/main" id="{72896304-514A-6583-CA35-6C2976176F61}"/>
              </a:ext>
            </a:extLst>
          </p:cNvPr>
          <p:cNvSpPr>
            <a:spLocks noGrp="1"/>
          </p:cNvSpPr>
          <p:nvPr>
            <p:ph type="body" sz="quarter" idx="19" hasCustomPrompt="1"/>
          </p:nvPr>
        </p:nvSpPr>
        <p:spPr>
          <a:xfrm>
            <a:off x="9474331"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Picture Placeholder 58">
            <a:extLst>
              <a:ext uri="{FF2B5EF4-FFF2-40B4-BE49-F238E27FC236}">
                <a16:creationId xmlns:a16="http://schemas.microsoft.com/office/drawing/2014/main" id="{4351E2C5-0A1E-AD03-4951-DA42278DFA83}"/>
              </a:ext>
            </a:extLst>
          </p:cNvPr>
          <p:cNvSpPr>
            <a:spLocks noGrp="1"/>
          </p:cNvSpPr>
          <p:nvPr>
            <p:ph type="pic" sz="quarter" idx="26"/>
          </p:nvPr>
        </p:nvSpPr>
        <p:spPr>
          <a:xfrm>
            <a:off x="941796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701322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hree bullet with side 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B0B5F1-F31C-F9E9-80AF-890052B13993}"/>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Freeform: Shape 10">
            <a:extLst>
              <a:ext uri="{FF2B5EF4-FFF2-40B4-BE49-F238E27FC236}">
                <a16:creationId xmlns:a16="http://schemas.microsoft.com/office/drawing/2014/main" id="{1BAC0645-0107-A4C8-BCF7-63440327E30D}"/>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endParaRPr lang="en-US"/>
          </a:p>
        </p:txBody>
      </p:sp>
      <p:pic>
        <p:nvPicPr>
          <p:cNvPr id="12" name="Picture 11">
            <a:extLst>
              <a:ext uri="{FF2B5EF4-FFF2-40B4-BE49-F238E27FC236}">
                <a16:creationId xmlns:a16="http://schemas.microsoft.com/office/drawing/2014/main" id="{24B7F621-0D69-9573-86B9-016B5495FD42}"/>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525000" y="0"/>
            <a:ext cx="2666996"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3" name="Rectangle 12">
            <a:extLst>
              <a:ext uri="{FF2B5EF4-FFF2-40B4-BE49-F238E27FC236}">
                <a16:creationId xmlns:a16="http://schemas.microsoft.com/office/drawing/2014/main" id="{686E8C9A-7CBD-7463-32E0-C4FACE3E8090}"/>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ACB8128C-4C58-63C6-D872-2F46CF45BFC7}"/>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16" name="Text Placeholder 35">
            <a:extLst>
              <a:ext uri="{FF2B5EF4-FFF2-40B4-BE49-F238E27FC236}">
                <a16:creationId xmlns:a16="http://schemas.microsoft.com/office/drawing/2014/main" id="{D74C5348-6FC8-3EFF-E8AF-A1D239638694}"/>
              </a:ext>
            </a:extLst>
          </p:cNvPr>
          <p:cNvSpPr>
            <a:spLocks noGrp="1"/>
          </p:cNvSpPr>
          <p:nvPr>
            <p:ph type="body" sz="quarter" idx="15" hasCustomPrompt="1"/>
          </p:nvPr>
        </p:nvSpPr>
        <p:spPr>
          <a:xfrm>
            <a:off x="588263" y="1627779"/>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F831F155-8A54-997C-765C-6C941063424C}"/>
              </a:ext>
            </a:extLst>
          </p:cNvPr>
          <p:cNvSpPr>
            <a:spLocks noGrp="1"/>
          </p:cNvSpPr>
          <p:nvPr>
            <p:ph type="body" sz="quarter" idx="12" hasCustomPrompt="1"/>
          </p:nvPr>
        </p:nvSpPr>
        <p:spPr>
          <a:xfrm>
            <a:off x="588263" y="2019300"/>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99944FF2-8C97-F1BC-7706-197F77E0B3D3}"/>
              </a:ext>
            </a:extLst>
          </p:cNvPr>
          <p:cNvSpPr>
            <a:spLocks noGrp="1"/>
          </p:cNvSpPr>
          <p:nvPr>
            <p:ph type="body" sz="quarter" idx="16" hasCustomPrompt="1"/>
          </p:nvPr>
        </p:nvSpPr>
        <p:spPr>
          <a:xfrm>
            <a:off x="588263" y="311280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D33202B1-1C25-8E67-3E77-11CA92796DFD}"/>
              </a:ext>
            </a:extLst>
          </p:cNvPr>
          <p:cNvSpPr>
            <a:spLocks noGrp="1"/>
          </p:cNvSpPr>
          <p:nvPr>
            <p:ph type="body" sz="quarter" idx="17" hasCustomPrompt="1"/>
          </p:nvPr>
        </p:nvSpPr>
        <p:spPr>
          <a:xfrm>
            <a:off x="588263" y="350432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ED2C738B-7A76-46D4-3EE8-9C6016D0767A}"/>
              </a:ext>
            </a:extLst>
          </p:cNvPr>
          <p:cNvSpPr>
            <a:spLocks noGrp="1"/>
          </p:cNvSpPr>
          <p:nvPr>
            <p:ph type="body" sz="quarter" idx="18" hasCustomPrompt="1"/>
          </p:nvPr>
        </p:nvSpPr>
        <p:spPr>
          <a:xfrm>
            <a:off x="588263" y="468779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Text Placeholder 35">
            <a:extLst>
              <a:ext uri="{FF2B5EF4-FFF2-40B4-BE49-F238E27FC236}">
                <a16:creationId xmlns:a16="http://schemas.microsoft.com/office/drawing/2014/main" id="{3638A435-C89A-684B-103C-D6E19D5B2C6C}"/>
              </a:ext>
            </a:extLst>
          </p:cNvPr>
          <p:cNvSpPr>
            <a:spLocks noGrp="1"/>
          </p:cNvSpPr>
          <p:nvPr>
            <p:ph type="body" sz="quarter" idx="19" hasCustomPrompt="1"/>
          </p:nvPr>
        </p:nvSpPr>
        <p:spPr>
          <a:xfrm>
            <a:off x="588263" y="507931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F4E70418-56F2-1389-58B8-C8C96D2D6AE8}"/>
              </a:ext>
            </a:extLst>
          </p:cNvPr>
          <p:cNvSpPr>
            <a:spLocks noGrp="1"/>
          </p:cNvSpPr>
          <p:nvPr>
            <p:ph type="pic" sz="quarter" idx="22"/>
          </p:nvPr>
        </p:nvSpPr>
        <p:spPr>
          <a:xfrm>
            <a:off x="6657973" y="1468397"/>
            <a:ext cx="5240337" cy="4809290"/>
          </a:xfrm>
          <a:prstGeom prst="roundRect">
            <a:avLst>
              <a:gd name="adj" fmla="val 4509"/>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0043370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Dark)">
    <p:bg>
      <p:bgPr>
        <a:solidFill>
          <a:schemeClr val="accent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01359B-E403-0E00-AD0D-6B4E8BEB1E42}"/>
              </a:ext>
              <a:ext uri="{C183D7F6-B498-43B3-948B-1728B52AA6E4}">
                <adec:decorative xmlns:adec="http://schemas.microsoft.com/office/drawing/2017/decorative" val="1"/>
              </a:ext>
            </a:extLst>
          </p:cNvPr>
          <p:cNvSpPr>
            <a:spLocks/>
          </p:cNvSpPr>
          <p:nvPr userDrawn="1"/>
        </p:nvSpPr>
        <p:spPr bwMode="auto">
          <a:xfrm>
            <a:off x="0" y="0"/>
            <a:ext cx="12193057" cy="5206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DA8D1C8B-F9D1-306F-FFB7-FF567E1D1684}"/>
              </a:ext>
              <a:ext uri="{C183D7F6-B498-43B3-948B-1728B52AA6E4}">
                <adec:decorative xmlns:adec="http://schemas.microsoft.com/office/drawing/2017/decorative" val="1"/>
              </a:ext>
            </a:extLst>
          </p:cNvPr>
          <p:cNvGrpSpPr/>
          <p:nvPr userDrawn="1"/>
        </p:nvGrpSpPr>
        <p:grpSpPr>
          <a:xfrm>
            <a:off x="0" y="5206998"/>
            <a:ext cx="12193057" cy="1651001"/>
            <a:chOff x="0" y="5206998"/>
            <a:chExt cx="12193057" cy="1651001"/>
          </a:xfrm>
        </p:grpSpPr>
        <p:sp>
          <p:nvSpPr>
            <p:cNvPr id="5" name="Rectangle 4">
              <a:extLst>
                <a:ext uri="{FF2B5EF4-FFF2-40B4-BE49-F238E27FC236}">
                  <a16:creationId xmlns:a16="http://schemas.microsoft.com/office/drawing/2014/main" id="{0984C745-5F92-4EA2-4135-B0F15BCC833E}"/>
                </a:ext>
              </a:extLst>
            </p:cNvPr>
            <p:cNvSpPr>
              <a:spLocks/>
            </p:cNvSpPr>
            <p:nvPr userDrawn="1"/>
          </p:nvSpPr>
          <p:spPr bwMode="auto">
            <a:xfrm>
              <a:off x="0" y="5206998"/>
              <a:ext cx="12193057" cy="1651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09573FE9-4926-EB61-7182-AE960842A946}"/>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5206998"/>
              <a:ext cx="12193057" cy="1651001"/>
            </a:xfrm>
            <a:prstGeom prst="rect">
              <a:avLst/>
            </a:prstGeom>
          </p:spPr>
        </p:pic>
      </p:grpSp>
      <p:pic>
        <p:nvPicPr>
          <p:cNvPr id="3" name="Picture 2">
            <a:extLst>
              <a:ext uri="{FF2B5EF4-FFF2-40B4-BE49-F238E27FC236}">
                <a16:creationId xmlns:a16="http://schemas.microsoft.com/office/drawing/2014/main" id="{FB186371-BAE1-6D51-69D4-21749D738F3C}"/>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a:xfrm>
            <a:off x="0" y="0"/>
            <a:ext cx="12193057" cy="5206999"/>
          </a:xfrm>
          <a:prstGeom prst="rect">
            <a:avLst/>
          </a:prstGeom>
        </p:spPr>
      </p:pic>
      <p:sp>
        <p:nvSpPr>
          <p:cNvPr id="6" name="Rectangle: Rounded Corners 5">
            <a:extLst>
              <a:ext uri="{FF2B5EF4-FFF2-40B4-BE49-F238E27FC236}">
                <a16:creationId xmlns:a16="http://schemas.microsoft.com/office/drawing/2014/main" id="{82E7CB1C-B4FB-E4E8-378D-89A822B9992A}"/>
              </a:ext>
              <a:ext uri="{C183D7F6-B498-43B3-948B-1728B52AA6E4}">
                <adec:decorative xmlns:adec="http://schemas.microsoft.com/office/drawing/2017/decorative" val="1"/>
              </a:ext>
            </a:extLst>
          </p:cNvPr>
          <p:cNvSpPr/>
          <p:nvPr userDrawn="1"/>
        </p:nvSpPr>
        <p:spPr bwMode="auto">
          <a:xfrm>
            <a:off x="428172" y="1651000"/>
            <a:ext cx="11335657" cy="3675743"/>
          </a:xfrm>
          <a:prstGeom prst="roundRect">
            <a:avLst>
              <a:gd name="adj" fmla="val 580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cxnSp>
        <p:nvCxnSpPr>
          <p:cNvPr id="16" name="Straight Connector 15">
            <a:extLst>
              <a:ext uri="{FF2B5EF4-FFF2-40B4-BE49-F238E27FC236}">
                <a16:creationId xmlns:a16="http://schemas.microsoft.com/office/drawing/2014/main" id="{6B758B3C-1829-BE77-9545-B88BC2FFAB93}"/>
              </a:ext>
              <a:ext uri="{C183D7F6-B498-43B3-948B-1728B52AA6E4}">
                <adec:decorative xmlns:adec="http://schemas.microsoft.com/office/drawing/2017/decorative" val="1"/>
              </a:ext>
            </a:extLst>
          </p:cNvPr>
          <p:cNvCxnSpPr>
            <a:cxnSpLocks/>
          </p:cNvCxnSpPr>
          <p:nvPr userDrawn="1"/>
        </p:nvCxnSpPr>
        <p:spPr>
          <a:xfrm>
            <a:off x="4349093"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5C3D50D-B71F-4921-0DE3-AE51025E2B13}"/>
              </a:ext>
              <a:ext uri="{C183D7F6-B498-43B3-948B-1728B52AA6E4}">
                <adec:decorative xmlns:adec="http://schemas.microsoft.com/office/drawing/2017/decorative" val="1"/>
              </a:ext>
            </a:extLst>
          </p:cNvPr>
          <p:cNvCxnSpPr>
            <a:cxnSpLocks/>
          </p:cNvCxnSpPr>
          <p:nvPr userDrawn="1"/>
        </p:nvCxnSpPr>
        <p:spPr>
          <a:xfrm>
            <a:off x="8118804"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7BA22FD-1A48-E027-B0B1-4B64501E8084}"/>
              </a:ext>
              <a:ext uri="{C183D7F6-B498-43B3-948B-1728B52AA6E4}">
                <adec:decorative xmlns:adec="http://schemas.microsoft.com/office/drawing/2017/decorative" val="1"/>
              </a:ext>
            </a:extLst>
          </p:cNvPr>
          <p:cNvCxnSpPr>
            <a:cxnSpLocks/>
          </p:cNvCxnSpPr>
          <p:nvPr userDrawn="1"/>
        </p:nvCxnSpPr>
        <p:spPr>
          <a:xfrm>
            <a:off x="8608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82A4300-F4F0-DFCE-B1E6-1D2AD3B36CAF}"/>
              </a:ext>
              <a:ext uri="{C183D7F6-B498-43B3-948B-1728B52AA6E4}">
                <adec:decorative xmlns:adec="http://schemas.microsoft.com/office/drawing/2017/decorative" val="1"/>
              </a:ext>
            </a:extLst>
          </p:cNvPr>
          <p:cNvCxnSpPr>
            <a:cxnSpLocks/>
          </p:cNvCxnSpPr>
          <p:nvPr userDrawn="1"/>
        </p:nvCxnSpPr>
        <p:spPr>
          <a:xfrm>
            <a:off x="45692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D003B42-9A0A-1450-892F-DF949CF79D89}"/>
              </a:ext>
              <a:ext uri="{C183D7F6-B498-43B3-948B-1728B52AA6E4}">
                <adec:decorative xmlns:adec="http://schemas.microsoft.com/office/drawing/2017/decorative" val="1"/>
              </a:ext>
            </a:extLst>
          </p:cNvPr>
          <p:cNvCxnSpPr>
            <a:cxnSpLocks/>
          </p:cNvCxnSpPr>
          <p:nvPr userDrawn="1"/>
        </p:nvCxnSpPr>
        <p:spPr>
          <a:xfrm>
            <a:off x="8400284"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14D1A6-65FD-4FC0-50F3-CC806A0008EC}"/>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6" name="Text Placeholder 35">
            <a:extLst>
              <a:ext uri="{FF2B5EF4-FFF2-40B4-BE49-F238E27FC236}">
                <a16:creationId xmlns:a16="http://schemas.microsoft.com/office/drawing/2014/main" id="{A56BEE2C-AF3F-131B-1DF8-079AACAA8A02}"/>
              </a:ext>
            </a:extLst>
          </p:cNvPr>
          <p:cNvSpPr>
            <a:spLocks noGrp="1"/>
          </p:cNvSpPr>
          <p:nvPr userDrawn="1">
            <p:ph type="body" sz="quarter" idx="11" hasCustomPrompt="1"/>
          </p:nvPr>
        </p:nvSpPr>
        <p:spPr>
          <a:xfrm>
            <a:off x="86086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37" name="Text Placeholder 35">
            <a:extLst>
              <a:ext uri="{FF2B5EF4-FFF2-40B4-BE49-F238E27FC236}">
                <a16:creationId xmlns:a16="http://schemas.microsoft.com/office/drawing/2014/main" id="{1964EA81-1C7A-2ED9-DB53-C865D86AC1BC}"/>
              </a:ext>
            </a:extLst>
          </p:cNvPr>
          <p:cNvSpPr>
            <a:spLocks noGrp="1"/>
          </p:cNvSpPr>
          <p:nvPr userDrawn="1">
            <p:ph type="body" sz="quarter" idx="12" hasCustomPrompt="1"/>
          </p:nvPr>
        </p:nvSpPr>
        <p:spPr>
          <a:xfrm>
            <a:off x="86086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5E38D344-A9EC-9BCB-768E-A0A73E9EBBBB}"/>
              </a:ext>
            </a:extLst>
          </p:cNvPr>
          <p:cNvSpPr>
            <a:spLocks noGrp="1"/>
          </p:cNvSpPr>
          <p:nvPr userDrawn="1">
            <p:ph type="body" sz="quarter" idx="13" hasCustomPrompt="1"/>
          </p:nvPr>
        </p:nvSpPr>
        <p:spPr>
          <a:xfrm>
            <a:off x="86086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3A46EB84-3018-3846-CDDB-80AA2E4F85FD}"/>
              </a:ext>
            </a:extLst>
          </p:cNvPr>
          <p:cNvSpPr>
            <a:spLocks noGrp="1"/>
          </p:cNvSpPr>
          <p:nvPr userDrawn="1">
            <p:ph type="body" sz="quarter" idx="14" hasCustomPrompt="1"/>
          </p:nvPr>
        </p:nvSpPr>
        <p:spPr>
          <a:xfrm>
            <a:off x="4630575"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0" name="Text Placeholder 35">
            <a:extLst>
              <a:ext uri="{FF2B5EF4-FFF2-40B4-BE49-F238E27FC236}">
                <a16:creationId xmlns:a16="http://schemas.microsoft.com/office/drawing/2014/main" id="{29F0A165-9B48-DA60-8072-FC27B3108E02}"/>
              </a:ext>
            </a:extLst>
          </p:cNvPr>
          <p:cNvSpPr>
            <a:spLocks noGrp="1"/>
          </p:cNvSpPr>
          <p:nvPr userDrawn="1">
            <p:ph type="body" sz="quarter" idx="15" hasCustomPrompt="1"/>
          </p:nvPr>
        </p:nvSpPr>
        <p:spPr>
          <a:xfrm>
            <a:off x="462717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0AD6BF66-E9DF-9CA2-8448-6A5D5B3E2136}"/>
              </a:ext>
            </a:extLst>
          </p:cNvPr>
          <p:cNvSpPr>
            <a:spLocks noGrp="1"/>
          </p:cNvSpPr>
          <p:nvPr userDrawn="1">
            <p:ph type="body" sz="quarter" idx="16" hasCustomPrompt="1"/>
          </p:nvPr>
        </p:nvSpPr>
        <p:spPr>
          <a:xfrm>
            <a:off x="462717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EBE6F56B-5482-0EF8-5CAD-EC491617C336}"/>
              </a:ext>
            </a:extLst>
          </p:cNvPr>
          <p:cNvSpPr>
            <a:spLocks noGrp="1"/>
          </p:cNvSpPr>
          <p:nvPr userDrawn="1">
            <p:ph type="body" sz="quarter" idx="17" hasCustomPrompt="1"/>
          </p:nvPr>
        </p:nvSpPr>
        <p:spPr>
          <a:xfrm>
            <a:off x="840028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3" name="Text Placeholder 35">
            <a:extLst>
              <a:ext uri="{FF2B5EF4-FFF2-40B4-BE49-F238E27FC236}">
                <a16:creationId xmlns:a16="http://schemas.microsoft.com/office/drawing/2014/main" id="{6892F850-996D-DE0C-236D-F98626083368}"/>
              </a:ext>
            </a:extLst>
          </p:cNvPr>
          <p:cNvSpPr>
            <a:spLocks noGrp="1"/>
          </p:cNvSpPr>
          <p:nvPr userDrawn="1">
            <p:ph type="body" sz="quarter" idx="18" hasCustomPrompt="1"/>
          </p:nvPr>
        </p:nvSpPr>
        <p:spPr>
          <a:xfrm>
            <a:off x="840028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362F6C8C-3156-2EB4-7BB7-116F26EA5523}"/>
              </a:ext>
            </a:extLst>
          </p:cNvPr>
          <p:cNvSpPr>
            <a:spLocks noGrp="1"/>
          </p:cNvSpPr>
          <p:nvPr userDrawn="1">
            <p:ph type="body" sz="quarter" idx="19" hasCustomPrompt="1"/>
          </p:nvPr>
        </p:nvSpPr>
        <p:spPr>
          <a:xfrm>
            <a:off x="840028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75928389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AB4D7D-65A4-AB17-DDD9-EB769792B8E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Rounded Corners 1">
            <a:extLst>
              <a:ext uri="{FF2B5EF4-FFF2-40B4-BE49-F238E27FC236}">
                <a16:creationId xmlns:a16="http://schemas.microsoft.com/office/drawing/2014/main" id="{BEE69CFD-242E-FE6F-BCBE-F8F384C101B7}"/>
              </a:ext>
              <a:ext uri="{C183D7F6-B498-43B3-948B-1728B52AA6E4}">
                <adec:decorative xmlns:adec="http://schemas.microsoft.com/office/drawing/2017/decorative" val="1"/>
              </a:ext>
            </a:extLst>
          </p:cNvPr>
          <p:cNvSpPr>
            <a:spLocks/>
          </p:cNvSpPr>
          <p:nvPr userDrawn="1"/>
        </p:nvSpPr>
        <p:spPr bwMode="auto">
          <a:xfrm>
            <a:off x="317500" y="1468398"/>
            <a:ext cx="6046788" cy="4809290"/>
          </a:xfrm>
          <a:prstGeom prst="roundRect">
            <a:avLst>
              <a:gd name="adj" fmla="val 4857"/>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11" name="Freeform: Shape 10">
            <a:extLst>
              <a:ext uri="{FF2B5EF4-FFF2-40B4-BE49-F238E27FC236}">
                <a16:creationId xmlns:a16="http://schemas.microsoft.com/office/drawing/2014/main" id="{1BAC0645-0107-A4C8-BCF7-63440327E30D}"/>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endParaRPr lang="en-US"/>
          </a:p>
        </p:txBody>
      </p:sp>
      <p:pic>
        <p:nvPicPr>
          <p:cNvPr id="12" name="Picture 11">
            <a:extLst>
              <a:ext uri="{FF2B5EF4-FFF2-40B4-BE49-F238E27FC236}">
                <a16:creationId xmlns:a16="http://schemas.microsoft.com/office/drawing/2014/main" id="{24B7F621-0D69-9573-86B9-016B5495FD42}"/>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525000" y="0"/>
            <a:ext cx="2666996"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3" name="Rectangle 12">
            <a:extLst>
              <a:ext uri="{FF2B5EF4-FFF2-40B4-BE49-F238E27FC236}">
                <a16:creationId xmlns:a16="http://schemas.microsoft.com/office/drawing/2014/main" id="{686E8C9A-7CBD-7463-32E0-C4FACE3E8090}"/>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ACB8128C-4C58-63C6-D872-2F46CF45BFC7}"/>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17" name="Text Placeholder 35">
            <a:extLst>
              <a:ext uri="{FF2B5EF4-FFF2-40B4-BE49-F238E27FC236}">
                <a16:creationId xmlns:a16="http://schemas.microsoft.com/office/drawing/2014/main" id="{F831F155-8A54-997C-765C-6C941063424C}"/>
              </a:ext>
            </a:extLst>
          </p:cNvPr>
          <p:cNvSpPr>
            <a:spLocks noGrp="1"/>
          </p:cNvSpPr>
          <p:nvPr>
            <p:ph type="body" sz="quarter" idx="12" hasCustomPrompt="1"/>
          </p:nvPr>
        </p:nvSpPr>
        <p:spPr>
          <a:xfrm>
            <a:off x="317500" y="1468398"/>
            <a:ext cx="6046788" cy="4809290"/>
          </a:xfrm>
          <a:noFill/>
        </p:spPr>
        <p:txBody>
          <a:bodyPr wrap="square" lIns="274320" tIns="182880" rIns="182880" bIns="18288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F4E70418-56F2-1389-58B8-C8C96D2D6AE8}"/>
              </a:ext>
            </a:extLst>
          </p:cNvPr>
          <p:cNvSpPr>
            <a:spLocks noGrp="1"/>
          </p:cNvSpPr>
          <p:nvPr>
            <p:ph type="pic" sz="quarter" idx="22"/>
          </p:nvPr>
        </p:nvSpPr>
        <p:spPr>
          <a:xfrm>
            <a:off x="6657973" y="1468397"/>
            <a:ext cx="5240337" cy="4809290"/>
          </a:xfrm>
          <a:prstGeom prst="roundRect">
            <a:avLst>
              <a:gd name="adj" fmla="val 4500"/>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4134124613"/>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2E9FAC-E1D7-D921-15C5-61E0CA439BC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3" name="Freeform: Shape 22">
            <a:extLst>
              <a:ext uri="{FF2B5EF4-FFF2-40B4-BE49-F238E27FC236}">
                <a16:creationId xmlns:a16="http://schemas.microsoft.com/office/drawing/2014/main" id="{494D97B2-1007-C5D5-B393-9B8186177AB9}"/>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24" name="Picture 23">
            <a:extLst>
              <a:ext uri="{FF2B5EF4-FFF2-40B4-BE49-F238E27FC236}">
                <a16:creationId xmlns:a16="http://schemas.microsoft.com/office/drawing/2014/main" id="{F5600BEF-15E9-5162-4372-83010EFA060B}"/>
              </a:ext>
              <a:ext uri="{C183D7F6-B498-43B3-948B-1728B52AA6E4}">
                <adec:decorative xmlns:adec="http://schemas.microsoft.com/office/drawing/2017/decorative" val="1"/>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065588" y="-1"/>
            <a:ext cx="8126412" cy="6858000"/>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26" name="Rectangle 25">
            <a:extLst>
              <a:ext uri="{FF2B5EF4-FFF2-40B4-BE49-F238E27FC236}">
                <a16:creationId xmlns:a16="http://schemas.microsoft.com/office/drawing/2014/main" id="{299BA954-27AF-925D-0E7A-F271823E8353}"/>
              </a:ext>
              <a:ext uri="{C183D7F6-B498-43B3-948B-1728B52AA6E4}">
                <adec:decorative xmlns:adec="http://schemas.microsoft.com/office/drawing/2017/decorative" val="1"/>
              </a:ext>
            </a:extLst>
          </p:cNvPr>
          <p:cNvSpPr/>
          <p:nvPr userDrawn="1"/>
        </p:nvSpPr>
        <p:spPr bwMode="auto">
          <a:xfrm>
            <a:off x="4065588"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28" name="Title 1">
            <a:extLst>
              <a:ext uri="{FF2B5EF4-FFF2-40B4-BE49-F238E27FC236}">
                <a16:creationId xmlns:a16="http://schemas.microsoft.com/office/drawing/2014/main" id="{491A6DFF-FD42-7E43-7445-184485979843}"/>
              </a:ext>
            </a:extLst>
          </p:cNvPr>
          <p:cNvSpPr>
            <a:spLocks noGrp="1"/>
          </p:cNvSpPr>
          <p:nvPr>
            <p:ph type="title" hasCustomPrompt="1"/>
          </p:nvPr>
        </p:nvSpPr>
        <p:spPr>
          <a:xfrm>
            <a:off x="588263" y="457200"/>
            <a:ext cx="322173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Video slide</a:t>
            </a:r>
            <a:endParaRPr lang="en-IN"/>
          </a:p>
        </p:txBody>
      </p:sp>
      <p:sp>
        <p:nvSpPr>
          <p:cNvPr id="30" name="Text Placeholder 35">
            <a:extLst>
              <a:ext uri="{FF2B5EF4-FFF2-40B4-BE49-F238E27FC236}">
                <a16:creationId xmlns:a16="http://schemas.microsoft.com/office/drawing/2014/main" id="{BC4EF549-2870-2555-53D0-BF46972086F9}"/>
              </a:ext>
            </a:extLst>
          </p:cNvPr>
          <p:cNvSpPr>
            <a:spLocks noGrp="1"/>
          </p:cNvSpPr>
          <p:nvPr>
            <p:ph type="body" sz="quarter" idx="15" hasCustomPrompt="1"/>
          </p:nvPr>
        </p:nvSpPr>
        <p:spPr>
          <a:xfrm>
            <a:off x="588263" y="1525877"/>
            <a:ext cx="3031237" cy="399787"/>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 name="Text Placeholder 35">
            <a:extLst>
              <a:ext uri="{FF2B5EF4-FFF2-40B4-BE49-F238E27FC236}">
                <a16:creationId xmlns:a16="http://schemas.microsoft.com/office/drawing/2014/main" id="{8DB6B0F4-2AF9-4C00-5187-6B22DFA57B60}"/>
              </a:ext>
            </a:extLst>
          </p:cNvPr>
          <p:cNvSpPr>
            <a:spLocks noGrp="1"/>
          </p:cNvSpPr>
          <p:nvPr>
            <p:ph type="body" sz="quarter" idx="16" hasCustomPrompt="1"/>
          </p:nvPr>
        </p:nvSpPr>
        <p:spPr>
          <a:xfrm>
            <a:off x="588263" y="2162629"/>
            <a:ext cx="3031237" cy="3836894"/>
          </a:xfrm>
          <a:noFill/>
        </p:spPr>
        <p:txBody>
          <a:bodyPr wrap="square" lIns="0" tIns="0" rIns="0" bIns="0" anchor="t">
            <a:noAutofit/>
          </a:bodyPr>
          <a:lstStyle>
            <a:lvl1pPr marL="0" indent="0">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716D0562-5FDC-28F8-6AD3-19811308E4A8}"/>
              </a:ext>
            </a:extLst>
          </p:cNvPr>
          <p:cNvSpPr>
            <a:spLocks noGrp="1"/>
          </p:cNvSpPr>
          <p:nvPr>
            <p:ph type="body" sz="quarter" idx="12" hasCustomPrompt="1"/>
          </p:nvPr>
        </p:nvSpPr>
        <p:spPr>
          <a:xfrm>
            <a:off x="4504976" y="1436689"/>
            <a:ext cx="7098760" cy="341312"/>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Media Placeholder 32">
            <a:extLst>
              <a:ext uri="{FF2B5EF4-FFF2-40B4-BE49-F238E27FC236}">
                <a16:creationId xmlns:a16="http://schemas.microsoft.com/office/drawing/2014/main" id="{410049A0-A8A4-A1C7-E884-9A4CF17A6725}"/>
              </a:ext>
            </a:extLst>
          </p:cNvPr>
          <p:cNvSpPr>
            <a:spLocks noGrp="1"/>
          </p:cNvSpPr>
          <p:nvPr>
            <p:ph type="media" sz="quarter" idx="17" hasCustomPrompt="1"/>
          </p:nvPr>
        </p:nvSpPr>
        <p:spPr>
          <a:xfrm>
            <a:off x="4504976" y="2008188"/>
            <a:ext cx="7098411" cy="3940740"/>
          </a:xfrm>
          <a:prstGeom prst="roundRect">
            <a:avLst>
              <a:gd name="adj" fmla="val 4582"/>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54000" sx="102000" sy="102000" algn="ctr" rotWithShape="0">
              <a:prstClr val="black">
                <a:alpha val="8000"/>
              </a:prstClr>
            </a:outerShdw>
          </a:effectLst>
        </p:spPr>
        <p:txBody>
          <a:bodyPr vert="horz" wrap="square" lIns="0" tIns="0" rIns="0" bIns="640080" rtlCol="0" anchor="ctr">
            <a:noAutofit/>
          </a:bodyPr>
          <a:lstStyle>
            <a:lvl1pPr marL="0" indent="0" algn="ctr">
              <a:buNone/>
              <a:defRPr lang="en-IN" sz="2000"/>
            </a:lvl1pPr>
          </a:lstStyle>
          <a:p>
            <a:pPr marL="228600" lvl="0" indent="-228600" algn="ctr"/>
            <a:r>
              <a:rPr lang="en-IN"/>
              <a:t>Media</a:t>
            </a:r>
          </a:p>
        </p:txBody>
      </p:sp>
    </p:spTree>
    <p:extLst>
      <p:ext uri="{BB962C8B-B14F-4D97-AF65-F5344CB8AC3E}">
        <p14:creationId xmlns:p14="http://schemas.microsoft.com/office/powerpoint/2010/main" val="3808028293"/>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wo Column with Sub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66CEBB-0EF7-1DE3-AB23-DBA737BCC055}"/>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D0FEECA9-E998-6F6E-EAE8-F8BA326C1EB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7901D06E-03E3-0214-F2A8-E1FCE3D90039}"/>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70D821C9-A2F9-3B92-9B02-2548453BA52D}"/>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DB54C6A2-4730-7576-191C-6F34D9D28658}"/>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1" name="Freeform: Shape 10">
                  <a:extLst>
                    <a:ext uri="{FF2B5EF4-FFF2-40B4-BE49-F238E27FC236}">
                      <a16:creationId xmlns:a16="http://schemas.microsoft.com/office/drawing/2014/main" id="{82021D1A-F48F-0CD3-ECA7-86FCBF1F8C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9" name="Freeform: Shape 8">
                <a:extLst>
                  <a:ext uri="{FF2B5EF4-FFF2-40B4-BE49-F238E27FC236}">
                    <a16:creationId xmlns:a16="http://schemas.microsoft.com/office/drawing/2014/main" id="{38339C3C-2CDB-84C8-B051-4E106EFCC96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31E0433B-1BAD-ABD4-FC43-6285191928B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 name="Rectangle: Rounded Corners 1">
            <a:extLst>
              <a:ext uri="{FF2B5EF4-FFF2-40B4-BE49-F238E27FC236}">
                <a16:creationId xmlns:a16="http://schemas.microsoft.com/office/drawing/2014/main" id="{50F1D4C8-2BD0-D272-D4F8-7DF1015BA6A6}"/>
              </a:ext>
              <a:ext uri="{C183D7F6-B498-43B3-948B-1728B52AA6E4}">
                <adec:decorative xmlns:adec="http://schemas.microsoft.com/office/drawing/2017/decorative" val="1"/>
              </a:ext>
            </a:extLst>
          </p:cNvPr>
          <p:cNvSpPr/>
          <p:nvPr userDrawn="1"/>
        </p:nvSpPr>
        <p:spPr bwMode="auto">
          <a:xfrm>
            <a:off x="6187379" y="2541850"/>
            <a:ext cx="5422009" cy="3198549"/>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5" name="Straight Connector 4">
            <a:extLst>
              <a:ext uri="{FF2B5EF4-FFF2-40B4-BE49-F238E27FC236}">
                <a16:creationId xmlns:a16="http://schemas.microsoft.com/office/drawing/2014/main" id="{043E4208-5F9B-587B-97D0-7D0374C19B94}"/>
              </a:ext>
              <a:ext uri="{C183D7F6-B498-43B3-948B-1728B52AA6E4}">
                <adec:decorative xmlns:adec="http://schemas.microsoft.com/office/drawing/2017/decorative" val="1"/>
              </a:ext>
            </a:extLst>
          </p:cNvPr>
          <p:cNvCxnSpPr>
            <a:cxnSpLocks/>
          </p:cNvCxnSpPr>
          <p:nvPr userDrawn="1"/>
        </p:nvCxnSpPr>
        <p:spPr>
          <a:xfrm>
            <a:off x="6498801" y="254185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B1633E4A-EC5B-28FD-A53F-2CB0C31C79F8}"/>
              </a:ext>
              <a:ext uri="{C183D7F6-B498-43B3-948B-1728B52AA6E4}">
                <adec:decorative xmlns:adec="http://schemas.microsoft.com/office/drawing/2017/decorative" val="1"/>
              </a:ext>
            </a:extLst>
          </p:cNvPr>
          <p:cNvSpPr>
            <a:spLocks/>
          </p:cNvSpPr>
          <p:nvPr userDrawn="1"/>
        </p:nvSpPr>
        <p:spPr bwMode="auto">
          <a:xfrm>
            <a:off x="588263" y="2541850"/>
            <a:ext cx="5422009" cy="3198549"/>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15" name="Straight Connector 14">
            <a:extLst>
              <a:ext uri="{FF2B5EF4-FFF2-40B4-BE49-F238E27FC236}">
                <a16:creationId xmlns:a16="http://schemas.microsoft.com/office/drawing/2014/main" id="{F0E1BC8E-6445-A069-9515-0B6A6A0F6CC0}"/>
              </a:ext>
              <a:ext uri="{C183D7F6-B498-43B3-948B-1728B52AA6E4}">
                <adec:decorative xmlns:adec="http://schemas.microsoft.com/office/drawing/2017/decorative" val="1"/>
              </a:ext>
            </a:extLst>
          </p:cNvPr>
          <p:cNvCxnSpPr>
            <a:cxnSpLocks/>
          </p:cNvCxnSpPr>
          <p:nvPr userDrawn="1"/>
        </p:nvCxnSpPr>
        <p:spPr>
          <a:xfrm>
            <a:off x="891808" y="254185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itle 1">
            <a:extLst>
              <a:ext uri="{FF2B5EF4-FFF2-40B4-BE49-F238E27FC236}">
                <a16:creationId xmlns:a16="http://schemas.microsoft.com/office/drawing/2014/main" id="{4ACE9511-F52F-C8FA-AC9A-3B9853AE68A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7" name="Text Placeholder 35">
            <a:extLst>
              <a:ext uri="{FF2B5EF4-FFF2-40B4-BE49-F238E27FC236}">
                <a16:creationId xmlns:a16="http://schemas.microsoft.com/office/drawing/2014/main" id="{1B8E056B-BD9A-9EF0-1889-538D7BECC108}"/>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4FA88EA3-74D7-8F20-6CF6-1D7ECD77907B}"/>
              </a:ext>
            </a:extLst>
          </p:cNvPr>
          <p:cNvSpPr>
            <a:spLocks noGrp="1"/>
          </p:cNvSpPr>
          <p:nvPr>
            <p:ph type="body" sz="quarter" idx="15" hasCustomPrompt="1"/>
          </p:nvPr>
        </p:nvSpPr>
        <p:spPr>
          <a:xfrm>
            <a:off x="808037"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AC594335-3B13-B806-DFDD-359BB86A058D}"/>
              </a:ext>
            </a:extLst>
          </p:cNvPr>
          <p:cNvSpPr>
            <a:spLocks noGrp="1"/>
          </p:cNvSpPr>
          <p:nvPr>
            <p:ph type="body" sz="quarter" idx="18" hasCustomPrompt="1"/>
          </p:nvPr>
        </p:nvSpPr>
        <p:spPr>
          <a:xfrm>
            <a:off x="808037"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8120E1C-AC93-18FA-B5C2-EFD0079C7625}"/>
              </a:ext>
            </a:extLst>
          </p:cNvPr>
          <p:cNvSpPr>
            <a:spLocks noGrp="1"/>
          </p:cNvSpPr>
          <p:nvPr>
            <p:ph type="body" sz="quarter" idx="19" hasCustomPrompt="1"/>
          </p:nvPr>
        </p:nvSpPr>
        <p:spPr>
          <a:xfrm>
            <a:off x="6415031"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73FD95C-796C-89AE-3D79-365AFA8DBB7B}"/>
              </a:ext>
            </a:extLst>
          </p:cNvPr>
          <p:cNvSpPr>
            <a:spLocks noGrp="1"/>
          </p:cNvSpPr>
          <p:nvPr>
            <p:ph type="body" sz="quarter" idx="20" hasCustomPrompt="1"/>
          </p:nvPr>
        </p:nvSpPr>
        <p:spPr>
          <a:xfrm>
            <a:off x="6415031"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88615935"/>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hree Column with Sub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0430BF-7E23-C210-8D2B-15D5FB42F1A4}"/>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EDB5A052-D12D-AAEA-9759-12D5064CCF8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49E4FA85-93EB-1F5E-EED4-6571CC36CB0E}"/>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A40F52B-146E-3A98-69BA-36CCA718F054}"/>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DB03F167-7496-7E29-C0AA-A66C3FB90E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4" name="Freeform: Shape 23">
                  <a:extLst>
                    <a:ext uri="{FF2B5EF4-FFF2-40B4-BE49-F238E27FC236}">
                      <a16:creationId xmlns:a16="http://schemas.microsoft.com/office/drawing/2014/main" id="{93EAFA13-E04F-5DEE-D774-F741D5A83B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2" name="Freeform: Shape 21">
                <a:extLst>
                  <a:ext uri="{FF2B5EF4-FFF2-40B4-BE49-F238E27FC236}">
                    <a16:creationId xmlns:a16="http://schemas.microsoft.com/office/drawing/2014/main" id="{1C19E257-5A69-88E1-0F4D-B7147EBD2B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15" name="Freeform: Shape 14">
              <a:extLst>
                <a:ext uri="{FF2B5EF4-FFF2-40B4-BE49-F238E27FC236}">
                  <a16:creationId xmlns:a16="http://schemas.microsoft.com/office/drawing/2014/main" id="{7201D9A8-CBC8-42C2-61EB-BA0CEFA8BA0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7" name="Rectangle: Rounded Corners 26">
            <a:extLst>
              <a:ext uri="{FF2B5EF4-FFF2-40B4-BE49-F238E27FC236}">
                <a16:creationId xmlns:a16="http://schemas.microsoft.com/office/drawing/2014/main" id="{C65F0DE8-A097-3207-ACD8-D398CB97192D}"/>
              </a:ext>
              <a:ext uri="{C183D7F6-B498-43B3-948B-1728B52AA6E4}">
                <adec:decorative xmlns:adec="http://schemas.microsoft.com/office/drawing/2017/decorative" val="1"/>
              </a:ext>
            </a:extLst>
          </p:cNvPr>
          <p:cNvSpPr>
            <a:spLocks/>
          </p:cNvSpPr>
          <p:nvPr userDrawn="1"/>
        </p:nvSpPr>
        <p:spPr bwMode="auto">
          <a:xfrm>
            <a:off x="8126412"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30" name="Rectangle: Rounded Corners 29">
            <a:extLst>
              <a:ext uri="{FF2B5EF4-FFF2-40B4-BE49-F238E27FC236}">
                <a16:creationId xmlns:a16="http://schemas.microsoft.com/office/drawing/2014/main" id="{8E74AD7E-C87C-8DC8-3068-5C3AFB0E2782}"/>
              </a:ext>
              <a:ext uri="{C183D7F6-B498-43B3-948B-1728B52AA6E4}">
                <adec:decorative xmlns:adec="http://schemas.microsoft.com/office/drawing/2017/decorative" val="1"/>
              </a:ext>
            </a:extLst>
          </p:cNvPr>
          <p:cNvSpPr>
            <a:spLocks/>
          </p:cNvSpPr>
          <p:nvPr userDrawn="1"/>
        </p:nvSpPr>
        <p:spPr bwMode="auto">
          <a:xfrm>
            <a:off x="4369132"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50" name="Rectangle: Rounded Corners 49">
            <a:extLst>
              <a:ext uri="{FF2B5EF4-FFF2-40B4-BE49-F238E27FC236}">
                <a16:creationId xmlns:a16="http://schemas.microsoft.com/office/drawing/2014/main" id="{15583138-21D4-8B1D-6BB4-BFDA0882BDE2}"/>
              </a:ext>
              <a:ext uri="{C183D7F6-B498-43B3-948B-1728B52AA6E4}">
                <adec:decorative xmlns:adec="http://schemas.microsoft.com/office/drawing/2017/decorative" val="1"/>
              </a:ext>
            </a:extLst>
          </p:cNvPr>
          <p:cNvSpPr>
            <a:spLocks/>
          </p:cNvSpPr>
          <p:nvPr userDrawn="1"/>
        </p:nvSpPr>
        <p:spPr bwMode="auto">
          <a:xfrm>
            <a:off x="588264"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7" name="Straight Connector 6">
            <a:extLst>
              <a:ext uri="{FF2B5EF4-FFF2-40B4-BE49-F238E27FC236}">
                <a16:creationId xmlns:a16="http://schemas.microsoft.com/office/drawing/2014/main" id="{804FC51E-8E3F-C432-5A4D-150A1AF14289}"/>
              </a:ext>
              <a:ext uri="{C183D7F6-B498-43B3-948B-1728B52AA6E4}">
                <adec:decorative xmlns:adec="http://schemas.microsoft.com/office/drawing/2017/decorative" val="1"/>
              </a:ext>
            </a:extLst>
          </p:cNvPr>
          <p:cNvCxnSpPr>
            <a:cxnSpLocks/>
          </p:cNvCxnSpPr>
          <p:nvPr userDrawn="1"/>
        </p:nvCxnSpPr>
        <p:spPr>
          <a:xfrm>
            <a:off x="8429956"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EDC4C0-780D-F98B-7549-1B99254D6730}"/>
              </a:ext>
              <a:ext uri="{C183D7F6-B498-43B3-948B-1728B52AA6E4}">
                <adec:decorative xmlns:adec="http://schemas.microsoft.com/office/drawing/2017/decorative" val="1"/>
              </a:ext>
            </a:extLst>
          </p:cNvPr>
          <p:cNvCxnSpPr>
            <a:cxnSpLocks/>
          </p:cNvCxnSpPr>
          <p:nvPr userDrawn="1"/>
        </p:nvCxnSpPr>
        <p:spPr>
          <a:xfrm>
            <a:off x="4672676"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5CBFD0-75FC-54CC-8C95-0C32A545CBAB}"/>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1" name="Text Placeholder 35">
            <a:extLst>
              <a:ext uri="{FF2B5EF4-FFF2-40B4-BE49-F238E27FC236}">
                <a16:creationId xmlns:a16="http://schemas.microsoft.com/office/drawing/2014/main" id="{BA9EC78B-7623-7E3F-5561-C9C308EE422D}"/>
              </a:ext>
            </a:extLst>
          </p:cNvPr>
          <p:cNvSpPr>
            <a:spLocks noGrp="1"/>
          </p:cNvSpPr>
          <p:nvPr>
            <p:ph type="body" sz="quarter" idx="15" hasCustomPrompt="1"/>
          </p:nvPr>
        </p:nvSpPr>
        <p:spPr>
          <a:xfrm>
            <a:off x="808037"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Text Placeholder 35">
            <a:extLst>
              <a:ext uri="{FF2B5EF4-FFF2-40B4-BE49-F238E27FC236}">
                <a16:creationId xmlns:a16="http://schemas.microsoft.com/office/drawing/2014/main" id="{2D805644-012F-CE9C-EE58-81411CF8625C}"/>
              </a:ext>
            </a:extLst>
          </p:cNvPr>
          <p:cNvSpPr>
            <a:spLocks noGrp="1"/>
          </p:cNvSpPr>
          <p:nvPr>
            <p:ph type="body" sz="quarter" idx="18" hasCustomPrompt="1"/>
          </p:nvPr>
        </p:nvSpPr>
        <p:spPr>
          <a:xfrm>
            <a:off x="808037"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Text Placeholder 35">
            <a:extLst>
              <a:ext uri="{FF2B5EF4-FFF2-40B4-BE49-F238E27FC236}">
                <a16:creationId xmlns:a16="http://schemas.microsoft.com/office/drawing/2014/main" id="{37F74FEE-022D-CFCB-12DF-E632F4732B7A}"/>
              </a:ext>
            </a:extLst>
          </p:cNvPr>
          <p:cNvSpPr>
            <a:spLocks noGrp="1"/>
          </p:cNvSpPr>
          <p:nvPr>
            <p:ph type="body" sz="quarter" idx="19" hasCustomPrompt="1"/>
          </p:nvPr>
        </p:nvSpPr>
        <p:spPr>
          <a:xfrm>
            <a:off x="458890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Text Placeholder 35">
            <a:extLst>
              <a:ext uri="{FF2B5EF4-FFF2-40B4-BE49-F238E27FC236}">
                <a16:creationId xmlns:a16="http://schemas.microsoft.com/office/drawing/2014/main" id="{CBB72430-2878-2057-1C09-19632B3FFC1C}"/>
              </a:ext>
            </a:extLst>
          </p:cNvPr>
          <p:cNvSpPr>
            <a:spLocks noGrp="1"/>
          </p:cNvSpPr>
          <p:nvPr>
            <p:ph type="body" sz="quarter" idx="20" hasCustomPrompt="1"/>
          </p:nvPr>
        </p:nvSpPr>
        <p:spPr>
          <a:xfrm>
            <a:off x="458890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Text Placeholder 35">
            <a:extLst>
              <a:ext uri="{FF2B5EF4-FFF2-40B4-BE49-F238E27FC236}">
                <a16:creationId xmlns:a16="http://schemas.microsoft.com/office/drawing/2014/main" id="{58EAB592-0EAB-6E24-B7C0-D5620A42679A}"/>
              </a:ext>
            </a:extLst>
          </p:cNvPr>
          <p:cNvSpPr>
            <a:spLocks noGrp="1"/>
          </p:cNvSpPr>
          <p:nvPr>
            <p:ph type="body" sz="quarter" idx="21" hasCustomPrompt="1"/>
          </p:nvPr>
        </p:nvSpPr>
        <p:spPr>
          <a:xfrm>
            <a:off x="834618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C8C0A4A9-C502-C467-1D73-0218C36E1511}"/>
              </a:ext>
            </a:extLst>
          </p:cNvPr>
          <p:cNvSpPr>
            <a:spLocks noGrp="1"/>
          </p:cNvSpPr>
          <p:nvPr>
            <p:ph type="body" sz="quarter" idx="22" hasCustomPrompt="1"/>
          </p:nvPr>
        </p:nvSpPr>
        <p:spPr>
          <a:xfrm>
            <a:off x="834618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811727401"/>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Four Column with Sub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0430BF-7E23-C210-8D2B-15D5FB42F1A4}"/>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EDB5A052-D12D-AAEA-9759-12D5064CCF8C}"/>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49E4FA85-93EB-1F5E-EED4-6571CC36CB0E}"/>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A40F52B-146E-3A98-69BA-36CCA718F054}"/>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DB03F167-7496-7E29-C0AA-A66C3FB90E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4" name="Freeform: Shape 23">
                  <a:extLst>
                    <a:ext uri="{FF2B5EF4-FFF2-40B4-BE49-F238E27FC236}">
                      <a16:creationId xmlns:a16="http://schemas.microsoft.com/office/drawing/2014/main" id="{93EAFA13-E04F-5DEE-D774-F741D5A83B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2" name="Freeform: Shape 21">
                <a:extLst>
                  <a:ext uri="{FF2B5EF4-FFF2-40B4-BE49-F238E27FC236}">
                    <a16:creationId xmlns:a16="http://schemas.microsoft.com/office/drawing/2014/main" id="{1C19E257-5A69-88E1-0F4D-B7147EBD2B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15" name="Freeform: Shape 14">
              <a:extLst>
                <a:ext uri="{FF2B5EF4-FFF2-40B4-BE49-F238E27FC236}">
                  <a16:creationId xmlns:a16="http://schemas.microsoft.com/office/drawing/2014/main" id="{7201D9A8-CBC8-42C2-61EB-BA0CEFA8BA0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 name="Rectangle: Rounded Corners 2">
            <a:extLst>
              <a:ext uri="{FF2B5EF4-FFF2-40B4-BE49-F238E27FC236}">
                <a16:creationId xmlns:a16="http://schemas.microsoft.com/office/drawing/2014/main" id="{4BF0B8FD-063C-3A7B-A4E6-67D44CD479A3}"/>
              </a:ext>
              <a:ext uri="{C183D7F6-B498-43B3-948B-1728B52AA6E4}">
                <adec:decorative xmlns:adec="http://schemas.microsoft.com/office/drawing/2017/decorative" val="1"/>
              </a:ext>
            </a:extLst>
          </p:cNvPr>
          <p:cNvSpPr>
            <a:spLocks/>
          </p:cNvSpPr>
          <p:nvPr userDrawn="1"/>
        </p:nvSpPr>
        <p:spPr bwMode="auto">
          <a:xfrm>
            <a:off x="9035353"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6" name="Rectangle: Rounded Corners 5">
            <a:extLst>
              <a:ext uri="{FF2B5EF4-FFF2-40B4-BE49-F238E27FC236}">
                <a16:creationId xmlns:a16="http://schemas.microsoft.com/office/drawing/2014/main" id="{A833213E-9BF5-BA4E-112F-52147760EEB3}"/>
              </a:ext>
              <a:ext uri="{C183D7F6-B498-43B3-948B-1728B52AA6E4}">
                <adec:decorative xmlns:adec="http://schemas.microsoft.com/office/drawing/2017/decorative" val="1"/>
              </a:ext>
            </a:extLst>
          </p:cNvPr>
          <p:cNvSpPr>
            <a:spLocks/>
          </p:cNvSpPr>
          <p:nvPr userDrawn="1"/>
        </p:nvSpPr>
        <p:spPr bwMode="auto">
          <a:xfrm>
            <a:off x="6219656"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8" name="Rectangle: Rounded Corners 7">
            <a:extLst>
              <a:ext uri="{FF2B5EF4-FFF2-40B4-BE49-F238E27FC236}">
                <a16:creationId xmlns:a16="http://schemas.microsoft.com/office/drawing/2014/main" id="{18EBD841-657D-91D3-BF43-9B89FDE015CF}"/>
              </a:ext>
              <a:ext uri="{C183D7F6-B498-43B3-948B-1728B52AA6E4}">
                <adec:decorative xmlns:adec="http://schemas.microsoft.com/office/drawing/2017/decorative" val="1"/>
              </a:ext>
            </a:extLst>
          </p:cNvPr>
          <p:cNvSpPr>
            <a:spLocks/>
          </p:cNvSpPr>
          <p:nvPr userDrawn="1"/>
        </p:nvSpPr>
        <p:spPr bwMode="auto">
          <a:xfrm>
            <a:off x="3403960"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10" name="Rectangle: Rounded Corners 9">
            <a:extLst>
              <a:ext uri="{FF2B5EF4-FFF2-40B4-BE49-F238E27FC236}">
                <a16:creationId xmlns:a16="http://schemas.microsoft.com/office/drawing/2014/main" id="{37F6AD40-0DB2-B214-C350-1EB5C4F77F2E}"/>
              </a:ext>
              <a:ext uri="{C183D7F6-B498-43B3-948B-1728B52AA6E4}">
                <adec:decorative xmlns:adec="http://schemas.microsoft.com/office/drawing/2017/decorative" val="1"/>
              </a:ext>
            </a:extLst>
          </p:cNvPr>
          <p:cNvSpPr>
            <a:spLocks/>
          </p:cNvSpPr>
          <p:nvPr userDrawn="1"/>
        </p:nvSpPr>
        <p:spPr bwMode="auto">
          <a:xfrm>
            <a:off x="588264"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13" name="Straight Connector 12">
            <a:extLst>
              <a:ext uri="{FF2B5EF4-FFF2-40B4-BE49-F238E27FC236}">
                <a16:creationId xmlns:a16="http://schemas.microsoft.com/office/drawing/2014/main" id="{9420F1CB-6065-F380-90F3-A5260FB9A79E}"/>
              </a:ext>
              <a:ext uri="{C183D7F6-B498-43B3-948B-1728B52AA6E4}">
                <adec:decorative xmlns:adec="http://schemas.microsoft.com/office/drawing/2017/decorative" val="1"/>
              </a:ext>
            </a:extLst>
          </p:cNvPr>
          <p:cNvCxnSpPr>
            <a:cxnSpLocks/>
          </p:cNvCxnSpPr>
          <p:nvPr userDrawn="1"/>
        </p:nvCxnSpPr>
        <p:spPr>
          <a:xfrm>
            <a:off x="9338897"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A710878-58B5-7425-9FC6-F76E3FD70D1C}"/>
              </a:ext>
              <a:ext uri="{C183D7F6-B498-43B3-948B-1728B52AA6E4}">
                <adec:decorative xmlns:adec="http://schemas.microsoft.com/office/drawing/2017/decorative" val="1"/>
              </a:ext>
            </a:extLst>
          </p:cNvPr>
          <p:cNvCxnSpPr>
            <a:cxnSpLocks/>
          </p:cNvCxnSpPr>
          <p:nvPr userDrawn="1"/>
        </p:nvCxnSpPr>
        <p:spPr>
          <a:xfrm>
            <a:off x="6523200"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EA8230B-97A6-7DD5-C630-81BF556CD197}"/>
              </a:ext>
              <a:ext uri="{C183D7F6-B498-43B3-948B-1728B52AA6E4}">
                <adec:decorative xmlns:adec="http://schemas.microsoft.com/office/drawing/2017/decorative" val="1"/>
              </a:ext>
            </a:extLst>
          </p:cNvPr>
          <p:cNvCxnSpPr>
            <a:cxnSpLocks/>
          </p:cNvCxnSpPr>
          <p:nvPr userDrawn="1"/>
        </p:nvCxnSpPr>
        <p:spPr>
          <a:xfrm>
            <a:off x="3707504"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135A69-93C6-CF24-D395-440000E12D71}"/>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5" name="Text Placeholder 35">
            <a:extLst>
              <a:ext uri="{FF2B5EF4-FFF2-40B4-BE49-F238E27FC236}">
                <a16:creationId xmlns:a16="http://schemas.microsoft.com/office/drawing/2014/main" id="{AFA23AD8-1779-5172-D9D8-11AF2111C463}"/>
              </a:ext>
            </a:extLst>
          </p:cNvPr>
          <p:cNvSpPr>
            <a:spLocks noGrp="1"/>
          </p:cNvSpPr>
          <p:nvPr>
            <p:ph type="body" sz="quarter" idx="15" hasCustomPrompt="1"/>
          </p:nvPr>
        </p:nvSpPr>
        <p:spPr>
          <a:xfrm>
            <a:off x="80803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F4247A13-5444-462B-53A0-7A9C693014D8}"/>
              </a:ext>
            </a:extLst>
          </p:cNvPr>
          <p:cNvSpPr>
            <a:spLocks noGrp="1"/>
          </p:cNvSpPr>
          <p:nvPr>
            <p:ph type="body" sz="quarter" idx="18" hasCustomPrompt="1"/>
          </p:nvPr>
        </p:nvSpPr>
        <p:spPr>
          <a:xfrm>
            <a:off x="80803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2" name="Text Placeholder 35">
            <a:extLst>
              <a:ext uri="{FF2B5EF4-FFF2-40B4-BE49-F238E27FC236}">
                <a16:creationId xmlns:a16="http://schemas.microsoft.com/office/drawing/2014/main" id="{CE721595-2ED2-E944-5DCB-7B9C2E6636FB}"/>
              </a:ext>
            </a:extLst>
          </p:cNvPr>
          <p:cNvSpPr>
            <a:spLocks noGrp="1"/>
          </p:cNvSpPr>
          <p:nvPr>
            <p:ph type="body" sz="quarter" idx="19" hasCustomPrompt="1"/>
          </p:nvPr>
        </p:nvSpPr>
        <p:spPr>
          <a:xfrm>
            <a:off x="3623734"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7FA1A1FC-2E4F-9436-00E5-9A7A7D8686C2}"/>
              </a:ext>
            </a:extLst>
          </p:cNvPr>
          <p:cNvSpPr>
            <a:spLocks noGrp="1"/>
          </p:cNvSpPr>
          <p:nvPr>
            <p:ph type="body" sz="quarter" idx="20" hasCustomPrompt="1"/>
          </p:nvPr>
        </p:nvSpPr>
        <p:spPr>
          <a:xfrm>
            <a:off x="3623734"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772EC14D-09D6-AEE1-6D24-94DC4AE366E6}"/>
              </a:ext>
            </a:extLst>
          </p:cNvPr>
          <p:cNvSpPr>
            <a:spLocks noGrp="1"/>
          </p:cNvSpPr>
          <p:nvPr>
            <p:ph type="body" sz="quarter" idx="21" hasCustomPrompt="1"/>
          </p:nvPr>
        </p:nvSpPr>
        <p:spPr>
          <a:xfrm>
            <a:off x="6439430"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8" name="Text Placeholder 35">
            <a:extLst>
              <a:ext uri="{FF2B5EF4-FFF2-40B4-BE49-F238E27FC236}">
                <a16:creationId xmlns:a16="http://schemas.microsoft.com/office/drawing/2014/main" id="{07BECBB1-8FF8-5336-42F4-E74763C3E6F2}"/>
              </a:ext>
            </a:extLst>
          </p:cNvPr>
          <p:cNvSpPr>
            <a:spLocks noGrp="1"/>
          </p:cNvSpPr>
          <p:nvPr>
            <p:ph type="body" sz="quarter" idx="22" hasCustomPrompt="1"/>
          </p:nvPr>
        </p:nvSpPr>
        <p:spPr>
          <a:xfrm>
            <a:off x="6439430"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7" name="Text Placeholder 35">
            <a:extLst>
              <a:ext uri="{FF2B5EF4-FFF2-40B4-BE49-F238E27FC236}">
                <a16:creationId xmlns:a16="http://schemas.microsoft.com/office/drawing/2014/main" id="{03328BDA-C735-F0B0-70D8-458639AF7AEF}"/>
              </a:ext>
            </a:extLst>
          </p:cNvPr>
          <p:cNvSpPr>
            <a:spLocks noGrp="1"/>
          </p:cNvSpPr>
          <p:nvPr>
            <p:ph type="body" sz="quarter" idx="23" hasCustomPrompt="1"/>
          </p:nvPr>
        </p:nvSpPr>
        <p:spPr>
          <a:xfrm>
            <a:off x="925512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1B221C5F-FF34-FD3C-A4DB-5B8FA4FD17D6}"/>
              </a:ext>
            </a:extLst>
          </p:cNvPr>
          <p:cNvSpPr>
            <a:spLocks noGrp="1"/>
          </p:cNvSpPr>
          <p:nvPr>
            <p:ph type="body" sz="quarter" idx="24" hasCustomPrompt="1"/>
          </p:nvPr>
        </p:nvSpPr>
        <p:spPr>
          <a:xfrm>
            <a:off x="925512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89227021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25B2C6A-18CB-050E-9924-91727A39687C}"/>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3" name="Picture 2" descr="A picture containing white, design, black and white, art&#10;&#10;Description automatically generated">
              <a:extLst>
                <a:ext uri="{FF2B5EF4-FFF2-40B4-BE49-F238E27FC236}">
                  <a16:creationId xmlns:a16="http://schemas.microsoft.com/office/drawing/2014/main" id="{A866CEBB-0EF7-1DE3-AB23-DBA737BCC05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843AC534-7AFA-AB01-E73A-18BFB1028D70}"/>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2" name="Rectangle: Rounded Corners 1">
            <a:extLst>
              <a:ext uri="{FF2B5EF4-FFF2-40B4-BE49-F238E27FC236}">
                <a16:creationId xmlns:a16="http://schemas.microsoft.com/office/drawing/2014/main" id="{50F1D4C8-2BD0-D272-D4F8-7DF1015BA6A6}"/>
              </a:ext>
              <a:ext uri="{C183D7F6-B498-43B3-948B-1728B52AA6E4}">
                <adec:decorative xmlns:adec="http://schemas.microsoft.com/office/drawing/2017/decorative" val="1"/>
              </a:ext>
            </a:extLst>
          </p:cNvPr>
          <p:cNvSpPr/>
          <p:nvPr userDrawn="1"/>
        </p:nvSpPr>
        <p:spPr bwMode="auto">
          <a:xfrm>
            <a:off x="6187379" y="1468398"/>
            <a:ext cx="5422009"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12" name="Rectangle: Rounded Corners 11">
            <a:extLst>
              <a:ext uri="{FF2B5EF4-FFF2-40B4-BE49-F238E27FC236}">
                <a16:creationId xmlns:a16="http://schemas.microsoft.com/office/drawing/2014/main" id="{B1633E4A-EC5B-28FD-A53F-2CB0C31C79F8}"/>
              </a:ext>
              <a:ext uri="{C183D7F6-B498-43B3-948B-1728B52AA6E4}">
                <adec:decorative xmlns:adec="http://schemas.microsoft.com/office/drawing/2017/decorative" val="1"/>
              </a:ext>
            </a:extLst>
          </p:cNvPr>
          <p:cNvSpPr>
            <a:spLocks/>
          </p:cNvSpPr>
          <p:nvPr userDrawn="1"/>
        </p:nvSpPr>
        <p:spPr bwMode="auto">
          <a:xfrm>
            <a:off x="588263" y="1468398"/>
            <a:ext cx="5422009"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36" name="Title 1">
            <a:extLst>
              <a:ext uri="{FF2B5EF4-FFF2-40B4-BE49-F238E27FC236}">
                <a16:creationId xmlns:a16="http://schemas.microsoft.com/office/drawing/2014/main" id="{4ACE9511-F52F-C8FA-AC9A-3B9853AE68A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8" name="Text Placeholder 35">
            <a:extLst>
              <a:ext uri="{FF2B5EF4-FFF2-40B4-BE49-F238E27FC236}">
                <a16:creationId xmlns:a16="http://schemas.microsoft.com/office/drawing/2014/main" id="{4FA88EA3-74D7-8F20-6CF6-1D7ECD77907B}"/>
              </a:ext>
            </a:extLst>
          </p:cNvPr>
          <p:cNvSpPr>
            <a:spLocks noGrp="1"/>
          </p:cNvSpPr>
          <p:nvPr>
            <p:ph type="body" sz="quarter" idx="15" hasCustomPrompt="1"/>
          </p:nvPr>
        </p:nvSpPr>
        <p:spPr>
          <a:xfrm>
            <a:off x="808037"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AC594335-3B13-B806-DFDD-359BB86A058D}"/>
              </a:ext>
            </a:extLst>
          </p:cNvPr>
          <p:cNvSpPr>
            <a:spLocks noGrp="1"/>
          </p:cNvSpPr>
          <p:nvPr>
            <p:ph type="body" sz="quarter" idx="18" hasCustomPrompt="1"/>
          </p:nvPr>
        </p:nvSpPr>
        <p:spPr>
          <a:xfrm>
            <a:off x="808037"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8120E1C-AC93-18FA-B5C2-EFD0079C7625}"/>
              </a:ext>
            </a:extLst>
          </p:cNvPr>
          <p:cNvSpPr>
            <a:spLocks noGrp="1"/>
          </p:cNvSpPr>
          <p:nvPr>
            <p:ph type="body" sz="quarter" idx="19" hasCustomPrompt="1"/>
          </p:nvPr>
        </p:nvSpPr>
        <p:spPr>
          <a:xfrm>
            <a:off x="6415031"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73FD95C-796C-89AE-3D79-365AFA8DBB7B}"/>
              </a:ext>
            </a:extLst>
          </p:cNvPr>
          <p:cNvSpPr>
            <a:spLocks noGrp="1"/>
          </p:cNvSpPr>
          <p:nvPr>
            <p:ph type="body" sz="quarter" idx="20" hasCustomPrompt="1"/>
          </p:nvPr>
        </p:nvSpPr>
        <p:spPr>
          <a:xfrm>
            <a:off x="6415031"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3488261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DA9BC62-CB47-4EF7-7BC7-0901B7DBA16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C026C5CB-5300-BDE7-7EDA-736BC0E8531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8D6B4A9F-2135-3DC0-09D5-77C39EC9262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27" name="Rectangle: Rounded Corners 26">
            <a:extLst>
              <a:ext uri="{FF2B5EF4-FFF2-40B4-BE49-F238E27FC236}">
                <a16:creationId xmlns:a16="http://schemas.microsoft.com/office/drawing/2014/main" id="{C65F0DE8-A097-3207-ACD8-D398CB97192D}"/>
              </a:ext>
              <a:ext uri="{C183D7F6-B498-43B3-948B-1728B52AA6E4}">
                <adec:decorative xmlns:adec="http://schemas.microsoft.com/office/drawing/2017/decorative" val="1"/>
              </a:ext>
            </a:extLst>
          </p:cNvPr>
          <p:cNvSpPr>
            <a:spLocks/>
          </p:cNvSpPr>
          <p:nvPr userDrawn="1"/>
        </p:nvSpPr>
        <p:spPr bwMode="auto">
          <a:xfrm>
            <a:off x="8126412" y="1468398"/>
            <a:ext cx="3477324"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30" name="Rectangle: Rounded Corners 29">
            <a:extLst>
              <a:ext uri="{FF2B5EF4-FFF2-40B4-BE49-F238E27FC236}">
                <a16:creationId xmlns:a16="http://schemas.microsoft.com/office/drawing/2014/main" id="{8E74AD7E-C87C-8DC8-3068-5C3AFB0E2782}"/>
              </a:ext>
              <a:ext uri="{C183D7F6-B498-43B3-948B-1728B52AA6E4}">
                <adec:decorative xmlns:adec="http://schemas.microsoft.com/office/drawing/2017/decorative" val="1"/>
              </a:ext>
            </a:extLst>
          </p:cNvPr>
          <p:cNvSpPr>
            <a:spLocks/>
          </p:cNvSpPr>
          <p:nvPr userDrawn="1"/>
        </p:nvSpPr>
        <p:spPr bwMode="auto">
          <a:xfrm>
            <a:off x="4369132" y="1468398"/>
            <a:ext cx="3477324"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50" name="Rectangle: Rounded Corners 49">
            <a:extLst>
              <a:ext uri="{FF2B5EF4-FFF2-40B4-BE49-F238E27FC236}">
                <a16:creationId xmlns:a16="http://schemas.microsoft.com/office/drawing/2014/main" id="{15583138-21D4-8B1D-6BB4-BFDA0882BDE2}"/>
              </a:ext>
              <a:ext uri="{C183D7F6-B498-43B3-948B-1728B52AA6E4}">
                <adec:decorative xmlns:adec="http://schemas.microsoft.com/office/drawing/2017/decorative" val="1"/>
              </a:ext>
            </a:extLst>
          </p:cNvPr>
          <p:cNvSpPr>
            <a:spLocks/>
          </p:cNvSpPr>
          <p:nvPr userDrawn="1"/>
        </p:nvSpPr>
        <p:spPr bwMode="auto">
          <a:xfrm>
            <a:off x="588264" y="1468398"/>
            <a:ext cx="3477324"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1" name="Text Placeholder 35">
            <a:extLst>
              <a:ext uri="{FF2B5EF4-FFF2-40B4-BE49-F238E27FC236}">
                <a16:creationId xmlns:a16="http://schemas.microsoft.com/office/drawing/2014/main" id="{BA9EC78B-7623-7E3F-5561-C9C308EE422D}"/>
              </a:ext>
            </a:extLst>
          </p:cNvPr>
          <p:cNvSpPr>
            <a:spLocks noGrp="1"/>
          </p:cNvSpPr>
          <p:nvPr>
            <p:ph type="body" sz="quarter" idx="15" hasCustomPrompt="1"/>
          </p:nvPr>
        </p:nvSpPr>
        <p:spPr>
          <a:xfrm>
            <a:off x="808037"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Text Placeholder 35">
            <a:extLst>
              <a:ext uri="{FF2B5EF4-FFF2-40B4-BE49-F238E27FC236}">
                <a16:creationId xmlns:a16="http://schemas.microsoft.com/office/drawing/2014/main" id="{2D805644-012F-CE9C-EE58-81411CF8625C}"/>
              </a:ext>
            </a:extLst>
          </p:cNvPr>
          <p:cNvSpPr>
            <a:spLocks noGrp="1"/>
          </p:cNvSpPr>
          <p:nvPr>
            <p:ph type="body" sz="quarter" idx="18" hasCustomPrompt="1"/>
          </p:nvPr>
        </p:nvSpPr>
        <p:spPr>
          <a:xfrm>
            <a:off x="808037"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Text Placeholder 35">
            <a:extLst>
              <a:ext uri="{FF2B5EF4-FFF2-40B4-BE49-F238E27FC236}">
                <a16:creationId xmlns:a16="http://schemas.microsoft.com/office/drawing/2014/main" id="{37F74FEE-022D-CFCB-12DF-E632F4732B7A}"/>
              </a:ext>
            </a:extLst>
          </p:cNvPr>
          <p:cNvSpPr>
            <a:spLocks noGrp="1"/>
          </p:cNvSpPr>
          <p:nvPr>
            <p:ph type="body" sz="quarter" idx="19" hasCustomPrompt="1"/>
          </p:nvPr>
        </p:nvSpPr>
        <p:spPr>
          <a:xfrm>
            <a:off x="458890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Text Placeholder 35">
            <a:extLst>
              <a:ext uri="{FF2B5EF4-FFF2-40B4-BE49-F238E27FC236}">
                <a16:creationId xmlns:a16="http://schemas.microsoft.com/office/drawing/2014/main" id="{CBB72430-2878-2057-1C09-19632B3FFC1C}"/>
              </a:ext>
            </a:extLst>
          </p:cNvPr>
          <p:cNvSpPr>
            <a:spLocks noGrp="1"/>
          </p:cNvSpPr>
          <p:nvPr>
            <p:ph type="body" sz="quarter" idx="20" hasCustomPrompt="1"/>
          </p:nvPr>
        </p:nvSpPr>
        <p:spPr>
          <a:xfrm>
            <a:off x="458890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Text Placeholder 35">
            <a:extLst>
              <a:ext uri="{FF2B5EF4-FFF2-40B4-BE49-F238E27FC236}">
                <a16:creationId xmlns:a16="http://schemas.microsoft.com/office/drawing/2014/main" id="{58EAB592-0EAB-6E24-B7C0-D5620A42679A}"/>
              </a:ext>
            </a:extLst>
          </p:cNvPr>
          <p:cNvSpPr>
            <a:spLocks noGrp="1"/>
          </p:cNvSpPr>
          <p:nvPr>
            <p:ph type="body" sz="quarter" idx="21" hasCustomPrompt="1"/>
          </p:nvPr>
        </p:nvSpPr>
        <p:spPr>
          <a:xfrm>
            <a:off x="834618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C8C0A4A9-C502-C467-1D73-0218C36E1511}"/>
              </a:ext>
            </a:extLst>
          </p:cNvPr>
          <p:cNvSpPr>
            <a:spLocks noGrp="1"/>
          </p:cNvSpPr>
          <p:nvPr>
            <p:ph type="body" sz="quarter" idx="22" hasCustomPrompt="1"/>
          </p:nvPr>
        </p:nvSpPr>
        <p:spPr>
          <a:xfrm>
            <a:off x="834618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09849740"/>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DBE3A97-03B1-EA5F-0C41-20DCF16B757C}"/>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7" name="Picture 6" descr="A picture containing white, design, black and white, art&#10;&#10;Description automatically generated">
              <a:extLst>
                <a:ext uri="{FF2B5EF4-FFF2-40B4-BE49-F238E27FC236}">
                  <a16:creationId xmlns:a16="http://schemas.microsoft.com/office/drawing/2014/main" id="{258F2798-62C8-596C-8E82-468CEA3EC4A8}"/>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5B2CD8D1-C70D-AC2E-DFA4-36E3AAA3AB64}"/>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3" name="Rectangle: Rounded Corners 2">
            <a:extLst>
              <a:ext uri="{FF2B5EF4-FFF2-40B4-BE49-F238E27FC236}">
                <a16:creationId xmlns:a16="http://schemas.microsoft.com/office/drawing/2014/main" id="{4BF0B8FD-063C-3A7B-A4E6-67D44CD479A3}"/>
              </a:ext>
              <a:ext uri="{C183D7F6-B498-43B3-948B-1728B52AA6E4}">
                <adec:decorative xmlns:adec="http://schemas.microsoft.com/office/drawing/2017/decorative" val="1"/>
              </a:ext>
            </a:extLst>
          </p:cNvPr>
          <p:cNvSpPr>
            <a:spLocks/>
          </p:cNvSpPr>
          <p:nvPr userDrawn="1"/>
        </p:nvSpPr>
        <p:spPr bwMode="auto">
          <a:xfrm>
            <a:off x="9035353" y="1468398"/>
            <a:ext cx="2574035"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6" name="Rectangle: Rounded Corners 5">
            <a:extLst>
              <a:ext uri="{FF2B5EF4-FFF2-40B4-BE49-F238E27FC236}">
                <a16:creationId xmlns:a16="http://schemas.microsoft.com/office/drawing/2014/main" id="{A833213E-9BF5-BA4E-112F-52147760EEB3}"/>
              </a:ext>
              <a:ext uri="{C183D7F6-B498-43B3-948B-1728B52AA6E4}">
                <adec:decorative xmlns:adec="http://schemas.microsoft.com/office/drawing/2017/decorative" val="1"/>
              </a:ext>
            </a:extLst>
          </p:cNvPr>
          <p:cNvSpPr>
            <a:spLocks/>
          </p:cNvSpPr>
          <p:nvPr userDrawn="1"/>
        </p:nvSpPr>
        <p:spPr bwMode="auto">
          <a:xfrm>
            <a:off x="6219656" y="1468398"/>
            <a:ext cx="2574035"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8" name="Rectangle: Rounded Corners 7">
            <a:extLst>
              <a:ext uri="{FF2B5EF4-FFF2-40B4-BE49-F238E27FC236}">
                <a16:creationId xmlns:a16="http://schemas.microsoft.com/office/drawing/2014/main" id="{18EBD841-657D-91D3-BF43-9B89FDE015CF}"/>
              </a:ext>
              <a:ext uri="{C183D7F6-B498-43B3-948B-1728B52AA6E4}">
                <adec:decorative xmlns:adec="http://schemas.microsoft.com/office/drawing/2017/decorative" val="1"/>
              </a:ext>
            </a:extLst>
          </p:cNvPr>
          <p:cNvSpPr>
            <a:spLocks/>
          </p:cNvSpPr>
          <p:nvPr userDrawn="1"/>
        </p:nvSpPr>
        <p:spPr bwMode="auto">
          <a:xfrm>
            <a:off x="3403960" y="1468398"/>
            <a:ext cx="2574035"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10" name="Rectangle: Rounded Corners 9">
            <a:extLst>
              <a:ext uri="{FF2B5EF4-FFF2-40B4-BE49-F238E27FC236}">
                <a16:creationId xmlns:a16="http://schemas.microsoft.com/office/drawing/2014/main" id="{37F6AD40-0DB2-B214-C350-1EB5C4F77F2E}"/>
              </a:ext>
              <a:ext uri="{C183D7F6-B498-43B3-948B-1728B52AA6E4}">
                <adec:decorative xmlns:adec="http://schemas.microsoft.com/office/drawing/2017/decorative" val="1"/>
              </a:ext>
            </a:extLst>
          </p:cNvPr>
          <p:cNvSpPr>
            <a:spLocks/>
          </p:cNvSpPr>
          <p:nvPr userDrawn="1"/>
        </p:nvSpPr>
        <p:spPr bwMode="auto">
          <a:xfrm>
            <a:off x="588264" y="1468398"/>
            <a:ext cx="2574035" cy="4800640"/>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5" name="Text Placeholder 35">
            <a:extLst>
              <a:ext uri="{FF2B5EF4-FFF2-40B4-BE49-F238E27FC236}">
                <a16:creationId xmlns:a16="http://schemas.microsoft.com/office/drawing/2014/main" id="{AFA23AD8-1779-5172-D9D8-11AF2111C463}"/>
              </a:ext>
            </a:extLst>
          </p:cNvPr>
          <p:cNvSpPr>
            <a:spLocks noGrp="1"/>
          </p:cNvSpPr>
          <p:nvPr>
            <p:ph type="body" sz="quarter" idx="15" hasCustomPrompt="1"/>
          </p:nvPr>
        </p:nvSpPr>
        <p:spPr>
          <a:xfrm>
            <a:off x="80803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F4247A13-5444-462B-53A0-7A9C693014D8}"/>
              </a:ext>
            </a:extLst>
          </p:cNvPr>
          <p:cNvSpPr>
            <a:spLocks noGrp="1"/>
          </p:cNvSpPr>
          <p:nvPr>
            <p:ph type="body" sz="quarter" idx="18" hasCustomPrompt="1"/>
          </p:nvPr>
        </p:nvSpPr>
        <p:spPr>
          <a:xfrm>
            <a:off x="80803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2" name="Text Placeholder 35">
            <a:extLst>
              <a:ext uri="{FF2B5EF4-FFF2-40B4-BE49-F238E27FC236}">
                <a16:creationId xmlns:a16="http://schemas.microsoft.com/office/drawing/2014/main" id="{CE721595-2ED2-E944-5DCB-7B9C2E6636FB}"/>
              </a:ext>
            </a:extLst>
          </p:cNvPr>
          <p:cNvSpPr>
            <a:spLocks noGrp="1"/>
          </p:cNvSpPr>
          <p:nvPr>
            <p:ph type="body" sz="quarter" idx="19" hasCustomPrompt="1"/>
          </p:nvPr>
        </p:nvSpPr>
        <p:spPr>
          <a:xfrm>
            <a:off x="3623734"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7FA1A1FC-2E4F-9436-00E5-9A7A7D8686C2}"/>
              </a:ext>
            </a:extLst>
          </p:cNvPr>
          <p:cNvSpPr>
            <a:spLocks noGrp="1"/>
          </p:cNvSpPr>
          <p:nvPr>
            <p:ph type="body" sz="quarter" idx="20" hasCustomPrompt="1"/>
          </p:nvPr>
        </p:nvSpPr>
        <p:spPr>
          <a:xfrm>
            <a:off x="3623734"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772EC14D-09D6-AEE1-6D24-94DC4AE366E6}"/>
              </a:ext>
            </a:extLst>
          </p:cNvPr>
          <p:cNvSpPr>
            <a:spLocks noGrp="1"/>
          </p:cNvSpPr>
          <p:nvPr>
            <p:ph type="body" sz="quarter" idx="21" hasCustomPrompt="1"/>
          </p:nvPr>
        </p:nvSpPr>
        <p:spPr>
          <a:xfrm>
            <a:off x="6439430"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8" name="Text Placeholder 35">
            <a:extLst>
              <a:ext uri="{FF2B5EF4-FFF2-40B4-BE49-F238E27FC236}">
                <a16:creationId xmlns:a16="http://schemas.microsoft.com/office/drawing/2014/main" id="{07BECBB1-8FF8-5336-42F4-E74763C3E6F2}"/>
              </a:ext>
            </a:extLst>
          </p:cNvPr>
          <p:cNvSpPr>
            <a:spLocks noGrp="1"/>
          </p:cNvSpPr>
          <p:nvPr>
            <p:ph type="body" sz="quarter" idx="22" hasCustomPrompt="1"/>
          </p:nvPr>
        </p:nvSpPr>
        <p:spPr>
          <a:xfrm>
            <a:off x="6439430"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7" name="Text Placeholder 35">
            <a:extLst>
              <a:ext uri="{FF2B5EF4-FFF2-40B4-BE49-F238E27FC236}">
                <a16:creationId xmlns:a16="http://schemas.microsoft.com/office/drawing/2014/main" id="{03328BDA-C735-F0B0-70D8-458639AF7AEF}"/>
              </a:ext>
            </a:extLst>
          </p:cNvPr>
          <p:cNvSpPr>
            <a:spLocks noGrp="1"/>
          </p:cNvSpPr>
          <p:nvPr>
            <p:ph type="body" sz="quarter" idx="23" hasCustomPrompt="1"/>
          </p:nvPr>
        </p:nvSpPr>
        <p:spPr>
          <a:xfrm>
            <a:off x="925512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1B221C5F-FF34-FD3C-A4DB-5B8FA4FD17D6}"/>
              </a:ext>
            </a:extLst>
          </p:cNvPr>
          <p:cNvSpPr>
            <a:spLocks noGrp="1"/>
          </p:cNvSpPr>
          <p:nvPr>
            <p:ph type="body" sz="quarter" idx="24" hasCustomPrompt="1"/>
          </p:nvPr>
        </p:nvSpPr>
        <p:spPr>
          <a:xfrm>
            <a:off x="925512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5168681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Five column">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AEA576-C2C0-E948-4087-CADD6DE57C12}"/>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480D616B-C5F6-F8AF-B9B8-27450F0F409C}"/>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02BDA1A3-89F7-2C3B-F60A-6726DA6FD6B2}"/>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3" name="Rectangle: Rounded Corners 12">
            <a:extLst>
              <a:ext uri="{FF2B5EF4-FFF2-40B4-BE49-F238E27FC236}">
                <a16:creationId xmlns:a16="http://schemas.microsoft.com/office/drawing/2014/main" id="{DA8AB36B-9DE2-43F6-AAF9-30CC30B4DA1A}"/>
              </a:ext>
              <a:ext uri="{C183D7F6-B498-43B3-948B-1728B52AA6E4}">
                <adec:decorative xmlns:adec="http://schemas.microsoft.com/office/drawing/2017/decorative" val="1"/>
              </a:ext>
            </a:extLst>
          </p:cNvPr>
          <p:cNvSpPr/>
          <p:nvPr userDrawn="1"/>
        </p:nvSpPr>
        <p:spPr bwMode="auto">
          <a:xfrm>
            <a:off x="580586" y="2477731"/>
            <a:ext cx="11030828" cy="3779977"/>
          </a:xfrm>
          <a:prstGeom prst="roundRect">
            <a:avLst>
              <a:gd name="adj" fmla="val 8554"/>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cxnSp>
        <p:nvCxnSpPr>
          <p:cNvPr id="20" name="Straight Connector 19">
            <a:extLst>
              <a:ext uri="{FF2B5EF4-FFF2-40B4-BE49-F238E27FC236}">
                <a16:creationId xmlns:a16="http://schemas.microsoft.com/office/drawing/2014/main" id="{15C60D05-7E7E-DAD7-1716-93FF5D735CD4}"/>
              </a:ext>
              <a:ext uri="{C183D7F6-B498-43B3-948B-1728B52AA6E4}">
                <adec:decorative xmlns:adec="http://schemas.microsoft.com/office/drawing/2017/decorative" val="1"/>
              </a:ext>
            </a:extLst>
          </p:cNvPr>
          <p:cNvCxnSpPr>
            <a:cxnSpLocks/>
          </p:cNvCxnSpPr>
          <p:nvPr/>
        </p:nvCxnSpPr>
        <p:spPr>
          <a:xfrm>
            <a:off x="7166944"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17E78F8-373B-05B1-B73A-73AD8CB6C3E7}"/>
              </a:ext>
              <a:ext uri="{C183D7F6-B498-43B3-948B-1728B52AA6E4}">
                <adec:decorative xmlns:adec="http://schemas.microsoft.com/office/drawing/2017/decorative" val="1"/>
              </a:ext>
            </a:extLst>
          </p:cNvPr>
          <p:cNvCxnSpPr>
            <a:cxnSpLocks/>
          </p:cNvCxnSpPr>
          <p:nvPr/>
        </p:nvCxnSpPr>
        <p:spPr>
          <a:xfrm>
            <a:off x="9351400"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851ADC5-D057-0A07-BB87-F7194BBDEFA0}"/>
              </a:ext>
              <a:ext uri="{C183D7F6-B498-43B3-948B-1728B52AA6E4}">
                <adec:decorative xmlns:adec="http://schemas.microsoft.com/office/drawing/2017/decorative" val="1"/>
              </a:ext>
            </a:extLst>
          </p:cNvPr>
          <p:cNvCxnSpPr>
            <a:cxnSpLocks/>
          </p:cNvCxnSpPr>
          <p:nvPr/>
        </p:nvCxnSpPr>
        <p:spPr>
          <a:xfrm>
            <a:off x="2798032"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0CD0BC-C87D-A7AC-561F-E381B3CD281C}"/>
              </a:ext>
              <a:ext uri="{C183D7F6-B498-43B3-948B-1728B52AA6E4}">
                <adec:decorative xmlns:adec="http://schemas.microsoft.com/office/drawing/2017/decorative" val="1"/>
              </a:ext>
            </a:extLst>
          </p:cNvPr>
          <p:cNvCxnSpPr>
            <a:cxnSpLocks/>
          </p:cNvCxnSpPr>
          <p:nvPr/>
        </p:nvCxnSpPr>
        <p:spPr>
          <a:xfrm>
            <a:off x="4982488"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Freeform: Shape 80">
            <a:extLst>
              <a:ext uri="{FF2B5EF4-FFF2-40B4-BE49-F238E27FC236}">
                <a16:creationId xmlns:a16="http://schemas.microsoft.com/office/drawing/2014/main" id="{F3519852-7744-5930-DEA4-644EC694E8E2}"/>
              </a:ext>
              <a:ext uri="{C183D7F6-B498-43B3-948B-1728B52AA6E4}">
                <adec:decorative xmlns:adec="http://schemas.microsoft.com/office/drawing/2017/decorative" val="1"/>
              </a:ext>
            </a:extLst>
          </p:cNvPr>
          <p:cNvSpPr/>
          <p:nvPr userDrawn="1"/>
        </p:nvSpPr>
        <p:spPr bwMode="auto">
          <a:xfrm>
            <a:off x="677174" y="6179921"/>
            <a:ext cx="10837652" cy="77787"/>
          </a:xfrm>
          <a:custGeom>
            <a:avLst/>
            <a:gdLst>
              <a:gd name="connsiteX0" fmla="*/ 0 w 10837652"/>
              <a:gd name="connsiteY0" fmla="*/ 0 h 77787"/>
              <a:gd name="connsiteX1" fmla="*/ 10837652 w 10837652"/>
              <a:gd name="connsiteY1" fmla="*/ 0 h 77787"/>
              <a:gd name="connsiteX2" fmla="*/ 10804354 w 10837652"/>
              <a:gd name="connsiteY2" fmla="*/ 27474 h 77787"/>
              <a:gd name="connsiteX3" fmla="*/ 10639640 w 10837652"/>
              <a:gd name="connsiteY3" fmla="*/ 77787 h 77787"/>
              <a:gd name="connsiteX4" fmla="*/ 198012 w 10837652"/>
              <a:gd name="connsiteY4" fmla="*/ 77787 h 77787"/>
              <a:gd name="connsiteX5" fmla="*/ 33299 w 10837652"/>
              <a:gd name="connsiteY5" fmla="*/ 27474 h 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7652" h="77787">
                <a:moveTo>
                  <a:pt x="0" y="0"/>
                </a:moveTo>
                <a:lnTo>
                  <a:pt x="10837652" y="0"/>
                </a:lnTo>
                <a:lnTo>
                  <a:pt x="10804354" y="27474"/>
                </a:lnTo>
                <a:cubicBezTo>
                  <a:pt x="10757335" y="59239"/>
                  <a:pt x="10700654" y="77787"/>
                  <a:pt x="10639640" y="77787"/>
                </a:cubicBezTo>
                <a:lnTo>
                  <a:pt x="198012" y="77787"/>
                </a:lnTo>
                <a:cubicBezTo>
                  <a:pt x="136999" y="77787"/>
                  <a:pt x="80317" y="59239"/>
                  <a:pt x="33299" y="27474"/>
                </a:cubicBezTo>
                <a:close/>
              </a:path>
            </a:pathLst>
          </a:cu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a:solidFill>
                <a:srgbClr val="FFFFFF"/>
              </a:solidFill>
              <a:ea typeface="Segoe UI" pitchFamily="34" charset="0"/>
              <a:cs typeface="Segoe UI" pitchFamily="34" charset="0"/>
            </a:endParaRPr>
          </a:p>
        </p:txBody>
      </p:sp>
      <p:sp>
        <p:nvSpPr>
          <p:cNvPr id="59" name="Title 1">
            <a:extLst>
              <a:ext uri="{FF2B5EF4-FFF2-40B4-BE49-F238E27FC236}">
                <a16:creationId xmlns:a16="http://schemas.microsoft.com/office/drawing/2014/main" id="{85898F71-11FD-517B-3F6C-CA86282F6C99}"/>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userDrawn="1">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2" name="Text Placeholder 35">
            <a:extLst>
              <a:ext uri="{FF2B5EF4-FFF2-40B4-BE49-F238E27FC236}">
                <a16:creationId xmlns:a16="http://schemas.microsoft.com/office/drawing/2014/main" id="{F7CC93B6-DC95-01DC-5602-898D1753FC8F}"/>
              </a:ext>
            </a:extLst>
          </p:cNvPr>
          <p:cNvSpPr>
            <a:spLocks noGrp="1"/>
          </p:cNvSpPr>
          <p:nvPr userDrawn="1">
            <p:ph type="body" sz="quarter" idx="15" hasCustomPrompt="1"/>
          </p:nvPr>
        </p:nvSpPr>
        <p:spPr>
          <a:xfrm>
            <a:off x="721982"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Text Placeholder 35">
            <a:extLst>
              <a:ext uri="{FF2B5EF4-FFF2-40B4-BE49-F238E27FC236}">
                <a16:creationId xmlns:a16="http://schemas.microsoft.com/office/drawing/2014/main" id="{B35E4FBE-90B1-5FB4-0A9F-A3B574F1BB25}"/>
              </a:ext>
            </a:extLst>
          </p:cNvPr>
          <p:cNvSpPr>
            <a:spLocks noGrp="1"/>
          </p:cNvSpPr>
          <p:nvPr userDrawn="1">
            <p:ph type="body" sz="quarter" idx="18" hasCustomPrompt="1"/>
          </p:nvPr>
        </p:nvSpPr>
        <p:spPr>
          <a:xfrm>
            <a:off x="721982"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4" name="Text Placeholder 35">
            <a:extLst>
              <a:ext uri="{FF2B5EF4-FFF2-40B4-BE49-F238E27FC236}">
                <a16:creationId xmlns:a16="http://schemas.microsoft.com/office/drawing/2014/main" id="{AD003D60-8790-D35A-3C5B-4B041FC218B3}"/>
              </a:ext>
            </a:extLst>
          </p:cNvPr>
          <p:cNvSpPr>
            <a:spLocks noGrp="1"/>
          </p:cNvSpPr>
          <p:nvPr userDrawn="1">
            <p:ph type="body" sz="quarter" idx="19" hasCustomPrompt="1"/>
          </p:nvPr>
        </p:nvSpPr>
        <p:spPr>
          <a:xfrm>
            <a:off x="2937019"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5D8ED371-8D6A-250E-3863-5350BC5E7E82}"/>
              </a:ext>
            </a:extLst>
          </p:cNvPr>
          <p:cNvSpPr>
            <a:spLocks noGrp="1"/>
          </p:cNvSpPr>
          <p:nvPr userDrawn="1">
            <p:ph type="body" sz="quarter" idx="20" hasCustomPrompt="1"/>
          </p:nvPr>
        </p:nvSpPr>
        <p:spPr>
          <a:xfrm>
            <a:off x="2906438"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6" name="Text Placeholder 35">
            <a:extLst>
              <a:ext uri="{FF2B5EF4-FFF2-40B4-BE49-F238E27FC236}">
                <a16:creationId xmlns:a16="http://schemas.microsoft.com/office/drawing/2014/main" id="{9D1EB66A-CFA0-2E5D-D3F7-6DF2592C83F2}"/>
              </a:ext>
            </a:extLst>
          </p:cNvPr>
          <p:cNvSpPr>
            <a:spLocks noGrp="1"/>
          </p:cNvSpPr>
          <p:nvPr userDrawn="1">
            <p:ph type="body" sz="quarter" idx="21" hasCustomPrompt="1"/>
          </p:nvPr>
        </p:nvSpPr>
        <p:spPr>
          <a:xfrm>
            <a:off x="5109156"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7" name="Text Placeholder 35">
            <a:extLst>
              <a:ext uri="{FF2B5EF4-FFF2-40B4-BE49-F238E27FC236}">
                <a16:creationId xmlns:a16="http://schemas.microsoft.com/office/drawing/2014/main" id="{F138C0BB-1180-AE02-EAA1-C0AA4BB03AEA}"/>
              </a:ext>
            </a:extLst>
          </p:cNvPr>
          <p:cNvSpPr>
            <a:spLocks noGrp="1"/>
          </p:cNvSpPr>
          <p:nvPr userDrawn="1">
            <p:ph type="body" sz="quarter" idx="22" hasCustomPrompt="1"/>
          </p:nvPr>
        </p:nvSpPr>
        <p:spPr>
          <a:xfrm>
            <a:off x="5090894"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8" name="Text Placeholder 35">
            <a:extLst>
              <a:ext uri="{FF2B5EF4-FFF2-40B4-BE49-F238E27FC236}">
                <a16:creationId xmlns:a16="http://schemas.microsoft.com/office/drawing/2014/main" id="{FBD629CA-3753-BD50-F584-0A9CB1045BC6}"/>
              </a:ext>
            </a:extLst>
          </p:cNvPr>
          <p:cNvSpPr>
            <a:spLocks noGrp="1"/>
          </p:cNvSpPr>
          <p:nvPr userDrawn="1">
            <p:ph type="body" sz="quarter" idx="23" hasCustomPrompt="1"/>
          </p:nvPr>
        </p:nvSpPr>
        <p:spPr>
          <a:xfrm>
            <a:off x="7285545"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9" name="Text Placeholder 35">
            <a:extLst>
              <a:ext uri="{FF2B5EF4-FFF2-40B4-BE49-F238E27FC236}">
                <a16:creationId xmlns:a16="http://schemas.microsoft.com/office/drawing/2014/main" id="{09E664BB-4DDC-F4D5-7EA6-F9EFEE5DAD71}"/>
              </a:ext>
            </a:extLst>
          </p:cNvPr>
          <p:cNvSpPr>
            <a:spLocks noGrp="1"/>
          </p:cNvSpPr>
          <p:nvPr userDrawn="1">
            <p:ph type="body" sz="quarter" idx="24" hasCustomPrompt="1"/>
          </p:nvPr>
        </p:nvSpPr>
        <p:spPr>
          <a:xfrm>
            <a:off x="7275350"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0" name="Text Placeholder 35">
            <a:extLst>
              <a:ext uri="{FF2B5EF4-FFF2-40B4-BE49-F238E27FC236}">
                <a16:creationId xmlns:a16="http://schemas.microsoft.com/office/drawing/2014/main" id="{DAA12B3D-86DE-D1B2-33ED-17B269B2A35A}"/>
              </a:ext>
            </a:extLst>
          </p:cNvPr>
          <p:cNvSpPr>
            <a:spLocks noGrp="1"/>
          </p:cNvSpPr>
          <p:nvPr userDrawn="1">
            <p:ph type="body" sz="quarter" idx="25" hasCustomPrompt="1"/>
          </p:nvPr>
        </p:nvSpPr>
        <p:spPr>
          <a:xfrm>
            <a:off x="9459807" y="3074808"/>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1" name="Text Placeholder 35">
            <a:extLst>
              <a:ext uri="{FF2B5EF4-FFF2-40B4-BE49-F238E27FC236}">
                <a16:creationId xmlns:a16="http://schemas.microsoft.com/office/drawing/2014/main" id="{82962E1E-EADE-2CEF-D066-99136F6789AB}"/>
              </a:ext>
            </a:extLst>
          </p:cNvPr>
          <p:cNvSpPr>
            <a:spLocks noGrp="1"/>
          </p:cNvSpPr>
          <p:nvPr userDrawn="1">
            <p:ph type="body" sz="quarter" idx="26" hasCustomPrompt="1"/>
          </p:nvPr>
        </p:nvSpPr>
        <p:spPr>
          <a:xfrm>
            <a:off x="9459807" y="3520778"/>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153380866"/>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1_content with side image">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5F0B049-44FE-DF95-2528-18D95CFE7ECB}"/>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6" name="Picture 15" descr="A picture containing white, design, black and white, art&#10;&#10;Description automatically generated">
              <a:extLst>
                <a:ext uri="{FF2B5EF4-FFF2-40B4-BE49-F238E27FC236}">
                  <a16:creationId xmlns:a16="http://schemas.microsoft.com/office/drawing/2014/main" id="{24D7AED2-DE8C-3BDD-C110-7C9F59E3C58C}"/>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3933A1C0-B776-6AED-876E-B9FDE3BA7587}"/>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cxnSp>
        <p:nvCxnSpPr>
          <p:cNvPr id="9" name="Straight Connector 8">
            <a:extLst>
              <a:ext uri="{FF2B5EF4-FFF2-40B4-BE49-F238E27FC236}">
                <a16:creationId xmlns:a16="http://schemas.microsoft.com/office/drawing/2014/main" id="{93C4E008-7138-9814-73BE-7133CC372D45}"/>
              </a:ext>
              <a:ext uri="{C183D7F6-B498-43B3-948B-1728B52AA6E4}">
                <adec:decorative xmlns:adec="http://schemas.microsoft.com/office/drawing/2017/decorative" val="1"/>
              </a:ext>
            </a:extLst>
          </p:cNvPr>
          <p:cNvCxnSpPr>
            <a:cxnSpLocks/>
          </p:cNvCxnSpPr>
          <p:nvPr userDrawn="1"/>
        </p:nvCxnSpPr>
        <p:spPr>
          <a:xfrm>
            <a:off x="588263" y="2278213"/>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140BCF81-B12E-7394-27B0-94FE4B9965A2}"/>
              </a:ext>
            </a:extLst>
          </p:cNvPr>
          <p:cNvSpPr>
            <a:spLocks noGrp="1"/>
          </p:cNvSpPr>
          <p:nvPr>
            <p:ph type="title" hasCustomPrompt="1"/>
          </p:nvPr>
        </p:nvSpPr>
        <p:spPr>
          <a:xfrm>
            <a:off x="588263" y="786193"/>
            <a:ext cx="4956194" cy="1107996"/>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a:t>
            </a:r>
            <a:br>
              <a:rPr lang="en-US"/>
            </a:br>
            <a:r>
              <a:rPr lang="en-US"/>
              <a:t>title style</a:t>
            </a:r>
            <a:endParaRPr lang="en-IN"/>
          </a:p>
        </p:txBody>
      </p:sp>
      <p:sp>
        <p:nvSpPr>
          <p:cNvPr id="15" name="Text Placeholder 35">
            <a:extLst>
              <a:ext uri="{FF2B5EF4-FFF2-40B4-BE49-F238E27FC236}">
                <a16:creationId xmlns:a16="http://schemas.microsoft.com/office/drawing/2014/main" id="{6D842BAE-F635-E1FA-074C-9568B938C086}"/>
              </a:ext>
            </a:extLst>
          </p:cNvPr>
          <p:cNvSpPr>
            <a:spLocks noGrp="1"/>
          </p:cNvSpPr>
          <p:nvPr>
            <p:ph type="body" sz="quarter" idx="17" hasCustomPrompt="1"/>
          </p:nvPr>
        </p:nvSpPr>
        <p:spPr>
          <a:xfrm>
            <a:off x="588263" y="2524791"/>
            <a:ext cx="4956194" cy="2315908"/>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AF0ECC05-D125-EBB5-9F6F-B54AD0211121}"/>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8647155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9EEEA00-6DD8-3183-198E-E88E291C98DC}"/>
              </a:ext>
            </a:extLst>
          </p:cNvPr>
          <p:cNvGrpSpPr>
            <a:grpSpLocks/>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410CB63-C818-178E-8BE9-4183692F78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5126FCF-4068-A91F-598F-05CADEB3517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pic>
        <p:nvPicPr>
          <p:cNvPr id="6" name="Picture 5">
            <a:extLst>
              <a:ext uri="{FF2B5EF4-FFF2-40B4-BE49-F238E27FC236}">
                <a16:creationId xmlns:a16="http://schemas.microsoft.com/office/drawing/2014/main" id="{26CDB4C5-AFDE-6E57-64B4-7CB5198ED2E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3057" cy="2260599"/>
          </a:xfrm>
          <a:prstGeom prst="rect">
            <a:avLst/>
          </a:prstGeom>
        </p:spPr>
      </p:pic>
      <p:sp>
        <p:nvSpPr>
          <p:cNvPr id="45" name="Title 1">
            <a:extLst>
              <a:ext uri="{FF2B5EF4-FFF2-40B4-BE49-F238E27FC236}">
                <a16:creationId xmlns:a16="http://schemas.microsoft.com/office/drawing/2014/main" id="{A8F68F57-CC85-E97D-51BA-FA3977F1177C}"/>
              </a:ext>
            </a:extLst>
          </p:cNvPr>
          <p:cNvSpPr>
            <a:spLocks noGrp="1"/>
          </p:cNvSpPr>
          <p:nvPr>
            <p:ph type="title"/>
          </p:nvPr>
        </p:nvSpPr>
        <p:spPr>
          <a:xfrm>
            <a:off x="588263" y="689088"/>
            <a:ext cx="11018520" cy="553998"/>
          </a:xfrm>
        </p:spPr>
        <p:txBody>
          <a:bodyPr vert="horz" wrap="square" lIns="0" tIns="0" rIns="0" bIns="0" rtlCol="0" anchor="t">
            <a:spAutoFit/>
          </a:bodyPr>
          <a:lstStyle>
            <a:lvl1pPr marL="0" indent="0" algn="ctr">
              <a:buFont typeface="Arial" panose="020B0604020202020204" pitchFamily="34" charset="0"/>
              <a:buNone/>
              <a:defRPr lang="en-IN" dirty="0">
                <a:solidFill>
                  <a:schemeClr val="bg1"/>
                </a:solidFill>
              </a:defRPr>
            </a:lvl1pPr>
          </a:lstStyle>
          <a:p>
            <a:pPr marL="0" lvl="0"/>
            <a:r>
              <a:rPr lang="en-US"/>
              <a:t>Click to edit Master title style</a:t>
            </a:r>
            <a:endParaRPr lang="en-IN"/>
          </a:p>
        </p:txBody>
      </p:sp>
      <p:sp>
        <p:nvSpPr>
          <p:cNvPr id="46" name="Text Placeholder 35">
            <a:extLst>
              <a:ext uri="{FF2B5EF4-FFF2-40B4-BE49-F238E27FC236}">
                <a16:creationId xmlns:a16="http://schemas.microsoft.com/office/drawing/2014/main" id="{3EA6BE74-7C2D-8650-BB5D-BC4485EBBD82}"/>
              </a:ext>
            </a:extLst>
          </p:cNvPr>
          <p:cNvSpPr>
            <a:spLocks noGrp="1"/>
          </p:cNvSpPr>
          <p:nvPr>
            <p:ph type="body" sz="quarter" idx="20" hasCustomPrompt="1"/>
          </p:nvPr>
        </p:nvSpPr>
        <p:spPr>
          <a:xfrm>
            <a:off x="1979038" y="272534"/>
            <a:ext cx="8233924" cy="307777"/>
          </a:xfrm>
          <a:noFill/>
        </p:spPr>
        <p:txBody>
          <a:bodyPr wrap="square">
            <a:spAutoFit/>
          </a:bodyPr>
          <a:lstStyle>
            <a:lvl1pPr marL="0" indent="0" algn="ctr">
              <a:buFont typeface="Arial" panose="020B0604020202020204" pitchFamily="34" charset="0"/>
              <a:buNone/>
              <a:defRPr lang="en-US" sz="2000" dirty="0" smtClean="0">
                <a:solidFill>
                  <a:schemeClr val="bg1"/>
                </a:solidFill>
                <a:latin typeface="+mj-lt"/>
                <a:cs typeface="+mn-cs"/>
              </a:defRPr>
            </a:lvl1pPr>
          </a:lstStyle>
          <a:p>
            <a:pPr marL="0" lvl="0" algn="ctr" defTabSz="914400"/>
            <a:r>
              <a:rPr lang="en-US"/>
              <a:t>Trend Slide 1</a:t>
            </a:r>
          </a:p>
        </p:txBody>
      </p:sp>
      <p:sp>
        <p:nvSpPr>
          <p:cNvPr id="47" name="Text Placeholder 35">
            <a:extLst>
              <a:ext uri="{FF2B5EF4-FFF2-40B4-BE49-F238E27FC236}">
                <a16:creationId xmlns:a16="http://schemas.microsoft.com/office/drawing/2014/main" id="{E81F63D5-E1F2-C2B7-EFD0-97ED19DE6872}"/>
              </a:ext>
            </a:extLst>
          </p:cNvPr>
          <p:cNvSpPr>
            <a:spLocks noGrp="1"/>
          </p:cNvSpPr>
          <p:nvPr>
            <p:ph type="body" sz="quarter" idx="21" hasCustomPrompt="1"/>
          </p:nvPr>
        </p:nvSpPr>
        <p:spPr>
          <a:xfrm>
            <a:off x="585217" y="1383945"/>
            <a:ext cx="11021566" cy="369332"/>
          </a:xfrm>
          <a:noFill/>
        </p:spPr>
        <p:txBody>
          <a:bodyPr wrap="square" lIns="0" tIns="0" rIns="0" bIns="0" anchor="ctr">
            <a:spAutoFit/>
          </a:bodyPr>
          <a:lstStyle>
            <a:lvl1pPr marL="0" indent="0" algn="ctr">
              <a:buFont typeface="Arial" panose="020B0604020202020204" pitchFamily="34" charset="0"/>
              <a:buNone/>
              <a:defRPr lang="en-US" sz="2400" spc="-50" dirty="0" smtClean="0">
                <a:ln w="3175">
                  <a:noFill/>
                </a:ln>
                <a:solidFill>
                  <a:schemeClr val="accent1">
                    <a:lumMod val="60000"/>
                    <a:lumOff val="40000"/>
                  </a:schemeClr>
                </a:solidFill>
                <a:latin typeface="+mj-lt"/>
              </a:defRPr>
            </a:lvl1pPr>
          </a:lstStyle>
          <a:p>
            <a:pPr marL="0" lvl="0" algn="ctr">
              <a:spcBef>
                <a:spcPct val="0"/>
              </a:spcBef>
            </a:pPr>
            <a:r>
              <a:rPr lang="en-US"/>
              <a:t>Click to add Sub-Title</a:t>
            </a:r>
          </a:p>
        </p:txBody>
      </p:sp>
      <p:sp>
        <p:nvSpPr>
          <p:cNvPr id="52" name="Rectangle: Top Corners Rounded 51">
            <a:extLst>
              <a:ext uri="{FF2B5EF4-FFF2-40B4-BE49-F238E27FC236}">
                <a16:creationId xmlns:a16="http://schemas.microsoft.com/office/drawing/2014/main" id="{015E33D0-9CB3-71E7-07EF-35399DDE2664}"/>
              </a:ext>
            </a:extLst>
          </p:cNvPr>
          <p:cNvSpPr/>
          <p:nvPr userDrawn="1"/>
        </p:nvSpPr>
        <p:spPr bwMode="auto">
          <a:xfrm>
            <a:off x="588263"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2" name="Rectangle: Top Corners Rounded 61">
            <a:extLst>
              <a:ext uri="{FF2B5EF4-FFF2-40B4-BE49-F238E27FC236}">
                <a16:creationId xmlns:a16="http://schemas.microsoft.com/office/drawing/2014/main" id="{F516416A-46E9-6D18-2A99-BE4C32522C7D}"/>
              </a:ext>
            </a:extLst>
          </p:cNvPr>
          <p:cNvSpPr/>
          <p:nvPr userDrawn="1"/>
        </p:nvSpPr>
        <p:spPr bwMode="auto">
          <a:xfrm>
            <a:off x="3372859"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53" name="Rectangle: Top Corners Rounded 52">
            <a:extLst>
              <a:ext uri="{FF2B5EF4-FFF2-40B4-BE49-F238E27FC236}">
                <a16:creationId xmlns:a16="http://schemas.microsoft.com/office/drawing/2014/main" id="{A525E633-6C6B-F685-6744-2288E29E8511}"/>
              </a:ext>
            </a:extLst>
          </p:cNvPr>
          <p:cNvSpPr/>
          <p:nvPr userDrawn="1"/>
        </p:nvSpPr>
        <p:spPr bwMode="auto">
          <a:xfrm>
            <a:off x="6157455"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7" name="Rectangle: Top Corners Rounded 66">
            <a:extLst>
              <a:ext uri="{FF2B5EF4-FFF2-40B4-BE49-F238E27FC236}">
                <a16:creationId xmlns:a16="http://schemas.microsoft.com/office/drawing/2014/main" id="{DD822E76-C484-70A5-0933-BA8E570BDBB6}"/>
              </a:ext>
            </a:extLst>
          </p:cNvPr>
          <p:cNvSpPr/>
          <p:nvPr userDrawn="1"/>
        </p:nvSpPr>
        <p:spPr bwMode="auto">
          <a:xfrm>
            <a:off x="8942051"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27" name="Straight Connector 26">
            <a:extLst>
              <a:ext uri="{FF2B5EF4-FFF2-40B4-BE49-F238E27FC236}">
                <a16:creationId xmlns:a16="http://schemas.microsoft.com/office/drawing/2014/main" id="{C70B1A86-E066-D2E5-1484-3B8BFC53338B}"/>
              </a:ext>
            </a:extLst>
          </p:cNvPr>
          <p:cNvCxnSpPr>
            <a:cxnSpLocks/>
          </p:cNvCxnSpPr>
          <p:nvPr userDrawn="1"/>
        </p:nvCxnSpPr>
        <p:spPr>
          <a:xfrm rot="5400000">
            <a:off x="2461412"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E96A8E6-B398-63FC-4E54-256E905746DE}"/>
              </a:ext>
            </a:extLst>
          </p:cNvPr>
          <p:cNvCxnSpPr>
            <a:cxnSpLocks/>
          </p:cNvCxnSpPr>
          <p:nvPr userDrawn="1"/>
        </p:nvCxnSpPr>
        <p:spPr>
          <a:xfrm rot="5400000">
            <a:off x="5246008"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27571C2-8AD8-5B49-8187-ACDD79DE6F2C}"/>
              </a:ext>
            </a:extLst>
          </p:cNvPr>
          <p:cNvCxnSpPr>
            <a:cxnSpLocks/>
          </p:cNvCxnSpPr>
          <p:nvPr userDrawn="1"/>
        </p:nvCxnSpPr>
        <p:spPr>
          <a:xfrm rot="5400000">
            <a:off x="8030604"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Picture Placeholder 58">
            <a:extLst>
              <a:ext uri="{FF2B5EF4-FFF2-40B4-BE49-F238E27FC236}">
                <a16:creationId xmlns:a16="http://schemas.microsoft.com/office/drawing/2014/main" id="{D64E7B78-B3CC-E403-6412-D842CAE98E11}"/>
              </a:ext>
            </a:extLst>
          </p:cNvPr>
          <p:cNvSpPr>
            <a:spLocks noGrp="1"/>
          </p:cNvSpPr>
          <p:nvPr>
            <p:ph type="pic" sz="quarter" idx="22"/>
          </p:nvPr>
        </p:nvSpPr>
        <p:spPr>
          <a:xfrm>
            <a:off x="58488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10" name="Text Placeholder 35">
            <a:extLst>
              <a:ext uri="{FF2B5EF4-FFF2-40B4-BE49-F238E27FC236}">
                <a16:creationId xmlns:a16="http://schemas.microsoft.com/office/drawing/2014/main" id="{C3A0A114-2D28-96E7-B5D9-8616F6A84B01}"/>
              </a:ext>
            </a:extLst>
          </p:cNvPr>
          <p:cNvSpPr>
            <a:spLocks noGrp="1"/>
          </p:cNvSpPr>
          <p:nvPr>
            <p:ph type="body" sz="quarter" idx="13" hasCustomPrompt="1"/>
          </p:nvPr>
        </p:nvSpPr>
        <p:spPr>
          <a:xfrm>
            <a:off x="73660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5A6A92F1-597A-C3B8-BEDB-4F9BE3267DC1}"/>
              </a:ext>
            </a:extLst>
          </p:cNvPr>
          <p:cNvSpPr>
            <a:spLocks noGrp="1"/>
          </p:cNvSpPr>
          <p:nvPr>
            <p:ph type="body" sz="quarter" idx="12" hasCustomPrompt="1"/>
          </p:nvPr>
        </p:nvSpPr>
        <p:spPr>
          <a:xfrm>
            <a:off x="73660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9" name="Picture Placeholder 58">
            <a:extLst>
              <a:ext uri="{FF2B5EF4-FFF2-40B4-BE49-F238E27FC236}">
                <a16:creationId xmlns:a16="http://schemas.microsoft.com/office/drawing/2014/main" id="{CBC51414-C0E7-F0EC-58D1-4162E4999469}"/>
              </a:ext>
            </a:extLst>
          </p:cNvPr>
          <p:cNvSpPr>
            <a:spLocks noGrp="1"/>
          </p:cNvSpPr>
          <p:nvPr>
            <p:ph type="pic" sz="quarter" idx="23"/>
          </p:nvPr>
        </p:nvSpPr>
        <p:spPr>
          <a:xfrm>
            <a:off x="3372860"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9" name="Text Placeholder 35">
            <a:extLst>
              <a:ext uri="{FF2B5EF4-FFF2-40B4-BE49-F238E27FC236}">
                <a16:creationId xmlns:a16="http://schemas.microsoft.com/office/drawing/2014/main" id="{E320E03D-6EA3-69BC-1093-C06CF5328A2E}"/>
              </a:ext>
            </a:extLst>
          </p:cNvPr>
          <p:cNvSpPr>
            <a:spLocks noGrp="1"/>
          </p:cNvSpPr>
          <p:nvPr>
            <p:ph type="body" sz="quarter" idx="15" hasCustomPrompt="1"/>
          </p:nvPr>
        </p:nvSpPr>
        <p:spPr>
          <a:xfrm>
            <a:off x="352119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869D9A75-5C50-59D7-AD16-91379D6E8321}"/>
              </a:ext>
            </a:extLst>
          </p:cNvPr>
          <p:cNvSpPr>
            <a:spLocks noGrp="1"/>
          </p:cNvSpPr>
          <p:nvPr>
            <p:ph type="body" sz="quarter" idx="14" hasCustomPrompt="1"/>
          </p:nvPr>
        </p:nvSpPr>
        <p:spPr>
          <a:xfrm>
            <a:off x="352119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0" name="Picture Placeholder 58">
            <a:extLst>
              <a:ext uri="{FF2B5EF4-FFF2-40B4-BE49-F238E27FC236}">
                <a16:creationId xmlns:a16="http://schemas.microsoft.com/office/drawing/2014/main" id="{8DF92374-5BD4-3F76-B7F0-F2E8936D4C27}"/>
              </a:ext>
            </a:extLst>
          </p:cNvPr>
          <p:cNvSpPr>
            <a:spLocks noGrp="1"/>
          </p:cNvSpPr>
          <p:nvPr>
            <p:ph type="pic" sz="quarter" idx="24"/>
          </p:nvPr>
        </p:nvSpPr>
        <p:spPr>
          <a:xfrm>
            <a:off x="6157456"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81" name="Text Placeholder 35">
            <a:extLst>
              <a:ext uri="{FF2B5EF4-FFF2-40B4-BE49-F238E27FC236}">
                <a16:creationId xmlns:a16="http://schemas.microsoft.com/office/drawing/2014/main" id="{3FEF280E-2EA3-C2B2-3451-4F54C000567B}"/>
              </a:ext>
            </a:extLst>
          </p:cNvPr>
          <p:cNvSpPr>
            <a:spLocks noGrp="1"/>
          </p:cNvSpPr>
          <p:nvPr>
            <p:ph type="body" sz="quarter" idx="17" hasCustomPrompt="1"/>
          </p:nvPr>
        </p:nvSpPr>
        <p:spPr>
          <a:xfrm>
            <a:off x="630579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0DCBBEBE-FDFE-9251-43CA-DDFF404186BE}"/>
              </a:ext>
            </a:extLst>
          </p:cNvPr>
          <p:cNvSpPr>
            <a:spLocks noGrp="1"/>
          </p:cNvSpPr>
          <p:nvPr>
            <p:ph type="body" sz="quarter" idx="16" hasCustomPrompt="1"/>
          </p:nvPr>
        </p:nvSpPr>
        <p:spPr>
          <a:xfrm>
            <a:off x="630579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Picture Placeholder 58">
            <a:extLst>
              <a:ext uri="{FF2B5EF4-FFF2-40B4-BE49-F238E27FC236}">
                <a16:creationId xmlns:a16="http://schemas.microsoft.com/office/drawing/2014/main" id="{3710FC84-64E2-2472-B19C-432550BBF82E}"/>
              </a:ext>
            </a:extLst>
          </p:cNvPr>
          <p:cNvSpPr>
            <a:spLocks noGrp="1"/>
          </p:cNvSpPr>
          <p:nvPr>
            <p:ph type="pic" sz="quarter" idx="25"/>
          </p:nvPr>
        </p:nvSpPr>
        <p:spPr>
          <a:xfrm>
            <a:off x="894205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92" name="Text Placeholder 35">
            <a:extLst>
              <a:ext uri="{FF2B5EF4-FFF2-40B4-BE49-F238E27FC236}">
                <a16:creationId xmlns:a16="http://schemas.microsoft.com/office/drawing/2014/main" id="{892EBCBB-B547-BE6C-98F0-452AB31DB7E9}"/>
              </a:ext>
            </a:extLst>
          </p:cNvPr>
          <p:cNvSpPr>
            <a:spLocks noGrp="1"/>
          </p:cNvSpPr>
          <p:nvPr>
            <p:ph type="body" sz="quarter" idx="19" hasCustomPrompt="1"/>
          </p:nvPr>
        </p:nvSpPr>
        <p:spPr>
          <a:xfrm>
            <a:off x="909038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3" name="Text Placeholder 35">
            <a:extLst>
              <a:ext uri="{FF2B5EF4-FFF2-40B4-BE49-F238E27FC236}">
                <a16:creationId xmlns:a16="http://schemas.microsoft.com/office/drawing/2014/main" id="{21446E10-2A13-C2BF-12D0-F0DD73232ECA}"/>
              </a:ext>
            </a:extLst>
          </p:cNvPr>
          <p:cNvSpPr>
            <a:spLocks noGrp="1"/>
          </p:cNvSpPr>
          <p:nvPr>
            <p:ph type="body" sz="quarter" idx="18" hasCustomPrompt="1"/>
          </p:nvPr>
        </p:nvSpPr>
        <p:spPr>
          <a:xfrm>
            <a:off x="909038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23603661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image column ">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4EC2CB-26E0-838D-281D-D36B9926DD21}"/>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3" name="Picture 2" descr="A picture containing white, design, black and white, art&#10;&#10;Description automatically generated">
              <a:extLst>
                <a:ext uri="{FF2B5EF4-FFF2-40B4-BE49-F238E27FC236}">
                  <a16:creationId xmlns:a16="http://schemas.microsoft.com/office/drawing/2014/main" id="{B66E51A6-2C77-CBDE-30CF-3288A9DFEF6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81E00A48-E90F-1BBC-7564-65F0D116A410}"/>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grpSp>
        <p:nvGrpSpPr>
          <p:cNvPr id="30" name="Group 29">
            <a:extLst>
              <a:ext uri="{FF2B5EF4-FFF2-40B4-BE49-F238E27FC236}">
                <a16:creationId xmlns:a16="http://schemas.microsoft.com/office/drawing/2014/main" id="{58248E6C-99AA-E510-38A2-3CD8E19968B0}"/>
              </a:ext>
              <a:ext uri="{C183D7F6-B498-43B3-948B-1728B52AA6E4}">
                <adec:decorative xmlns:adec="http://schemas.microsoft.com/office/drawing/2017/decorative" val="1"/>
              </a:ext>
            </a:extLst>
          </p:cNvPr>
          <p:cNvGrpSpPr/>
          <p:nvPr userDrawn="1"/>
        </p:nvGrpSpPr>
        <p:grpSpPr>
          <a:xfrm>
            <a:off x="6382614" y="1436914"/>
            <a:ext cx="5078970" cy="4814502"/>
            <a:chOff x="6382614" y="1436914"/>
            <a:chExt cx="5078970" cy="4814502"/>
          </a:xfrm>
        </p:grpSpPr>
        <p:sp>
          <p:nvSpPr>
            <p:cNvPr id="31" name="Rectangle: Rounded Corners 30">
              <a:extLst>
                <a:ext uri="{FF2B5EF4-FFF2-40B4-BE49-F238E27FC236}">
                  <a16:creationId xmlns:a16="http://schemas.microsoft.com/office/drawing/2014/main" id="{FCE38734-426D-0ED8-3A79-9F9028F23048}"/>
                </a:ext>
              </a:extLst>
            </p:cNvPr>
            <p:cNvSpPr/>
            <p:nvPr/>
          </p:nvSpPr>
          <p:spPr bwMode="auto">
            <a:xfrm>
              <a:off x="6382614" y="1436914"/>
              <a:ext cx="5078970" cy="4814502"/>
            </a:xfrm>
            <a:prstGeom prst="roundRect">
              <a:avLst>
                <a:gd name="adj" fmla="val 6115"/>
              </a:avLst>
            </a:pr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32" name="Freeform: Shape 31">
              <a:extLst>
                <a:ext uri="{FF2B5EF4-FFF2-40B4-BE49-F238E27FC236}">
                  <a16:creationId xmlns:a16="http://schemas.microsoft.com/office/drawing/2014/main" id="{1CCFDD57-80EA-78F4-6A4C-59036833139C}"/>
                </a:ext>
              </a:extLst>
            </p:cNvPr>
            <p:cNvSpPr/>
            <p:nvPr/>
          </p:nvSpPr>
          <p:spPr>
            <a:xfrm>
              <a:off x="6675486" y="5513378"/>
              <a:ext cx="4786098" cy="738038"/>
            </a:xfrm>
            <a:custGeom>
              <a:avLst/>
              <a:gdLst>
                <a:gd name="connsiteX0" fmla="*/ 3994328 w 4786098"/>
                <a:gd name="connsiteY0" fmla="*/ 828 h 738038"/>
                <a:gd name="connsiteX1" fmla="*/ 4771446 w 4786098"/>
                <a:gd name="connsiteY1" fmla="*/ 43171 h 738038"/>
                <a:gd name="connsiteX2" fmla="*/ 4786098 w 4786098"/>
                <a:gd name="connsiteY2" fmla="*/ 45639 h 738038"/>
                <a:gd name="connsiteX3" fmla="*/ 4786098 w 4786098"/>
                <a:gd name="connsiteY3" fmla="*/ 443631 h 738038"/>
                <a:gd name="connsiteX4" fmla="*/ 4491691 w 4786098"/>
                <a:gd name="connsiteY4" fmla="*/ 738038 h 738038"/>
                <a:gd name="connsiteX5" fmla="*/ 1535 w 4786098"/>
                <a:gd name="connsiteY5" fmla="*/ 738038 h 738038"/>
                <a:gd name="connsiteX6" fmla="*/ 0 w 4786098"/>
                <a:gd name="connsiteY6" fmla="*/ 737883 h 738038"/>
                <a:gd name="connsiteX7" fmla="*/ 108734 w 4786098"/>
                <a:gd name="connsiteY7" fmla="*/ 718355 h 738038"/>
                <a:gd name="connsiteX8" fmla="*/ 3994328 w 4786098"/>
                <a:gd name="connsiteY8" fmla="*/ 828 h 73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6098" h="738038">
                  <a:moveTo>
                    <a:pt x="3994328" y="828"/>
                  </a:moveTo>
                  <a:cubicBezTo>
                    <a:pt x="4253367" y="-3508"/>
                    <a:pt x="4512407" y="8981"/>
                    <a:pt x="4771446" y="43171"/>
                  </a:cubicBezTo>
                  <a:lnTo>
                    <a:pt x="4786098" y="45639"/>
                  </a:lnTo>
                  <a:lnTo>
                    <a:pt x="4786098" y="443631"/>
                  </a:lnTo>
                  <a:cubicBezTo>
                    <a:pt x="4786098" y="606227"/>
                    <a:pt x="4654287" y="738038"/>
                    <a:pt x="4491691" y="738038"/>
                  </a:cubicBezTo>
                  <a:lnTo>
                    <a:pt x="1535" y="738038"/>
                  </a:lnTo>
                  <a:lnTo>
                    <a:pt x="0" y="737883"/>
                  </a:lnTo>
                  <a:lnTo>
                    <a:pt x="108734" y="718355"/>
                  </a:lnTo>
                  <a:cubicBezTo>
                    <a:pt x="1403933" y="464830"/>
                    <a:pt x="2699131" y="22509"/>
                    <a:pt x="3994328" y="828"/>
                  </a:cubicBezTo>
                  <a:close/>
                </a:path>
              </a:pathLst>
            </a:cu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grpSp>
      <p:sp>
        <p:nvSpPr>
          <p:cNvPr id="37" name="Rectangle: Rounded Corners 36">
            <a:extLst>
              <a:ext uri="{FF2B5EF4-FFF2-40B4-BE49-F238E27FC236}">
                <a16:creationId xmlns:a16="http://schemas.microsoft.com/office/drawing/2014/main" id="{3F8123F8-C840-5D2E-AE49-E34B12896F3E}"/>
              </a:ext>
              <a:ext uri="{C183D7F6-B498-43B3-948B-1728B52AA6E4}">
                <adec:decorative xmlns:adec="http://schemas.microsoft.com/office/drawing/2017/decorative" val="1"/>
              </a:ext>
            </a:extLst>
          </p:cNvPr>
          <p:cNvSpPr/>
          <p:nvPr/>
        </p:nvSpPr>
        <p:spPr bwMode="auto">
          <a:xfrm>
            <a:off x="730416" y="1436914"/>
            <a:ext cx="5078970" cy="4814502"/>
          </a:xfrm>
          <a:prstGeom prst="roundRect">
            <a:avLst>
              <a:gd name="adj" fmla="val 6115"/>
            </a:avLst>
          </a:pr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41" name="Title 1">
            <a:extLst>
              <a:ext uri="{FF2B5EF4-FFF2-40B4-BE49-F238E27FC236}">
                <a16:creationId xmlns:a16="http://schemas.microsoft.com/office/drawing/2014/main" id="{3A364C66-F2F2-7ED6-AD89-B461860AD712}"/>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6" name="Picture Placeholder 58">
            <a:extLst>
              <a:ext uri="{FF2B5EF4-FFF2-40B4-BE49-F238E27FC236}">
                <a16:creationId xmlns:a16="http://schemas.microsoft.com/office/drawing/2014/main" id="{6F42540E-2FD6-C490-AF68-0264B1403170}"/>
              </a:ext>
            </a:extLst>
          </p:cNvPr>
          <p:cNvSpPr>
            <a:spLocks noGrp="1"/>
          </p:cNvSpPr>
          <p:nvPr>
            <p:ph type="pic" sz="quarter" idx="22"/>
          </p:nvPr>
        </p:nvSpPr>
        <p:spPr>
          <a:xfrm>
            <a:off x="868326"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8" name="Freeform: Shape 37">
            <a:extLst>
              <a:ext uri="{FF2B5EF4-FFF2-40B4-BE49-F238E27FC236}">
                <a16:creationId xmlns:a16="http://schemas.microsoft.com/office/drawing/2014/main" id="{809960D3-6882-8060-F9E5-AD5EE9BB4FE1}"/>
              </a:ext>
            </a:extLst>
          </p:cNvPr>
          <p:cNvSpPr/>
          <p:nvPr/>
        </p:nvSpPr>
        <p:spPr>
          <a:xfrm>
            <a:off x="730417" y="5074771"/>
            <a:ext cx="3122875" cy="1176645"/>
          </a:xfrm>
          <a:custGeom>
            <a:avLst/>
            <a:gdLst>
              <a:gd name="connsiteX0" fmla="*/ 0 w 3122875"/>
              <a:gd name="connsiteY0" fmla="*/ 0 h 1176645"/>
              <a:gd name="connsiteX1" fmla="*/ 4063 w 3122875"/>
              <a:gd name="connsiteY1" fmla="*/ 2144 h 1176645"/>
              <a:gd name="connsiteX2" fmla="*/ 2961517 w 3122875"/>
              <a:gd name="connsiteY2" fmla="*/ 1143684 h 1176645"/>
              <a:gd name="connsiteX3" fmla="*/ 3122875 w 3122875"/>
              <a:gd name="connsiteY3" fmla="*/ 1176645 h 1176645"/>
              <a:gd name="connsiteX4" fmla="*/ 294407 w 3122875"/>
              <a:gd name="connsiteY4" fmla="*/ 1176645 h 1176645"/>
              <a:gd name="connsiteX5" fmla="*/ 0 w 3122875"/>
              <a:gd name="connsiteY5" fmla="*/ 882238 h 117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2875" h="1176645">
                <a:moveTo>
                  <a:pt x="0" y="0"/>
                </a:moveTo>
                <a:lnTo>
                  <a:pt x="4063" y="2144"/>
                </a:lnTo>
                <a:cubicBezTo>
                  <a:pt x="784977" y="407445"/>
                  <a:pt x="1832267" y="885636"/>
                  <a:pt x="2961517" y="1143684"/>
                </a:cubicBezTo>
                <a:lnTo>
                  <a:pt x="3122875" y="1176645"/>
                </a:lnTo>
                <a:lnTo>
                  <a:pt x="294407" y="1176645"/>
                </a:lnTo>
                <a:cubicBezTo>
                  <a:pt x="131811" y="1176645"/>
                  <a:pt x="0" y="1044834"/>
                  <a:pt x="0" y="882238"/>
                </a:cubicBezTo>
                <a:close/>
              </a:path>
            </a:pathLst>
          </a:custGeom>
          <a:solidFill>
            <a:schemeClr val="bg1">
              <a:alpha val="85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42" name="Text Placeholder 35">
            <a:extLst>
              <a:ext uri="{FF2B5EF4-FFF2-40B4-BE49-F238E27FC236}">
                <a16:creationId xmlns:a16="http://schemas.microsoft.com/office/drawing/2014/main" id="{B82003D2-4F94-EC37-ADE3-F98824F7CD22}"/>
              </a:ext>
            </a:extLst>
          </p:cNvPr>
          <p:cNvSpPr>
            <a:spLocks noGrp="1"/>
          </p:cNvSpPr>
          <p:nvPr>
            <p:ph type="body" sz="quarter" idx="15" hasCustomPrompt="1"/>
          </p:nvPr>
        </p:nvSpPr>
        <p:spPr>
          <a:xfrm>
            <a:off x="977203"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F294D14F-0E98-E60C-3614-5F2987D415B8}"/>
              </a:ext>
            </a:extLst>
          </p:cNvPr>
          <p:cNvSpPr>
            <a:spLocks noGrp="1"/>
          </p:cNvSpPr>
          <p:nvPr>
            <p:ph type="body" sz="quarter" idx="17" hasCustomPrompt="1"/>
          </p:nvPr>
        </p:nvSpPr>
        <p:spPr>
          <a:xfrm>
            <a:off x="977202"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Picture Placeholder 58">
            <a:extLst>
              <a:ext uri="{FF2B5EF4-FFF2-40B4-BE49-F238E27FC236}">
                <a16:creationId xmlns:a16="http://schemas.microsoft.com/office/drawing/2014/main" id="{21AAEE46-56E1-C4CA-4F97-0165AA54E121}"/>
              </a:ext>
            </a:extLst>
          </p:cNvPr>
          <p:cNvSpPr>
            <a:spLocks noGrp="1"/>
          </p:cNvSpPr>
          <p:nvPr>
            <p:ph type="pic" sz="quarter" idx="23"/>
          </p:nvPr>
        </p:nvSpPr>
        <p:spPr>
          <a:xfrm>
            <a:off x="6520524"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44" name="Text Placeholder 35">
            <a:extLst>
              <a:ext uri="{FF2B5EF4-FFF2-40B4-BE49-F238E27FC236}">
                <a16:creationId xmlns:a16="http://schemas.microsoft.com/office/drawing/2014/main" id="{7701A668-AB3D-F9C3-BB8D-8DCD15F95434}"/>
              </a:ext>
            </a:extLst>
          </p:cNvPr>
          <p:cNvSpPr>
            <a:spLocks noGrp="1"/>
          </p:cNvSpPr>
          <p:nvPr>
            <p:ph type="body" sz="quarter" idx="18" hasCustomPrompt="1"/>
          </p:nvPr>
        </p:nvSpPr>
        <p:spPr>
          <a:xfrm>
            <a:off x="6629400"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5" name="Text Placeholder 35">
            <a:extLst>
              <a:ext uri="{FF2B5EF4-FFF2-40B4-BE49-F238E27FC236}">
                <a16:creationId xmlns:a16="http://schemas.microsoft.com/office/drawing/2014/main" id="{CE5E7A5E-5F91-2C48-0FC9-3170F3EF23D0}"/>
              </a:ext>
            </a:extLst>
          </p:cNvPr>
          <p:cNvSpPr>
            <a:spLocks noGrp="1"/>
          </p:cNvSpPr>
          <p:nvPr>
            <p:ph type="body" sz="quarter" idx="19" hasCustomPrompt="1"/>
          </p:nvPr>
        </p:nvSpPr>
        <p:spPr>
          <a:xfrm>
            <a:off x="6629401"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10894054"/>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with side imag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141DCFA-8E14-4BE5-3DCD-5CE2050DF9F2}"/>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7" name="Picture 6" descr="A picture containing white, design, black and white, art&#10;&#10;Description automatically generated">
              <a:extLst>
                <a:ext uri="{FF2B5EF4-FFF2-40B4-BE49-F238E27FC236}">
                  <a16:creationId xmlns:a16="http://schemas.microsoft.com/office/drawing/2014/main" id="{CB994314-A532-F312-1BE5-F9160CF7CF5F}"/>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09BBA7C8-2451-9A1A-039E-90CF61ADB697}"/>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4" name="Title 1">
            <a:extLst>
              <a:ext uri="{FF2B5EF4-FFF2-40B4-BE49-F238E27FC236}">
                <a16:creationId xmlns:a16="http://schemas.microsoft.com/office/drawing/2014/main" id="{A2BDFBE3-3EB5-E673-EB34-F138016BAD44}"/>
              </a:ext>
            </a:extLst>
          </p:cNvPr>
          <p:cNvSpPr>
            <a:spLocks noGrp="1"/>
          </p:cNvSpPr>
          <p:nvPr>
            <p:ph type="title" hasCustomPrompt="1"/>
          </p:nvPr>
        </p:nvSpPr>
        <p:spPr>
          <a:xfrm>
            <a:off x="588263" y="2813445"/>
            <a:ext cx="4956194" cy="1107996"/>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a:t>
            </a:r>
            <a:br>
              <a:rPr lang="en-US"/>
            </a:br>
            <a:r>
              <a:rPr lang="en-US"/>
              <a:t>title style</a:t>
            </a:r>
            <a:endParaRPr lang="en-IN"/>
          </a:p>
        </p:txBody>
      </p:sp>
      <p:sp>
        <p:nvSpPr>
          <p:cNvPr id="13" name="Picture Placeholder 58">
            <a:extLst>
              <a:ext uri="{FF2B5EF4-FFF2-40B4-BE49-F238E27FC236}">
                <a16:creationId xmlns:a16="http://schemas.microsoft.com/office/drawing/2014/main" id="{DE3E332F-F429-153C-AF0F-1F8899F9BF4F}"/>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96369124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Quote slide with circle imag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D532587-F3C3-A3DE-2FB8-B28FFDA0AF89}"/>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5" name="Picture 4" descr="A picture containing white, design, black and white, art&#10;&#10;Description automatically generated">
              <a:extLst>
                <a:ext uri="{FF2B5EF4-FFF2-40B4-BE49-F238E27FC236}">
                  <a16:creationId xmlns:a16="http://schemas.microsoft.com/office/drawing/2014/main" id="{6BAD7D92-7633-6626-8133-21F7DECC3A6D}"/>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B289AED-6565-ECD5-342F-0E7F6E593BE6}"/>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4" name="Rectangle 3">
            <a:extLst>
              <a:ext uri="{FF2B5EF4-FFF2-40B4-BE49-F238E27FC236}">
                <a16:creationId xmlns:a16="http://schemas.microsoft.com/office/drawing/2014/main" id="{AFA12B46-E85B-12F4-A5F1-278AFFBF05D9}"/>
              </a:ext>
              <a:ext uri="{C183D7F6-B498-43B3-948B-1728B52AA6E4}">
                <adec:decorative xmlns:adec="http://schemas.microsoft.com/office/drawing/2017/decorative" val="1"/>
              </a:ext>
            </a:extLst>
          </p:cNvPr>
          <p:cNvSpPr/>
          <p:nvPr userDrawn="1"/>
        </p:nvSpPr>
        <p:spPr bwMode="auto">
          <a:xfrm rot="5400000" flipV="1">
            <a:off x="223839" y="360365"/>
            <a:ext cx="2017712" cy="1296988"/>
          </a:xfrm>
          <a:prstGeom prst="rect">
            <a:avLst/>
          </a:prstGeom>
          <a:gradFill>
            <a:gsLst>
              <a:gs pos="16000">
                <a:schemeClr val="bg1">
                  <a:alpha val="0"/>
                </a:schemeClr>
              </a:gs>
              <a:gs pos="84000">
                <a:schemeClr val="bg1"/>
              </a:gs>
            </a:gsLst>
            <a:lin ang="10800000" scaled="1"/>
          </a:gradFill>
          <a:ln>
            <a:noFill/>
            <a:headEnd type="none" w="med" len="med"/>
            <a:tailEnd type="none" w="med" len="med"/>
          </a:ln>
          <a:effectLst>
            <a:outerShdw blurRad="76200" dist="38100" dir="10800000" sx="101000" sy="101000" algn="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IN"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FC7A0CD2-CA9E-7BC5-37B3-58C8A495DAE9}"/>
              </a:ext>
              <a:ext uri="{C183D7F6-B498-43B3-948B-1728B52AA6E4}">
                <adec:decorative xmlns:adec="http://schemas.microsoft.com/office/drawing/2017/decorative" val="1"/>
              </a:ext>
            </a:extLst>
          </p:cNvPr>
          <p:cNvSpPr/>
          <p:nvPr userDrawn="1"/>
        </p:nvSpPr>
        <p:spPr bwMode="auto">
          <a:xfrm>
            <a:off x="7675881" y="1463040"/>
            <a:ext cx="3931920" cy="3931920"/>
          </a:xfrm>
          <a:prstGeom prst="ellipse">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ctr" defTabSz="932472" fontAlgn="base">
              <a:spcBef>
                <a:spcPct val="0"/>
              </a:spcBef>
              <a:spcAft>
                <a:spcPct val="0"/>
              </a:spcAft>
              <a:buFont typeface="Arial" panose="020B0604020202020204" pitchFamily="34" charset="0"/>
              <a:buNone/>
            </a:pPr>
            <a:endParaRPr lang="en-IN" sz="2000" err="1">
              <a:solidFill>
                <a:srgbClr val="FFFFFF"/>
              </a:solidFill>
              <a:ea typeface="Segoe UI" pitchFamily="34" charset="0"/>
              <a:cs typeface="Segoe UI" pitchFamily="34" charset="0"/>
            </a:endParaRPr>
          </a:p>
        </p:txBody>
      </p:sp>
      <p:sp>
        <p:nvSpPr>
          <p:cNvPr id="7" name="Graphic 28">
            <a:extLst>
              <a:ext uri="{FF2B5EF4-FFF2-40B4-BE49-F238E27FC236}">
                <a16:creationId xmlns:a16="http://schemas.microsoft.com/office/drawing/2014/main" id="{6668DFE4-33A9-4D8D-DFAE-DA75B345215A}"/>
              </a:ext>
              <a:ext uri="{C183D7F6-B498-43B3-948B-1728B52AA6E4}">
                <adec:decorative xmlns:adec="http://schemas.microsoft.com/office/drawing/2017/decorative" val="1"/>
              </a:ext>
            </a:extLst>
          </p:cNvPr>
          <p:cNvSpPr/>
          <p:nvPr userDrawn="1"/>
        </p:nvSpPr>
        <p:spPr>
          <a:xfrm>
            <a:off x="754008" y="1432563"/>
            <a:ext cx="965312" cy="725262"/>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17" name="Text Placeholder 35">
            <a:extLst>
              <a:ext uri="{FF2B5EF4-FFF2-40B4-BE49-F238E27FC236}">
                <a16:creationId xmlns:a16="http://schemas.microsoft.com/office/drawing/2014/main" id="{8A5A4816-7D0E-6041-4EAC-DCECFC68D036}"/>
              </a:ext>
            </a:extLst>
          </p:cNvPr>
          <p:cNvSpPr>
            <a:spLocks noGrp="1"/>
          </p:cNvSpPr>
          <p:nvPr>
            <p:ph type="body" sz="quarter" idx="17" hasCustomPrompt="1"/>
          </p:nvPr>
        </p:nvSpPr>
        <p:spPr>
          <a:xfrm>
            <a:off x="1236664" y="2505671"/>
            <a:ext cx="5656263" cy="2215991"/>
          </a:xfrm>
          <a:noFill/>
        </p:spPr>
        <p:txBody>
          <a:bodyPr wrap="square" lIns="0" tIns="0" rIns="0" bIns="0" anchor="t">
            <a:noAutofit/>
          </a:bodyPr>
          <a:lstStyle>
            <a:lvl1pPr marL="0" indent="0" algn="l">
              <a:buFont typeface="Arial" panose="020B0604020202020204" pitchFamily="34" charset="0"/>
              <a:buNone/>
              <a:defRPr kumimoji="0" lang="en-US" sz="2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94893FAE-1483-CECC-211A-0E5592196B30}"/>
              </a:ext>
            </a:extLst>
          </p:cNvPr>
          <p:cNvSpPr>
            <a:spLocks noGrp="1"/>
          </p:cNvSpPr>
          <p:nvPr>
            <p:ph type="body" sz="quarter" idx="15" hasCustomPrompt="1"/>
          </p:nvPr>
        </p:nvSpPr>
        <p:spPr>
          <a:xfrm>
            <a:off x="1236664" y="4969297"/>
            <a:ext cx="5656263" cy="275690"/>
          </a:xfrm>
          <a:noFill/>
        </p:spPr>
        <p:txBody>
          <a:bodyPr wrap="square" lIns="0" tIns="0" rIns="0" bIns="0" anchor="t">
            <a:noAutofit/>
          </a:bodyPr>
          <a:lstStyle>
            <a:lvl1pPr marL="0" indent="0" algn="r">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6" name="Picture Placeholder 58">
            <a:extLst>
              <a:ext uri="{FF2B5EF4-FFF2-40B4-BE49-F238E27FC236}">
                <a16:creationId xmlns:a16="http://schemas.microsoft.com/office/drawing/2014/main" id="{03456B76-1609-175B-BF69-94E8CE3C32B9}"/>
              </a:ext>
            </a:extLst>
          </p:cNvPr>
          <p:cNvSpPr>
            <a:spLocks noGrp="1"/>
          </p:cNvSpPr>
          <p:nvPr>
            <p:ph type="pic" sz="quarter" idx="22"/>
          </p:nvPr>
        </p:nvSpPr>
        <p:spPr>
          <a:xfrm>
            <a:off x="7758432" y="1545591"/>
            <a:ext cx="3766818" cy="3766818"/>
          </a:xfrm>
          <a:prstGeom prst="ellipse">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313907372"/>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Quote slide with box 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9855DE-B3D9-112B-81E5-B1264ED29D82}"/>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Rounded Corners 2">
            <a:extLst>
              <a:ext uri="{FF2B5EF4-FFF2-40B4-BE49-F238E27FC236}">
                <a16:creationId xmlns:a16="http://schemas.microsoft.com/office/drawing/2014/main" id="{3C5F01E0-FCA9-123F-F4B6-95DF9C407F08}"/>
              </a:ext>
              <a:ext uri="{C183D7F6-B498-43B3-948B-1728B52AA6E4}">
                <adec:decorative xmlns:adec="http://schemas.microsoft.com/office/drawing/2017/decorative" val="1"/>
              </a:ext>
            </a:extLst>
          </p:cNvPr>
          <p:cNvSpPr/>
          <p:nvPr userDrawn="1"/>
        </p:nvSpPr>
        <p:spPr bwMode="auto">
          <a:xfrm>
            <a:off x="6892925" y="585788"/>
            <a:ext cx="4716463" cy="5683249"/>
          </a:xfrm>
          <a:prstGeom prst="roundRect">
            <a:avLst>
              <a:gd name="adj" fmla="val 6345"/>
            </a:avLst>
          </a:prstGeom>
          <a:solidFill>
            <a:schemeClr val="bg1"/>
          </a:solidFill>
          <a:ln w="8467" cap="flat">
            <a:noFill/>
            <a:prstDash val="solid"/>
            <a:miter/>
          </a:ln>
          <a:effectLst>
            <a:outerShdw blurRad="685800" dist="165100" dir="18900000" sx="95000" sy="95000" algn="bl" rotWithShape="0">
              <a:prstClr val="black">
                <a:alpha val="20000"/>
              </a:prstClr>
            </a:outerShdw>
          </a:effectLst>
        </p:spPr>
        <p:txBody>
          <a:bodyPr rtlCol="0" anchor="ctr"/>
          <a:lstStyle/>
          <a:p>
            <a:pPr marL="0" indent="0">
              <a:buFont typeface="Arial" panose="020B0604020202020204" pitchFamily="34" charset="0"/>
              <a:buNone/>
            </a:pPr>
            <a:endParaRPr lang="en-IN" err="1">
              <a:solidFill>
                <a:schemeClr val="tx1"/>
              </a:solidFill>
            </a:endParaRPr>
          </a:p>
        </p:txBody>
      </p:sp>
      <p:sp>
        <p:nvSpPr>
          <p:cNvPr id="5" name="Rectangle 4">
            <a:extLst>
              <a:ext uri="{FF2B5EF4-FFF2-40B4-BE49-F238E27FC236}">
                <a16:creationId xmlns:a16="http://schemas.microsoft.com/office/drawing/2014/main" id="{F89A7745-38DA-45EF-7B28-4181572416FA}"/>
              </a:ext>
              <a:ext uri="{C183D7F6-B498-43B3-948B-1728B52AA6E4}">
                <adec:decorative xmlns:adec="http://schemas.microsoft.com/office/drawing/2017/decorative" val="1"/>
              </a:ext>
            </a:extLst>
          </p:cNvPr>
          <p:cNvSpPr/>
          <p:nvPr userDrawn="1"/>
        </p:nvSpPr>
        <p:spPr bwMode="auto">
          <a:xfrm>
            <a:off x="0" y="2017713"/>
            <a:ext cx="7110413" cy="3486784"/>
          </a:xfrm>
          <a:prstGeom prst="rect">
            <a:avLst/>
          </a:prstGeom>
          <a:solidFill>
            <a:schemeClr val="bg1"/>
          </a:solidFill>
          <a:ln>
            <a:noFill/>
            <a:headEnd type="none" w="med" len="med"/>
            <a:tailEnd type="none" w="med" len="med"/>
          </a:ln>
          <a:effectLst>
            <a:outerShdw blurRad="444500" dist="419100" dir="8100000" sx="95000" sy="95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IN" sz="2000" err="1">
              <a:solidFill>
                <a:schemeClr val="tx1"/>
              </a:solidFill>
              <a:cs typeface="Segoe UI" pitchFamily="34" charset="0"/>
            </a:endParaRPr>
          </a:p>
        </p:txBody>
      </p:sp>
      <p:grpSp>
        <p:nvGrpSpPr>
          <p:cNvPr id="8" name="Group 7">
            <a:extLst>
              <a:ext uri="{FF2B5EF4-FFF2-40B4-BE49-F238E27FC236}">
                <a16:creationId xmlns:a16="http://schemas.microsoft.com/office/drawing/2014/main" id="{2B47B3F4-A59F-E959-BFB9-9070C3F4693F}"/>
              </a:ext>
              <a:ext uri="{C183D7F6-B498-43B3-948B-1728B52AA6E4}">
                <adec:decorative xmlns:adec="http://schemas.microsoft.com/office/drawing/2017/decorative" val="1"/>
              </a:ext>
            </a:extLst>
          </p:cNvPr>
          <p:cNvGrpSpPr/>
          <p:nvPr userDrawn="1"/>
        </p:nvGrpSpPr>
        <p:grpSpPr>
          <a:xfrm>
            <a:off x="584200" y="1215243"/>
            <a:ext cx="965312" cy="977565"/>
            <a:chOff x="142812" y="139308"/>
            <a:chExt cx="301753" cy="305583"/>
          </a:xfrm>
          <a:effectLst>
            <a:outerShdw blurRad="571500" dist="38100" dir="5400000" sx="95000" sy="95000" algn="t" rotWithShape="0">
              <a:schemeClr val="tx2">
                <a:alpha val="25000"/>
              </a:schemeClr>
            </a:outerShdw>
          </a:effectLst>
        </p:grpSpPr>
        <p:sp>
          <p:nvSpPr>
            <p:cNvPr id="9" name="Rectangle: Rounded Corners 8">
              <a:extLst>
                <a:ext uri="{FF2B5EF4-FFF2-40B4-BE49-F238E27FC236}">
                  <a16:creationId xmlns:a16="http://schemas.microsoft.com/office/drawing/2014/main" id="{D21BD6C9-CDB6-817F-6DA1-06FC2598B472}"/>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tx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8E8A5A4E-77D0-EC21-03A2-A88372631264}"/>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grpSp>
      <p:sp>
        <p:nvSpPr>
          <p:cNvPr id="11" name="Graphic 28">
            <a:extLst>
              <a:ext uri="{FF2B5EF4-FFF2-40B4-BE49-F238E27FC236}">
                <a16:creationId xmlns:a16="http://schemas.microsoft.com/office/drawing/2014/main" id="{94084894-5998-2121-7B84-D92C656E9F5F}"/>
              </a:ext>
              <a:ext uri="{C183D7F6-B498-43B3-948B-1728B52AA6E4}">
                <adec:decorative xmlns:adec="http://schemas.microsoft.com/office/drawing/2017/decorative" val="1"/>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chemeClr val="tx1"/>
              </a:solidFill>
              <a:cs typeface="Segoe UI" pitchFamily="34" charset="0"/>
            </a:endParaRPr>
          </a:p>
        </p:txBody>
      </p:sp>
      <p:sp>
        <p:nvSpPr>
          <p:cNvPr id="13" name="Text Placeholder 35">
            <a:extLst>
              <a:ext uri="{FF2B5EF4-FFF2-40B4-BE49-F238E27FC236}">
                <a16:creationId xmlns:a16="http://schemas.microsoft.com/office/drawing/2014/main" id="{7E45569B-DC4B-6BB5-7125-236795D561C2}"/>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Font typeface="Arial" panose="020B0604020202020204" pitchFamily="34" charset="0"/>
              <a:buNone/>
              <a:defRPr kumimoji="0" lang="en-US" sz="2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Text Placeholder 35">
            <a:extLst>
              <a:ext uri="{FF2B5EF4-FFF2-40B4-BE49-F238E27FC236}">
                <a16:creationId xmlns:a16="http://schemas.microsoft.com/office/drawing/2014/main" id="{37DA3014-0EB4-BDB4-9685-50FA55C9BDD2}"/>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5" name="Picture Placeholder 58">
            <a:extLst>
              <a:ext uri="{FF2B5EF4-FFF2-40B4-BE49-F238E27FC236}">
                <a16:creationId xmlns:a16="http://schemas.microsoft.com/office/drawing/2014/main" id="{899616DF-EE05-1C41-D337-34195C9D7609}"/>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156933534"/>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357A75-5B7B-A861-E2E5-CE02F2B7439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3" name="Picture 12" descr="A picture containing white, design, black and white, art&#10;&#10;Description automatically generated">
              <a:extLst>
                <a:ext uri="{FF2B5EF4-FFF2-40B4-BE49-F238E27FC236}">
                  <a16:creationId xmlns:a16="http://schemas.microsoft.com/office/drawing/2014/main" id="{694AF207-0B3C-2A7E-2293-CD26A3F857BC}"/>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5F9F2CD3-DF72-D84B-EF58-68784211D22E}"/>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1" name="Rectangle: Single Corner Rounded 10">
            <a:extLst>
              <a:ext uri="{FF2B5EF4-FFF2-40B4-BE49-F238E27FC236}">
                <a16:creationId xmlns:a16="http://schemas.microsoft.com/office/drawing/2014/main" id="{001A4B08-CCE4-1072-D260-16E63D16BA9F}"/>
              </a:ext>
              <a:ext uri="{C183D7F6-B498-43B3-948B-1728B52AA6E4}">
                <adec:decorative xmlns:adec="http://schemas.microsoft.com/office/drawing/2017/decorative" val="1"/>
              </a:ext>
            </a:extLst>
          </p:cNvPr>
          <p:cNvSpPr/>
          <p:nvPr userDrawn="1"/>
        </p:nvSpPr>
        <p:spPr bwMode="auto">
          <a:xfrm flipH="1" flipV="1">
            <a:off x="588262" y="1436687"/>
            <a:ext cx="11603738" cy="4818968"/>
          </a:xfrm>
          <a:prstGeom prst="round1Rect">
            <a:avLst>
              <a:gd name="adj" fmla="val 9815"/>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p>
        </p:txBody>
      </p:sp>
      <p:sp>
        <p:nvSpPr>
          <p:cNvPr id="12" name="Rectangle 11">
            <a:extLst>
              <a:ext uri="{FF2B5EF4-FFF2-40B4-BE49-F238E27FC236}">
                <a16:creationId xmlns:a16="http://schemas.microsoft.com/office/drawing/2014/main" id="{D9B1E9B9-5AE2-783F-C1CE-317B37271650}"/>
              </a:ext>
              <a:ext uri="{C183D7F6-B498-43B3-948B-1728B52AA6E4}">
                <adec:decorative xmlns:adec="http://schemas.microsoft.com/office/drawing/2017/decorative" val="1"/>
              </a:ext>
            </a:extLst>
          </p:cNvPr>
          <p:cNvSpPr/>
          <p:nvPr userDrawn="1"/>
        </p:nvSpPr>
        <p:spPr bwMode="auto">
          <a:xfrm>
            <a:off x="588262" y="1436687"/>
            <a:ext cx="11603738" cy="27432"/>
          </a:xfrm>
          <a:prstGeom prst="rect">
            <a:avLst/>
          </a:pr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32" name="Title 1">
            <a:extLst>
              <a:ext uri="{FF2B5EF4-FFF2-40B4-BE49-F238E27FC236}">
                <a16:creationId xmlns:a16="http://schemas.microsoft.com/office/drawing/2014/main" id="{ABCD7A71-2A1B-2264-AACF-F18563B7305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3" name="Text Placeholder 35">
            <a:extLst>
              <a:ext uri="{FF2B5EF4-FFF2-40B4-BE49-F238E27FC236}">
                <a16:creationId xmlns:a16="http://schemas.microsoft.com/office/drawing/2014/main" id="{0602A06A-48CD-2FF2-8F3C-8F5C14404B21}"/>
              </a:ext>
            </a:extLst>
          </p:cNvPr>
          <p:cNvSpPr>
            <a:spLocks noGrp="1"/>
          </p:cNvSpPr>
          <p:nvPr>
            <p:ph type="body" sz="quarter" idx="15" hasCustomPrompt="1"/>
          </p:nvPr>
        </p:nvSpPr>
        <p:spPr>
          <a:xfrm>
            <a:off x="777238" y="1621002"/>
            <a:ext cx="10826500" cy="298305"/>
          </a:xfrm>
          <a:noFill/>
        </p:spPr>
        <p:txBody>
          <a:bodyPr wrap="square" lIns="0" tIns="0" rIns="0" bIns="0" anchor="t">
            <a:noAutofit/>
          </a:bodyPr>
          <a:lstStyle>
            <a:lvl1pPr marL="0" indent="0" algn="l">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Text Placeholder 35">
            <a:extLst>
              <a:ext uri="{FF2B5EF4-FFF2-40B4-BE49-F238E27FC236}">
                <a16:creationId xmlns:a16="http://schemas.microsoft.com/office/drawing/2014/main" id="{1DA93EE8-A098-FD68-164F-D297A77021BE}"/>
              </a:ext>
            </a:extLst>
          </p:cNvPr>
          <p:cNvSpPr>
            <a:spLocks noGrp="1"/>
          </p:cNvSpPr>
          <p:nvPr>
            <p:ph type="body" sz="quarter" idx="16" hasCustomPrompt="1"/>
          </p:nvPr>
        </p:nvSpPr>
        <p:spPr>
          <a:xfrm>
            <a:off x="1402152" y="2261674"/>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33D95478-0AF7-7DB8-9FF3-B29BBC0B62B2}"/>
              </a:ext>
            </a:extLst>
          </p:cNvPr>
          <p:cNvSpPr>
            <a:spLocks noGrp="1"/>
          </p:cNvSpPr>
          <p:nvPr>
            <p:ph type="body" sz="quarter" idx="17" hasCustomPrompt="1"/>
          </p:nvPr>
        </p:nvSpPr>
        <p:spPr>
          <a:xfrm>
            <a:off x="1533639" y="2611299"/>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F7E861F5-88B2-B9F6-9FA0-9FAEF57B1046}"/>
              </a:ext>
            </a:extLst>
          </p:cNvPr>
          <p:cNvSpPr>
            <a:spLocks noGrp="1"/>
          </p:cNvSpPr>
          <p:nvPr>
            <p:ph type="body" sz="quarter" idx="18" hasCustomPrompt="1"/>
          </p:nvPr>
        </p:nvSpPr>
        <p:spPr>
          <a:xfrm>
            <a:off x="1402152" y="4384037"/>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5AD8DE6F-8E00-C9C5-84E4-99F639116FF5}"/>
              </a:ext>
            </a:extLst>
          </p:cNvPr>
          <p:cNvSpPr>
            <a:spLocks noGrp="1"/>
          </p:cNvSpPr>
          <p:nvPr>
            <p:ph type="body" sz="quarter" idx="19" hasCustomPrompt="1"/>
          </p:nvPr>
        </p:nvSpPr>
        <p:spPr>
          <a:xfrm>
            <a:off x="1533639" y="4733662"/>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Picture Placeholder 58">
            <a:extLst>
              <a:ext uri="{FF2B5EF4-FFF2-40B4-BE49-F238E27FC236}">
                <a16:creationId xmlns:a16="http://schemas.microsoft.com/office/drawing/2014/main" id="{5E4D564C-C979-8981-FE46-EDD4BA56DA36}"/>
              </a:ext>
            </a:extLst>
          </p:cNvPr>
          <p:cNvSpPr>
            <a:spLocks noGrp="1"/>
          </p:cNvSpPr>
          <p:nvPr>
            <p:ph type="pic" sz="quarter" idx="22"/>
          </p:nvPr>
        </p:nvSpPr>
        <p:spPr>
          <a:xfrm>
            <a:off x="5998916" y="2417148"/>
            <a:ext cx="5604824" cy="322727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8" name="Text Placeholder 35">
            <a:extLst>
              <a:ext uri="{FF2B5EF4-FFF2-40B4-BE49-F238E27FC236}">
                <a16:creationId xmlns:a16="http://schemas.microsoft.com/office/drawing/2014/main" id="{200BFA4D-1FDC-4F90-A030-C634EDBF4035}"/>
              </a:ext>
            </a:extLst>
          </p:cNvPr>
          <p:cNvSpPr>
            <a:spLocks noGrp="1"/>
          </p:cNvSpPr>
          <p:nvPr>
            <p:ph type="body" sz="quarter" idx="20" hasCustomPrompt="1"/>
          </p:nvPr>
        </p:nvSpPr>
        <p:spPr>
          <a:xfrm>
            <a:off x="5998914" y="5869249"/>
            <a:ext cx="5488235" cy="139110"/>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95739595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20D5E92-5F84-E895-23C0-1029D6F0F2F9}"/>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2" name="Picture 11" descr="A picture containing white, design, black and white, art&#10;&#10;Description automatically generated">
              <a:extLst>
                <a:ext uri="{FF2B5EF4-FFF2-40B4-BE49-F238E27FC236}">
                  <a16:creationId xmlns:a16="http://schemas.microsoft.com/office/drawing/2014/main" id="{A422C0FD-FE19-143C-E5EF-077CAFEFD807}"/>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8295434-C3A9-E7E7-52B1-1F89D18ECC17}"/>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4" name="Rectangle 3">
            <a:extLst>
              <a:ext uri="{FF2B5EF4-FFF2-40B4-BE49-F238E27FC236}">
                <a16:creationId xmlns:a16="http://schemas.microsoft.com/office/drawing/2014/main" id="{88DB79DC-6C39-2DAB-858C-EA013C54B1CB}"/>
              </a:ext>
              <a:ext uri="{C183D7F6-B498-43B3-948B-1728B52AA6E4}">
                <adec:decorative xmlns:adec="http://schemas.microsoft.com/office/drawing/2017/decorative" val="1"/>
              </a:ext>
            </a:extLst>
          </p:cNvPr>
          <p:cNvSpPr/>
          <p:nvPr userDrawn="1"/>
        </p:nvSpPr>
        <p:spPr bwMode="auto">
          <a:xfrm rot="16200000">
            <a:off x="6061472" y="-4758631"/>
            <a:ext cx="69057" cy="12192002"/>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13" name="Rectangle: Top Corners Rounded 12">
            <a:extLst>
              <a:ext uri="{FF2B5EF4-FFF2-40B4-BE49-F238E27FC236}">
                <a16:creationId xmlns:a16="http://schemas.microsoft.com/office/drawing/2014/main" id="{0E63EE77-E309-1EEE-B436-7FDE1FD0927D}"/>
              </a:ext>
              <a:ext uri="{C183D7F6-B498-43B3-948B-1728B52AA6E4}">
                <adec:decorative xmlns:adec="http://schemas.microsoft.com/office/drawing/2017/decorative" val="1"/>
              </a:ext>
            </a:extLst>
          </p:cNvPr>
          <p:cNvSpPr/>
          <p:nvPr userDrawn="1"/>
        </p:nvSpPr>
        <p:spPr bwMode="auto">
          <a:xfrm rot="16200000">
            <a:off x="2937230" y="1964970"/>
            <a:ext cx="1908830" cy="6614889"/>
          </a:xfrm>
          <a:prstGeom prst="round2SameRect">
            <a:avLst>
              <a:gd name="adj1" fmla="val 9481"/>
              <a:gd name="adj2" fmla="val 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p>
        </p:txBody>
      </p:sp>
      <p:cxnSp>
        <p:nvCxnSpPr>
          <p:cNvPr id="16" name="Straight Connector 15">
            <a:extLst>
              <a:ext uri="{FF2B5EF4-FFF2-40B4-BE49-F238E27FC236}">
                <a16:creationId xmlns:a16="http://schemas.microsoft.com/office/drawing/2014/main" id="{ECEE4D01-A4C3-2421-8DF7-C177BDF8C473}"/>
              </a:ext>
            </a:extLst>
          </p:cNvPr>
          <p:cNvCxnSpPr>
            <a:cxnSpLocks/>
          </p:cNvCxnSpPr>
          <p:nvPr userDrawn="1"/>
        </p:nvCxnSpPr>
        <p:spPr>
          <a:xfrm rot="5400000">
            <a:off x="2908877" y="5272415"/>
            <a:ext cx="170303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B5A6A5-64C3-E326-1AB9-D9D627464B36}"/>
              </a:ext>
            </a:extLst>
          </p:cNvPr>
          <p:cNvCxnSpPr>
            <a:cxnSpLocks/>
          </p:cNvCxnSpPr>
          <p:nvPr userDrawn="1"/>
        </p:nvCxnSpPr>
        <p:spPr>
          <a:xfrm flipH="1">
            <a:off x="1432561" y="2769472"/>
            <a:ext cx="538733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15BCAEFC-3E12-82D3-EBF5-3FC448D80918}"/>
              </a:ext>
            </a:extLst>
          </p:cNvPr>
          <p:cNvSpPr>
            <a:spLocks noGrp="1"/>
          </p:cNvSpPr>
          <p:nvPr>
            <p:ph type="title"/>
          </p:nvPr>
        </p:nvSpPr>
        <p:spPr>
          <a:xfrm>
            <a:off x="588263" y="457200"/>
            <a:ext cx="642975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4" name="Text Placeholder 35">
            <a:extLst>
              <a:ext uri="{FF2B5EF4-FFF2-40B4-BE49-F238E27FC236}">
                <a16:creationId xmlns:a16="http://schemas.microsoft.com/office/drawing/2014/main" id="{A27F3113-F925-0386-1C98-9F47AAB20398}"/>
              </a:ext>
            </a:extLst>
          </p:cNvPr>
          <p:cNvSpPr>
            <a:spLocks noGrp="1"/>
          </p:cNvSpPr>
          <p:nvPr>
            <p:ph type="body" sz="quarter" idx="16" hasCustomPrompt="1"/>
          </p:nvPr>
        </p:nvSpPr>
        <p:spPr>
          <a:xfrm>
            <a:off x="1432340" y="1509442"/>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9BF442A1-CBF9-6E76-E76B-D00DFF057417}"/>
              </a:ext>
            </a:extLst>
          </p:cNvPr>
          <p:cNvSpPr>
            <a:spLocks noGrp="1"/>
          </p:cNvSpPr>
          <p:nvPr>
            <p:ph type="body" sz="quarter" idx="18" hasCustomPrompt="1"/>
          </p:nvPr>
        </p:nvSpPr>
        <p:spPr>
          <a:xfrm>
            <a:off x="1432340" y="1895144"/>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CD10DBAC-AB5D-B5EC-FD55-7EC2EC3EE805}"/>
              </a:ext>
            </a:extLst>
          </p:cNvPr>
          <p:cNvSpPr>
            <a:spLocks noGrp="1"/>
          </p:cNvSpPr>
          <p:nvPr>
            <p:ph type="body" sz="quarter" idx="19" hasCustomPrompt="1"/>
          </p:nvPr>
        </p:nvSpPr>
        <p:spPr>
          <a:xfrm>
            <a:off x="1432340" y="2907015"/>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904F664E-9233-DD19-3D09-78EC7EC7CA0D}"/>
              </a:ext>
            </a:extLst>
          </p:cNvPr>
          <p:cNvSpPr>
            <a:spLocks noGrp="1"/>
          </p:cNvSpPr>
          <p:nvPr>
            <p:ph type="body" sz="quarter" idx="20" hasCustomPrompt="1"/>
          </p:nvPr>
        </p:nvSpPr>
        <p:spPr>
          <a:xfrm>
            <a:off x="1432340" y="3292717"/>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DB8B7D1-AE7B-9ABB-69AF-1F3BF1D3DD2C}"/>
              </a:ext>
            </a:extLst>
          </p:cNvPr>
          <p:cNvSpPr>
            <a:spLocks noGrp="1"/>
          </p:cNvSpPr>
          <p:nvPr>
            <p:ph type="body" sz="quarter" idx="21" hasCustomPrompt="1"/>
          </p:nvPr>
        </p:nvSpPr>
        <p:spPr>
          <a:xfrm>
            <a:off x="78464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EF4E0C96-439B-978C-B177-B71EED74E9C4}"/>
              </a:ext>
            </a:extLst>
          </p:cNvPr>
          <p:cNvSpPr>
            <a:spLocks noGrp="1"/>
          </p:cNvSpPr>
          <p:nvPr>
            <p:ph type="body" sz="quarter" idx="22" hasCustomPrompt="1"/>
          </p:nvPr>
        </p:nvSpPr>
        <p:spPr>
          <a:xfrm>
            <a:off x="78464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966CBC3A-2CBA-FA46-A72A-F16E00D29FD3}"/>
              </a:ext>
            </a:extLst>
          </p:cNvPr>
          <p:cNvSpPr>
            <a:spLocks noGrp="1"/>
          </p:cNvSpPr>
          <p:nvPr>
            <p:ph type="body" sz="quarter" idx="23" hasCustomPrompt="1"/>
          </p:nvPr>
        </p:nvSpPr>
        <p:spPr>
          <a:xfrm>
            <a:off x="396630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4B00D75-1BC5-52B7-93A2-94B1DAE716E2}"/>
              </a:ext>
            </a:extLst>
          </p:cNvPr>
          <p:cNvSpPr>
            <a:spLocks noGrp="1"/>
          </p:cNvSpPr>
          <p:nvPr>
            <p:ph type="body" sz="quarter" idx="24" hasCustomPrompt="1"/>
          </p:nvPr>
        </p:nvSpPr>
        <p:spPr>
          <a:xfrm>
            <a:off x="396630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Picture Placeholder 58">
            <a:extLst>
              <a:ext uri="{FF2B5EF4-FFF2-40B4-BE49-F238E27FC236}">
                <a16:creationId xmlns:a16="http://schemas.microsoft.com/office/drawing/2014/main" id="{DD82BAC3-B2A2-78A3-233D-1489239199D7}"/>
              </a:ext>
            </a:extLst>
          </p:cNvPr>
          <p:cNvSpPr>
            <a:spLocks noGrp="1"/>
          </p:cNvSpPr>
          <p:nvPr>
            <p:ph type="pic" sz="quarter" idx="25"/>
          </p:nvPr>
        </p:nvSpPr>
        <p:spPr>
          <a:xfrm>
            <a:off x="7199091" y="215899"/>
            <a:ext cx="4410299" cy="6426199"/>
          </a:xfrm>
          <a:prstGeom prst="roundRect">
            <a:avLst>
              <a:gd name="adj" fmla="val 5089"/>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263280101"/>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Journey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B5839E5-9893-1BC9-C0AC-0708221A9A0E}"/>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8" name="Picture 7" descr="A picture containing white, design, black and white, art&#10;&#10;Description automatically generated">
              <a:extLst>
                <a:ext uri="{FF2B5EF4-FFF2-40B4-BE49-F238E27FC236}">
                  <a16:creationId xmlns:a16="http://schemas.microsoft.com/office/drawing/2014/main" id="{8B689A66-B7C5-838A-6787-C277C3FD29D6}"/>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6D3E3BE0-0CDC-876E-C510-5F7923875C09}"/>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7" name="Rectangle 6">
            <a:extLst>
              <a:ext uri="{FF2B5EF4-FFF2-40B4-BE49-F238E27FC236}">
                <a16:creationId xmlns:a16="http://schemas.microsoft.com/office/drawing/2014/main" id="{062ACEB0-89D1-4F45-6EEA-284117CE20C1}"/>
              </a:ext>
              <a:ext uri="{C183D7F6-B498-43B3-948B-1728B52AA6E4}">
                <adec:decorative xmlns:adec="http://schemas.microsoft.com/office/drawing/2017/decorative" val="1"/>
              </a:ext>
            </a:extLst>
          </p:cNvPr>
          <p:cNvSpPr/>
          <p:nvPr userDrawn="1"/>
        </p:nvSpPr>
        <p:spPr bwMode="auto">
          <a:xfrm>
            <a:off x="0" y="1663700"/>
            <a:ext cx="12192000" cy="39751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defTabSz="914400">
              <a:buFont typeface="Arial" panose="020B0604020202020204" pitchFamily="34" charset="0"/>
              <a:buNone/>
            </a:pPr>
            <a:endParaRPr lang="en-US" sz="1800" err="1"/>
          </a:p>
        </p:txBody>
      </p:sp>
      <p:sp>
        <p:nvSpPr>
          <p:cNvPr id="65" name="Title 1">
            <a:extLst>
              <a:ext uri="{FF2B5EF4-FFF2-40B4-BE49-F238E27FC236}">
                <a16:creationId xmlns:a16="http://schemas.microsoft.com/office/drawing/2014/main" id="{47F7219E-12D3-3F00-F109-7CFFE912FB5F}"/>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6" name="Text Placeholder 35">
            <a:extLst>
              <a:ext uri="{FF2B5EF4-FFF2-40B4-BE49-F238E27FC236}">
                <a16:creationId xmlns:a16="http://schemas.microsoft.com/office/drawing/2014/main" id="{9487FEDF-0CF5-182A-D29E-B233969E4B96}"/>
              </a:ext>
            </a:extLst>
          </p:cNvPr>
          <p:cNvSpPr>
            <a:spLocks noGrp="1"/>
          </p:cNvSpPr>
          <p:nvPr>
            <p:ph type="body" sz="quarter" idx="21" hasCustomPrompt="1"/>
          </p:nvPr>
        </p:nvSpPr>
        <p:spPr>
          <a:xfrm>
            <a:off x="1229360"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7" name="Text Placeholder 35">
            <a:extLst>
              <a:ext uri="{FF2B5EF4-FFF2-40B4-BE49-F238E27FC236}">
                <a16:creationId xmlns:a16="http://schemas.microsoft.com/office/drawing/2014/main" id="{050604BA-147A-A6CC-35E1-6A6A29D41695}"/>
              </a:ext>
            </a:extLst>
          </p:cNvPr>
          <p:cNvSpPr>
            <a:spLocks noGrp="1"/>
          </p:cNvSpPr>
          <p:nvPr>
            <p:ph type="body" sz="quarter" idx="22" hasCustomPrompt="1"/>
          </p:nvPr>
        </p:nvSpPr>
        <p:spPr>
          <a:xfrm>
            <a:off x="1229360"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DF528674-39D5-6682-7667-8AD10D42B537}"/>
              </a:ext>
            </a:extLst>
          </p:cNvPr>
          <p:cNvSpPr>
            <a:spLocks noGrp="1"/>
          </p:cNvSpPr>
          <p:nvPr>
            <p:ph type="body" sz="quarter" idx="23" hasCustomPrompt="1"/>
          </p:nvPr>
        </p:nvSpPr>
        <p:spPr>
          <a:xfrm>
            <a:off x="4692907"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9" name="Text Placeholder 35">
            <a:extLst>
              <a:ext uri="{FF2B5EF4-FFF2-40B4-BE49-F238E27FC236}">
                <a16:creationId xmlns:a16="http://schemas.microsoft.com/office/drawing/2014/main" id="{D0D18EC4-300C-6FD8-607B-3AE34A3D6A82}"/>
              </a:ext>
            </a:extLst>
          </p:cNvPr>
          <p:cNvSpPr>
            <a:spLocks noGrp="1"/>
          </p:cNvSpPr>
          <p:nvPr>
            <p:ph type="body" sz="quarter" idx="24" hasCustomPrompt="1"/>
          </p:nvPr>
        </p:nvSpPr>
        <p:spPr>
          <a:xfrm>
            <a:off x="4692907"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0" name="Text Placeholder 35">
            <a:extLst>
              <a:ext uri="{FF2B5EF4-FFF2-40B4-BE49-F238E27FC236}">
                <a16:creationId xmlns:a16="http://schemas.microsoft.com/office/drawing/2014/main" id="{34F21398-91B5-7FD9-D89B-884024988110}"/>
              </a:ext>
            </a:extLst>
          </p:cNvPr>
          <p:cNvSpPr>
            <a:spLocks noGrp="1"/>
          </p:cNvSpPr>
          <p:nvPr>
            <p:ph type="body" sz="quarter" idx="25" hasCustomPrompt="1"/>
          </p:nvPr>
        </p:nvSpPr>
        <p:spPr>
          <a:xfrm>
            <a:off x="8156454"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1" name="Text Placeholder 35">
            <a:extLst>
              <a:ext uri="{FF2B5EF4-FFF2-40B4-BE49-F238E27FC236}">
                <a16:creationId xmlns:a16="http://schemas.microsoft.com/office/drawing/2014/main" id="{0F91D0E3-7132-BDA2-CB8F-4EE40DD269FE}"/>
              </a:ext>
            </a:extLst>
          </p:cNvPr>
          <p:cNvSpPr>
            <a:spLocks noGrp="1"/>
          </p:cNvSpPr>
          <p:nvPr>
            <p:ph type="body" sz="quarter" idx="26" hasCustomPrompt="1"/>
          </p:nvPr>
        </p:nvSpPr>
        <p:spPr>
          <a:xfrm>
            <a:off x="8156454"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4" name="Text Placeholder 35">
            <a:extLst>
              <a:ext uri="{FF2B5EF4-FFF2-40B4-BE49-F238E27FC236}">
                <a16:creationId xmlns:a16="http://schemas.microsoft.com/office/drawing/2014/main" id="{FD2BB8A6-C77E-A117-9F79-102ED0811656}"/>
              </a:ext>
            </a:extLst>
          </p:cNvPr>
          <p:cNvSpPr>
            <a:spLocks noGrp="1"/>
          </p:cNvSpPr>
          <p:nvPr>
            <p:ph type="body" sz="quarter" idx="29" hasCustomPrompt="1"/>
          </p:nvPr>
        </p:nvSpPr>
        <p:spPr>
          <a:xfrm>
            <a:off x="3018508"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5" name="Text Placeholder 35">
            <a:extLst>
              <a:ext uri="{FF2B5EF4-FFF2-40B4-BE49-F238E27FC236}">
                <a16:creationId xmlns:a16="http://schemas.microsoft.com/office/drawing/2014/main" id="{848D7518-1D6E-3CA9-FDDF-4471B8B37403}"/>
              </a:ext>
            </a:extLst>
          </p:cNvPr>
          <p:cNvSpPr>
            <a:spLocks noGrp="1"/>
          </p:cNvSpPr>
          <p:nvPr>
            <p:ph type="body" sz="quarter" idx="30" hasCustomPrompt="1"/>
          </p:nvPr>
        </p:nvSpPr>
        <p:spPr>
          <a:xfrm>
            <a:off x="3018508"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2" name="Text Placeholder 35">
            <a:extLst>
              <a:ext uri="{FF2B5EF4-FFF2-40B4-BE49-F238E27FC236}">
                <a16:creationId xmlns:a16="http://schemas.microsoft.com/office/drawing/2014/main" id="{5E9642B5-4C08-BED6-86A8-9DCE6CCC4BB1}"/>
              </a:ext>
            </a:extLst>
          </p:cNvPr>
          <p:cNvSpPr>
            <a:spLocks noGrp="1"/>
          </p:cNvSpPr>
          <p:nvPr>
            <p:ph type="body" sz="quarter" idx="27" hasCustomPrompt="1"/>
          </p:nvPr>
        </p:nvSpPr>
        <p:spPr>
          <a:xfrm>
            <a:off x="6482055"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3" name="Text Placeholder 35">
            <a:extLst>
              <a:ext uri="{FF2B5EF4-FFF2-40B4-BE49-F238E27FC236}">
                <a16:creationId xmlns:a16="http://schemas.microsoft.com/office/drawing/2014/main" id="{6F960771-8601-12A7-0DF7-C238655EEC42}"/>
              </a:ext>
            </a:extLst>
          </p:cNvPr>
          <p:cNvSpPr>
            <a:spLocks noGrp="1"/>
          </p:cNvSpPr>
          <p:nvPr>
            <p:ph type="body" sz="quarter" idx="28" hasCustomPrompt="1"/>
          </p:nvPr>
        </p:nvSpPr>
        <p:spPr>
          <a:xfrm>
            <a:off x="6482055"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9144DA75-485F-4683-BC40-E604A0E37A77}"/>
              </a:ext>
            </a:extLst>
          </p:cNvPr>
          <p:cNvSpPr>
            <a:spLocks noGrp="1"/>
          </p:cNvSpPr>
          <p:nvPr>
            <p:ph type="body" sz="quarter" idx="31" hasCustomPrompt="1"/>
          </p:nvPr>
        </p:nvSpPr>
        <p:spPr>
          <a:xfrm>
            <a:off x="9945603" y="3830449"/>
            <a:ext cx="1827298"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7" name="Text Placeholder 35">
            <a:extLst>
              <a:ext uri="{FF2B5EF4-FFF2-40B4-BE49-F238E27FC236}">
                <a16:creationId xmlns:a16="http://schemas.microsoft.com/office/drawing/2014/main" id="{FF01C0B1-68CA-E6EB-0767-56255A4B3FE4}"/>
              </a:ext>
            </a:extLst>
          </p:cNvPr>
          <p:cNvSpPr>
            <a:spLocks noGrp="1"/>
          </p:cNvSpPr>
          <p:nvPr>
            <p:ph type="body" sz="quarter" idx="32" hasCustomPrompt="1"/>
          </p:nvPr>
        </p:nvSpPr>
        <p:spPr>
          <a:xfrm>
            <a:off x="9945604" y="4153425"/>
            <a:ext cx="1827296"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247201388"/>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Journey slide 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73CAF7A-1816-3C55-4B8E-968F76CA7B44}"/>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1" name="Picture 10" descr="A picture containing white, design, black and white, art&#10;&#10;Description automatically generated">
              <a:extLst>
                <a:ext uri="{FF2B5EF4-FFF2-40B4-BE49-F238E27FC236}">
                  <a16:creationId xmlns:a16="http://schemas.microsoft.com/office/drawing/2014/main" id="{CFBF4C19-DEF9-9B70-2B37-AB21133DC066}"/>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409A674D-EFE1-4B2C-5E0B-9CE9609FF49D}"/>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2" name="Rectangle: Single Corner Rounded 11">
            <a:extLst>
              <a:ext uri="{FF2B5EF4-FFF2-40B4-BE49-F238E27FC236}">
                <a16:creationId xmlns:a16="http://schemas.microsoft.com/office/drawing/2014/main" id="{5F59683D-94E4-5C8D-BEA3-5FD753BB4135}"/>
              </a:ext>
              <a:ext uri="{C183D7F6-B498-43B3-948B-1728B52AA6E4}">
                <adec:decorative xmlns:adec="http://schemas.microsoft.com/office/drawing/2017/decorative" val="1"/>
              </a:ext>
            </a:extLst>
          </p:cNvPr>
          <p:cNvSpPr/>
          <p:nvPr userDrawn="1"/>
        </p:nvSpPr>
        <p:spPr bwMode="auto">
          <a:xfrm flipV="1">
            <a:off x="-1" y="1436688"/>
            <a:ext cx="12192001" cy="4595812"/>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13" name="Rectangle: Top Corners Rounded 12">
            <a:extLst>
              <a:ext uri="{FF2B5EF4-FFF2-40B4-BE49-F238E27FC236}">
                <a16:creationId xmlns:a16="http://schemas.microsoft.com/office/drawing/2014/main" id="{CDD33C11-FCF0-018D-4EA5-0FF71CEA5E8E}"/>
              </a:ext>
              <a:ext uri="{C183D7F6-B498-43B3-948B-1728B52AA6E4}">
                <adec:decorative xmlns:adec="http://schemas.microsoft.com/office/drawing/2017/decorative" val="1"/>
              </a:ext>
            </a:extLst>
          </p:cNvPr>
          <p:cNvSpPr/>
          <p:nvPr userDrawn="1"/>
        </p:nvSpPr>
        <p:spPr bwMode="auto">
          <a:xfrm rot="5400000" flipH="1">
            <a:off x="5433569" y="-2076654"/>
            <a:ext cx="736600" cy="11603740"/>
          </a:xfrm>
          <a:prstGeom prst="round2SameRect">
            <a:avLst>
              <a:gd name="adj1" fmla="val 50000"/>
              <a:gd name="adj2" fmla="val 0"/>
            </a:avLst>
          </a:prstGeom>
          <a:gradFill>
            <a:gsLst>
              <a:gs pos="0">
                <a:schemeClr val="tx2">
                  <a:lumMod val="75000"/>
                </a:schemeClr>
              </a:gs>
              <a:gs pos="100000">
                <a:schemeClr val="tx2"/>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32" name="Title 1">
            <a:extLst>
              <a:ext uri="{FF2B5EF4-FFF2-40B4-BE49-F238E27FC236}">
                <a16:creationId xmlns:a16="http://schemas.microsoft.com/office/drawing/2014/main" id="{F56917C8-5F84-E61B-8979-1F88A470FA0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73ABB89-8F5D-A343-94CF-54FA0EFE61A4}"/>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72BC1DA-D9A3-96C3-F202-CA002F5286D0}"/>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E6568C91-1E57-FA14-80A6-66497E6B3907}"/>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7D9D1E7E-449C-3D57-BD61-5627D3F4ABB0}"/>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66AA47A5-74C5-CD01-6B87-B9B5EB150F19}"/>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A7B7E7D4-FB68-2F96-9E65-509CADB21E4C}"/>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F8A6873F-F97B-C0E2-7105-65449782D419}"/>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DE73FF5A-BCD5-B6D5-D85A-01ED24E845E6}"/>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B527E545-1DC0-9D39-18D3-09510D2F9F16}"/>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805A2D35-1EFA-42D3-5305-745E21081520}"/>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AA5FFAFE-A039-2490-B63B-3CF0EB3E55D8}"/>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C833A490-25F6-7D1B-3B47-80BA132C41E3}"/>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466978099"/>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5C8E60D-8A31-75B9-A598-ABD8FCCE934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3" name="Picture 12" descr="A picture containing white, design, black and white, art&#10;&#10;Description automatically generated">
              <a:extLst>
                <a:ext uri="{FF2B5EF4-FFF2-40B4-BE49-F238E27FC236}">
                  <a16:creationId xmlns:a16="http://schemas.microsoft.com/office/drawing/2014/main" id="{B290D2B4-8D41-3A2F-88A0-73C523B8AED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F5C3AEB-68D1-DFDB-0EB2-988B726FC073}"/>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1" name="Rectangle: Top Corners Rounded 10">
            <a:extLst>
              <a:ext uri="{FF2B5EF4-FFF2-40B4-BE49-F238E27FC236}">
                <a16:creationId xmlns:a16="http://schemas.microsoft.com/office/drawing/2014/main" id="{8B8FBF05-759F-40D6-B768-1DB006380620}"/>
              </a:ext>
              <a:ext uri="{C183D7F6-B498-43B3-948B-1728B52AA6E4}">
                <adec:decorative xmlns:adec="http://schemas.microsoft.com/office/drawing/2017/decorative" val="1"/>
              </a:ext>
            </a:extLst>
          </p:cNvPr>
          <p:cNvSpPr>
            <a:spLocks/>
          </p:cNvSpPr>
          <p:nvPr userDrawn="1"/>
        </p:nvSpPr>
        <p:spPr bwMode="auto">
          <a:xfrm flipH="1">
            <a:off x="588263" y="1733550"/>
            <a:ext cx="11015472" cy="4535488"/>
          </a:xfrm>
          <a:prstGeom prst="round2SameRect">
            <a:avLst>
              <a:gd name="adj1" fmla="val 0"/>
              <a:gd name="adj2" fmla="val 4489"/>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err="1">
              <a:solidFill>
                <a:schemeClr val="tx1"/>
              </a:solidFill>
            </a:endParaRPr>
          </a:p>
        </p:txBody>
      </p:sp>
      <p:sp>
        <p:nvSpPr>
          <p:cNvPr id="12" name="Rectangle: Top Corners Rounded 11">
            <a:extLst>
              <a:ext uri="{FF2B5EF4-FFF2-40B4-BE49-F238E27FC236}">
                <a16:creationId xmlns:a16="http://schemas.microsoft.com/office/drawing/2014/main" id="{27BDE32D-7BC0-CFB9-6D37-0BF1D7FFB853}"/>
              </a:ext>
              <a:ext uri="{C183D7F6-B498-43B3-948B-1728B52AA6E4}">
                <adec:decorative xmlns:adec="http://schemas.microsoft.com/office/drawing/2017/decorative" val="1"/>
              </a:ext>
            </a:extLst>
          </p:cNvPr>
          <p:cNvSpPr>
            <a:spLocks/>
          </p:cNvSpPr>
          <p:nvPr userDrawn="1"/>
        </p:nvSpPr>
        <p:spPr bwMode="auto">
          <a:xfrm flipH="1">
            <a:off x="587206" y="1428750"/>
            <a:ext cx="11017586" cy="596900"/>
          </a:xfrm>
          <a:prstGeom prst="round2SameRect">
            <a:avLst>
              <a:gd name="adj1" fmla="val 39007"/>
              <a:gd name="adj2" fmla="val 0"/>
            </a:avLst>
          </a:prstGeom>
          <a:gradFill>
            <a:gsLst>
              <a:gs pos="0">
                <a:schemeClr val="tx2">
                  <a:lumMod val="75000"/>
                </a:schemeClr>
              </a:gs>
              <a:gs pos="100000">
                <a:schemeClr val="tx2"/>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2040902016"/>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5C8E60D-8A31-75B9-A598-ABD8FCCE934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3" name="Picture 12" descr="A picture containing white, design, black and white, art&#10;&#10;Description automatically generated">
              <a:extLst>
                <a:ext uri="{FF2B5EF4-FFF2-40B4-BE49-F238E27FC236}">
                  <a16:creationId xmlns:a16="http://schemas.microsoft.com/office/drawing/2014/main" id="{B290D2B4-8D41-3A2F-88A0-73C523B8AED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F5C3AEB-68D1-DFDB-0EB2-988B726FC073}"/>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492443"/>
          </a:xfrm>
        </p:spPr>
        <p:txBody>
          <a:bodyPr vert="horz" wrap="square" lIns="0" tIns="0" rIns="0" bIns="0" rtlCol="0" anchor="t">
            <a:spAutoFit/>
          </a:bodyPr>
          <a:lstStyle>
            <a:lvl1pPr marL="0" indent="0">
              <a:buFont typeface="Arial" panose="020B0604020202020204" pitchFamily="34" charset="0"/>
              <a:buNone/>
              <a:defRPr lang="en-IN" sz="32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23141044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4A4E1-8995-C60D-6DDC-E8183A406DB0}"/>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3" name="Footer Placeholder 2">
            <a:extLst>
              <a:ext uri="{FF2B5EF4-FFF2-40B4-BE49-F238E27FC236}">
                <a16:creationId xmlns:a16="http://schemas.microsoft.com/office/drawing/2014/main" id="{DB8CC42A-19BB-BBFD-6228-3DEDEA5A5A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AE58BF-17C9-9C49-6CCD-7B3657B022F5}"/>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21093429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ustom Layout (Dark)">
    <p:bg>
      <p:bgPr>
        <a:solidFill>
          <a:srgbClr val="19346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CB9202-F0B3-B910-BE65-EF290B4B3E0F}"/>
              </a:ext>
              <a:ext uri="{C183D7F6-B498-43B3-948B-1728B52AA6E4}">
                <adec:decorative xmlns:adec="http://schemas.microsoft.com/office/drawing/2017/decorative" val="1"/>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1" y="0"/>
            <a:ext cx="12191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pic>
        <p:nvPicPr>
          <p:cNvPr id="4" name="Picture 3">
            <a:extLst>
              <a:ext uri="{FF2B5EF4-FFF2-40B4-BE49-F238E27FC236}">
                <a16:creationId xmlns:a16="http://schemas.microsoft.com/office/drawing/2014/main" id="{216A86DE-F827-56A7-BFF5-4263CEF73A46}"/>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extLst>
              <a:ext uri="{28A0092B-C50C-407E-A947-70E740481C1C}">
                <a14:useLocalDpi xmlns:a14="http://schemas.microsoft.com/office/drawing/2010/main"/>
              </a:ext>
            </a:extLst>
          </a:blip>
          <a:srcRect/>
          <a:stretch/>
        </p:blipFill>
        <p:spPr>
          <a:xfrm>
            <a:off x="0" y="4597400"/>
            <a:ext cx="12193057" cy="2260599"/>
          </a:xfrm>
          <a:prstGeom prst="rect">
            <a:avLst/>
          </a:prstGeom>
        </p:spPr>
      </p:pic>
      <p:sp>
        <p:nvSpPr>
          <p:cNvPr id="14" name="Rectangle: Rounded Corners 13">
            <a:extLst>
              <a:ext uri="{FF2B5EF4-FFF2-40B4-BE49-F238E27FC236}">
                <a16:creationId xmlns:a16="http://schemas.microsoft.com/office/drawing/2014/main" id="{A2CF7B3C-1375-70E7-BF9C-325FE359C0AD}"/>
              </a:ext>
              <a:ext uri="{C183D7F6-B498-43B3-948B-1728B52AA6E4}">
                <adec:decorative xmlns:adec="http://schemas.microsoft.com/office/drawing/2017/decorative" val="1"/>
              </a:ext>
            </a:extLst>
          </p:cNvPr>
          <p:cNvSpPr/>
          <p:nvPr userDrawn="1"/>
        </p:nvSpPr>
        <p:spPr bwMode="auto">
          <a:xfrm>
            <a:off x="584709"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46" name="Straight Connector 45">
            <a:extLst>
              <a:ext uri="{FF2B5EF4-FFF2-40B4-BE49-F238E27FC236}">
                <a16:creationId xmlns:a16="http://schemas.microsoft.com/office/drawing/2014/main" id="{66AFFF1C-9F30-7A3B-D119-CF1212976EAB}"/>
              </a:ext>
              <a:ext uri="{C183D7F6-B498-43B3-948B-1728B52AA6E4}">
                <adec:decorative xmlns:adec="http://schemas.microsoft.com/office/drawing/2017/decorative" val="1"/>
              </a:ext>
            </a:extLst>
          </p:cNvPr>
          <p:cNvCxnSpPr>
            <a:cxnSpLocks/>
          </p:cNvCxnSpPr>
          <p:nvPr userDrawn="1"/>
        </p:nvCxnSpPr>
        <p:spPr>
          <a:xfrm>
            <a:off x="1435609"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2E4F7FC6-5051-7F30-EF33-05737A0846D1}"/>
              </a:ext>
              <a:ext uri="{C183D7F6-B498-43B3-948B-1728B52AA6E4}">
                <adec:decorative xmlns:adec="http://schemas.microsoft.com/office/drawing/2017/decorative" val="1"/>
              </a:ext>
            </a:extLst>
          </p:cNvPr>
          <p:cNvSpPr/>
          <p:nvPr userDrawn="1"/>
        </p:nvSpPr>
        <p:spPr bwMode="auto">
          <a:xfrm>
            <a:off x="4307517"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26" name="Straight Connector 125">
            <a:extLst>
              <a:ext uri="{FF2B5EF4-FFF2-40B4-BE49-F238E27FC236}">
                <a16:creationId xmlns:a16="http://schemas.microsoft.com/office/drawing/2014/main" id="{6219896E-5025-4584-DB70-0F4A799A689D}"/>
              </a:ext>
              <a:ext uri="{C183D7F6-B498-43B3-948B-1728B52AA6E4}">
                <adec:decorative xmlns:adec="http://schemas.microsoft.com/office/drawing/2017/decorative" val="1"/>
              </a:ext>
            </a:extLst>
          </p:cNvPr>
          <p:cNvCxnSpPr>
            <a:cxnSpLocks/>
          </p:cNvCxnSpPr>
          <p:nvPr userDrawn="1"/>
        </p:nvCxnSpPr>
        <p:spPr>
          <a:xfrm>
            <a:off x="5158417"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3" name="Rectangle: Rounded Corners 162">
            <a:extLst>
              <a:ext uri="{FF2B5EF4-FFF2-40B4-BE49-F238E27FC236}">
                <a16:creationId xmlns:a16="http://schemas.microsoft.com/office/drawing/2014/main" id="{FF75BE38-16A7-B720-EDAE-ED6D2B9C0182}"/>
              </a:ext>
              <a:ext uri="{C183D7F6-B498-43B3-948B-1728B52AA6E4}">
                <adec:decorative xmlns:adec="http://schemas.microsoft.com/office/drawing/2017/decorative" val="1"/>
              </a:ext>
            </a:extLst>
          </p:cNvPr>
          <p:cNvSpPr/>
          <p:nvPr userDrawn="1"/>
        </p:nvSpPr>
        <p:spPr bwMode="auto">
          <a:xfrm>
            <a:off x="8030324"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81" name="Straight Connector 180">
            <a:extLst>
              <a:ext uri="{FF2B5EF4-FFF2-40B4-BE49-F238E27FC236}">
                <a16:creationId xmlns:a16="http://schemas.microsoft.com/office/drawing/2014/main" id="{47465EED-9251-B079-7458-4FA3AC32CA89}"/>
              </a:ext>
              <a:ext uri="{C183D7F6-B498-43B3-948B-1728B52AA6E4}">
                <adec:decorative xmlns:adec="http://schemas.microsoft.com/office/drawing/2017/decorative" val="1"/>
              </a:ext>
            </a:extLst>
          </p:cNvPr>
          <p:cNvCxnSpPr>
            <a:cxnSpLocks/>
          </p:cNvCxnSpPr>
          <p:nvPr userDrawn="1"/>
        </p:nvCxnSpPr>
        <p:spPr>
          <a:xfrm>
            <a:off x="8881224"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9" name="Rectangle: Rounded Corners 208">
            <a:extLst>
              <a:ext uri="{FF2B5EF4-FFF2-40B4-BE49-F238E27FC236}">
                <a16:creationId xmlns:a16="http://schemas.microsoft.com/office/drawing/2014/main" id="{47386A6B-4554-5ECB-9823-E43FB1FD098C}"/>
              </a:ext>
              <a:ext uri="{C183D7F6-B498-43B3-948B-1728B52AA6E4}">
                <adec:decorative xmlns:adec="http://schemas.microsoft.com/office/drawing/2017/decorative" val="1"/>
              </a:ext>
            </a:extLst>
          </p:cNvPr>
          <p:cNvSpPr/>
          <p:nvPr userDrawn="1"/>
        </p:nvSpPr>
        <p:spPr bwMode="auto">
          <a:xfrm>
            <a:off x="588263" y="2413000"/>
            <a:ext cx="11018520" cy="3856037"/>
          </a:xfrm>
          <a:prstGeom prst="roundRect">
            <a:avLst>
              <a:gd name="adj" fmla="val 4481"/>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2000" err="1">
              <a:solidFill>
                <a:schemeClr val="bg1"/>
              </a:solidFill>
              <a:latin typeface="+mj-lt"/>
              <a:ea typeface="Segoe UI Black" panose="020B0A02040204020203" pitchFamily="34" charset="0"/>
            </a:endParaRPr>
          </a:p>
        </p:txBody>
      </p:sp>
      <p:cxnSp>
        <p:nvCxnSpPr>
          <p:cNvPr id="251" name="Straight Connector 250">
            <a:extLst>
              <a:ext uri="{FF2B5EF4-FFF2-40B4-BE49-F238E27FC236}">
                <a16:creationId xmlns:a16="http://schemas.microsoft.com/office/drawing/2014/main" id="{2CE32FE0-881B-8615-974B-FE7D5EE36163}"/>
              </a:ext>
              <a:ext uri="{C183D7F6-B498-43B3-948B-1728B52AA6E4}">
                <adec:decorative xmlns:adec="http://schemas.microsoft.com/office/drawing/2017/decorative" val="1"/>
              </a:ext>
            </a:extLst>
          </p:cNvPr>
          <p:cNvCxnSpPr>
            <a:cxnSpLocks/>
          </p:cNvCxnSpPr>
          <p:nvPr userDrawn="1"/>
        </p:nvCxnSpPr>
        <p:spPr>
          <a:xfrm rot="5400000">
            <a:off x="2456187"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86A64F0F-9D6E-0EB5-9229-DF0BC5194B43}"/>
              </a:ext>
              <a:ext uri="{C183D7F6-B498-43B3-948B-1728B52AA6E4}">
                <adec:decorative xmlns:adec="http://schemas.microsoft.com/office/drawing/2017/decorative" val="1"/>
              </a:ext>
            </a:extLst>
          </p:cNvPr>
          <p:cNvCxnSpPr>
            <a:cxnSpLocks/>
          </p:cNvCxnSpPr>
          <p:nvPr userDrawn="1"/>
        </p:nvCxnSpPr>
        <p:spPr>
          <a:xfrm rot="5400000">
            <a:off x="4636509"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657F0C70-7064-2CBC-FFDB-3237134641F7}"/>
              </a:ext>
              <a:ext uri="{C183D7F6-B498-43B3-948B-1728B52AA6E4}">
                <adec:decorative xmlns:adec="http://schemas.microsoft.com/office/drawing/2017/decorative" val="1"/>
              </a:ext>
            </a:extLst>
          </p:cNvPr>
          <p:cNvCxnSpPr>
            <a:cxnSpLocks/>
          </p:cNvCxnSpPr>
          <p:nvPr userDrawn="1"/>
        </p:nvCxnSpPr>
        <p:spPr>
          <a:xfrm rot="5400000">
            <a:off x="6816831"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21D14C52-94EB-3292-9F9D-D4E416AB14D6}"/>
              </a:ext>
              <a:ext uri="{C183D7F6-B498-43B3-948B-1728B52AA6E4}">
                <adec:decorative xmlns:adec="http://schemas.microsoft.com/office/drawing/2017/decorative" val="1"/>
              </a:ext>
            </a:extLst>
          </p:cNvPr>
          <p:cNvCxnSpPr>
            <a:cxnSpLocks/>
          </p:cNvCxnSpPr>
          <p:nvPr userDrawn="1"/>
        </p:nvCxnSpPr>
        <p:spPr>
          <a:xfrm rot="5400000">
            <a:off x="8997153"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9F0009AA-7F31-4ABA-D204-9F32713D725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85" name="Text Placeholder 35">
            <a:extLst>
              <a:ext uri="{FF2B5EF4-FFF2-40B4-BE49-F238E27FC236}">
                <a16:creationId xmlns:a16="http://schemas.microsoft.com/office/drawing/2014/main" id="{DF54318F-C42F-2F9F-A596-D9921476FFD1}"/>
              </a:ext>
            </a:extLst>
          </p:cNvPr>
          <p:cNvSpPr>
            <a:spLocks noGrp="1"/>
          </p:cNvSpPr>
          <p:nvPr>
            <p:ph type="body" sz="quarter" idx="12" hasCustomPrompt="1"/>
          </p:nvPr>
        </p:nvSpPr>
        <p:spPr>
          <a:xfrm>
            <a:off x="164148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6" name="Text Placeholder 35">
            <a:extLst>
              <a:ext uri="{FF2B5EF4-FFF2-40B4-BE49-F238E27FC236}">
                <a16:creationId xmlns:a16="http://schemas.microsoft.com/office/drawing/2014/main" id="{B0F68AA7-8719-1B00-8760-730F23D1DEF7}"/>
              </a:ext>
            </a:extLst>
          </p:cNvPr>
          <p:cNvSpPr>
            <a:spLocks noGrp="1"/>
          </p:cNvSpPr>
          <p:nvPr>
            <p:ph type="body" sz="quarter" idx="13" hasCustomPrompt="1"/>
          </p:nvPr>
        </p:nvSpPr>
        <p:spPr>
          <a:xfrm>
            <a:off x="538671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8" name="Text Placeholder 35">
            <a:extLst>
              <a:ext uri="{FF2B5EF4-FFF2-40B4-BE49-F238E27FC236}">
                <a16:creationId xmlns:a16="http://schemas.microsoft.com/office/drawing/2014/main" id="{B0FF26FE-696A-7AA9-0301-9DADD71AF3DD}"/>
              </a:ext>
            </a:extLst>
          </p:cNvPr>
          <p:cNvSpPr>
            <a:spLocks noGrp="1"/>
          </p:cNvSpPr>
          <p:nvPr>
            <p:ph type="body" sz="quarter" idx="14" hasCustomPrompt="1"/>
          </p:nvPr>
        </p:nvSpPr>
        <p:spPr>
          <a:xfrm>
            <a:off x="9118761"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8" name="Text Placeholder 35">
            <a:extLst>
              <a:ext uri="{FF2B5EF4-FFF2-40B4-BE49-F238E27FC236}">
                <a16:creationId xmlns:a16="http://schemas.microsoft.com/office/drawing/2014/main" id="{099CB3E9-BEFB-7D78-7B2F-340511FD299A}"/>
              </a:ext>
            </a:extLst>
          </p:cNvPr>
          <p:cNvSpPr>
            <a:spLocks noGrp="1"/>
          </p:cNvSpPr>
          <p:nvPr>
            <p:ph type="body" sz="quarter" idx="15" hasCustomPrompt="1"/>
          </p:nvPr>
        </p:nvSpPr>
        <p:spPr>
          <a:xfrm>
            <a:off x="771076"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6" name="Picture Placeholder 58">
            <a:extLst>
              <a:ext uri="{FF2B5EF4-FFF2-40B4-BE49-F238E27FC236}">
                <a16:creationId xmlns:a16="http://schemas.microsoft.com/office/drawing/2014/main" id="{ABB7846B-BC41-EA48-F7E6-CE3A9D572C61}"/>
              </a:ext>
            </a:extLst>
          </p:cNvPr>
          <p:cNvSpPr>
            <a:spLocks noGrp="1"/>
          </p:cNvSpPr>
          <p:nvPr>
            <p:ph type="pic" sz="quarter" idx="22"/>
          </p:nvPr>
        </p:nvSpPr>
        <p:spPr>
          <a:xfrm>
            <a:off x="69668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266" name="Text Placeholder 35">
            <a:extLst>
              <a:ext uri="{FF2B5EF4-FFF2-40B4-BE49-F238E27FC236}">
                <a16:creationId xmlns:a16="http://schemas.microsoft.com/office/drawing/2014/main" id="{EF6FA129-22E6-BB31-A892-87EBE2280452}"/>
              </a:ext>
            </a:extLst>
          </p:cNvPr>
          <p:cNvSpPr>
            <a:spLocks noGrp="1"/>
          </p:cNvSpPr>
          <p:nvPr>
            <p:ph type="body" sz="quarter" idx="16" hasCustomPrompt="1"/>
          </p:nvPr>
        </p:nvSpPr>
        <p:spPr>
          <a:xfrm>
            <a:off x="2933368"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0" name="Picture Placeholder 58">
            <a:extLst>
              <a:ext uri="{FF2B5EF4-FFF2-40B4-BE49-F238E27FC236}">
                <a16:creationId xmlns:a16="http://schemas.microsoft.com/office/drawing/2014/main" id="{0FD6E56B-658F-CA96-95AA-C52FFA4E2FB6}"/>
              </a:ext>
            </a:extLst>
          </p:cNvPr>
          <p:cNvSpPr>
            <a:spLocks noGrp="1"/>
          </p:cNvSpPr>
          <p:nvPr>
            <p:ph type="pic" sz="quarter" idx="23"/>
          </p:nvPr>
        </p:nvSpPr>
        <p:spPr>
          <a:xfrm>
            <a:off x="287700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5" name="Text Placeholder 35">
            <a:extLst>
              <a:ext uri="{FF2B5EF4-FFF2-40B4-BE49-F238E27FC236}">
                <a16:creationId xmlns:a16="http://schemas.microsoft.com/office/drawing/2014/main" id="{A3292A91-B9D9-A3A7-56A7-6927AAFB80B7}"/>
              </a:ext>
            </a:extLst>
          </p:cNvPr>
          <p:cNvSpPr>
            <a:spLocks noGrp="1"/>
          </p:cNvSpPr>
          <p:nvPr>
            <p:ph type="body" sz="quarter" idx="17" hasCustomPrompt="1"/>
          </p:nvPr>
        </p:nvSpPr>
        <p:spPr>
          <a:xfrm>
            <a:off x="5113689"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3" name="Picture Placeholder 58">
            <a:extLst>
              <a:ext uri="{FF2B5EF4-FFF2-40B4-BE49-F238E27FC236}">
                <a16:creationId xmlns:a16="http://schemas.microsoft.com/office/drawing/2014/main" id="{86C60096-3B2C-8721-9EAC-5D5A572B7C1C}"/>
              </a:ext>
            </a:extLst>
          </p:cNvPr>
          <p:cNvSpPr>
            <a:spLocks noGrp="1"/>
          </p:cNvSpPr>
          <p:nvPr>
            <p:ph type="pic" sz="quarter" idx="24"/>
          </p:nvPr>
        </p:nvSpPr>
        <p:spPr>
          <a:xfrm>
            <a:off x="505732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23" name="Text Placeholder 35">
            <a:extLst>
              <a:ext uri="{FF2B5EF4-FFF2-40B4-BE49-F238E27FC236}">
                <a16:creationId xmlns:a16="http://schemas.microsoft.com/office/drawing/2014/main" id="{38B2AFE8-9EA6-95DE-A86F-3187A37B11CB}"/>
              </a:ext>
            </a:extLst>
          </p:cNvPr>
          <p:cNvSpPr>
            <a:spLocks noGrp="1"/>
          </p:cNvSpPr>
          <p:nvPr>
            <p:ph type="body" sz="quarter" idx="18" hasCustomPrompt="1"/>
          </p:nvPr>
        </p:nvSpPr>
        <p:spPr>
          <a:xfrm>
            <a:off x="7294010"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9" name="Picture Placeholder 58">
            <a:extLst>
              <a:ext uri="{FF2B5EF4-FFF2-40B4-BE49-F238E27FC236}">
                <a16:creationId xmlns:a16="http://schemas.microsoft.com/office/drawing/2014/main" id="{7053850D-B66A-7703-3DD6-95A9D6ACA7BE}"/>
              </a:ext>
            </a:extLst>
          </p:cNvPr>
          <p:cNvSpPr>
            <a:spLocks noGrp="1"/>
          </p:cNvSpPr>
          <p:nvPr>
            <p:ph type="pic" sz="quarter" idx="25"/>
          </p:nvPr>
        </p:nvSpPr>
        <p:spPr>
          <a:xfrm>
            <a:off x="723764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334" name="Text Placeholder 35">
            <a:extLst>
              <a:ext uri="{FF2B5EF4-FFF2-40B4-BE49-F238E27FC236}">
                <a16:creationId xmlns:a16="http://schemas.microsoft.com/office/drawing/2014/main" id="{5DCD03F2-95A1-329F-CB5D-2B5D8380F9DB}"/>
              </a:ext>
            </a:extLst>
          </p:cNvPr>
          <p:cNvSpPr>
            <a:spLocks noGrp="1"/>
          </p:cNvSpPr>
          <p:nvPr>
            <p:ph type="body" sz="quarter" idx="19" hasCustomPrompt="1"/>
          </p:nvPr>
        </p:nvSpPr>
        <p:spPr>
          <a:xfrm>
            <a:off x="9474331"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6" name="Picture Placeholder 58">
            <a:extLst>
              <a:ext uri="{FF2B5EF4-FFF2-40B4-BE49-F238E27FC236}">
                <a16:creationId xmlns:a16="http://schemas.microsoft.com/office/drawing/2014/main" id="{029623A3-3E91-CB8A-2DB4-411434FC7F0F}"/>
              </a:ext>
            </a:extLst>
          </p:cNvPr>
          <p:cNvSpPr>
            <a:spLocks noGrp="1"/>
          </p:cNvSpPr>
          <p:nvPr>
            <p:ph type="pic" sz="quarter" idx="26"/>
          </p:nvPr>
        </p:nvSpPr>
        <p:spPr>
          <a:xfrm>
            <a:off x="941796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413045645"/>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E71E104-0473-75F5-025A-0ED610A9152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4" name="Picture 13" descr="A picture containing white, design, black and white, art&#10;&#10;Description automatically generated">
              <a:extLst>
                <a:ext uri="{FF2B5EF4-FFF2-40B4-BE49-F238E27FC236}">
                  <a16:creationId xmlns:a16="http://schemas.microsoft.com/office/drawing/2014/main" id="{C0DE91A2-3ABB-F533-1984-C310B571807D}"/>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32E86D55-7382-2A12-ED6E-E7F7FCED27D7}"/>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2" name="Rectangle: Rounded Corners 11">
            <a:extLst>
              <a:ext uri="{FF2B5EF4-FFF2-40B4-BE49-F238E27FC236}">
                <a16:creationId xmlns:a16="http://schemas.microsoft.com/office/drawing/2014/main" id="{86B59532-B35D-F014-C59A-7C85CDD148C1}"/>
              </a:ext>
              <a:ext uri="{C183D7F6-B498-43B3-948B-1728B52AA6E4}">
                <adec:decorative xmlns:adec="http://schemas.microsoft.com/office/drawing/2017/decorative" val="1"/>
              </a:ext>
            </a:extLst>
          </p:cNvPr>
          <p:cNvSpPr>
            <a:spLocks/>
          </p:cNvSpPr>
          <p:nvPr userDrawn="1"/>
        </p:nvSpPr>
        <p:spPr bwMode="auto">
          <a:xfrm flipH="1">
            <a:off x="7069254" y="1428750"/>
            <a:ext cx="4539340" cy="4478564"/>
          </a:xfrm>
          <a:prstGeom prst="roundRect">
            <a:avLst>
              <a:gd name="adj" fmla="val 6884"/>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13" name="Rectangle: Rounded Corners 12">
            <a:extLst>
              <a:ext uri="{FF2B5EF4-FFF2-40B4-BE49-F238E27FC236}">
                <a16:creationId xmlns:a16="http://schemas.microsoft.com/office/drawing/2014/main" id="{9E8B001A-44E4-A9C5-A6BE-E3F591F0532F}"/>
              </a:ext>
              <a:ext uri="{C183D7F6-B498-43B3-948B-1728B52AA6E4}">
                <adec:decorative xmlns:adec="http://schemas.microsoft.com/office/drawing/2017/decorative" val="1"/>
              </a:ext>
            </a:extLst>
          </p:cNvPr>
          <p:cNvSpPr>
            <a:spLocks/>
          </p:cNvSpPr>
          <p:nvPr userDrawn="1"/>
        </p:nvSpPr>
        <p:spPr bwMode="auto">
          <a:xfrm flipH="1">
            <a:off x="588263" y="1428750"/>
            <a:ext cx="6291508" cy="4478564"/>
          </a:xfrm>
          <a:prstGeom prst="roundRect">
            <a:avLst>
              <a:gd name="adj" fmla="val 6033"/>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3" name="Title 1">
            <a:extLst>
              <a:ext uri="{FF2B5EF4-FFF2-40B4-BE49-F238E27FC236}">
                <a16:creationId xmlns:a16="http://schemas.microsoft.com/office/drawing/2014/main" id="{D7ACA96C-08B4-1565-C12E-DC9AB0B2547B}"/>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433888431"/>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Content with venn diagra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20775DF-3EE3-ADB9-1723-978B9D29CCB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2" name="Picture 11" descr="A picture containing white, design, black and white, art&#10;&#10;Description automatically generated">
              <a:extLst>
                <a:ext uri="{FF2B5EF4-FFF2-40B4-BE49-F238E27FC236}">
                  <a16:creationId xmlns:a16="http://schemas.microsoft.com/office/drawing/2014/main" id="{E75CD9CB-6FA8-6CA5-AE73-41A2B65C5640}"/>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B8A9AAB9-BC01-E7C3-A36C-1F2CA6B29980}"/>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1" name="Rectangle: Single Corner Rounded 10">
            <a:extLst>
              <a:ext uri="{FF2B5EF4-FFF2-40B4-BE49-F238E27FC236}">
                <a16:creationId xmlns:a16="http://schemas.microsoft.com/office/drawing/2014/main" id="{A5886D16-D927-59FC-7EE3-35C735EF36D3}"/>
              </a:ext>
              <a:ext uri="{C183D7F6-B498-43B3-948B-1728B52AA6E4}">
                <adec:decorative xmlns:adec="http://schemas.microsoft.com/office/drawing/2017/decorative" val="1"/>
              </a:ext>
            </a:extLst>
          </p:cNvPr>
          <p:cNvSpPr/>
          <p:nvPr userDrawn="1"/>
        </p:nvSpPr>
        <p:spPr bwMode="auto">
          <a:xfrm>
            <a:off x="0" y="1436688"/>
            <a:ext cx="7467600" cy="5421312"/>
          </a:xfrm>
          <a:prstGeom prst="round1Rect">
            <a:avLst>
              <a:gd name="adj" fmla="val 11027"/>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itle 1">
            <a:extLst>
              <a:ext uri="{FF2B5EF4-FFF2-40B4-BE49-F238E27FC236}">
                <a16:creationId xmlns:a16="http://schemas.microsoft.com/office/drawing/2014/main" id="{5C0FEC20-5D0D-6C71-DA64-D24A8A4B15E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8" name="Text Placeholder 35">
            <a:extLst>
              <a:ext uri="{FF2B5EF4-FFF2-40B4-BE49-F238E27FC236}">
                <a16:creationId xmlns:a16="http://schemas.microsoft.com/office/drawing/2014/main" id="{37D570D2-42FE-2760-C8D1-9E83FCA4F530}"/>
              </a:ext>
            </a:extLst>
          </p:cNvPr>
          <p:cNvSpPr>
            <a:spLocks noGrp="1"/>
          </p:cNvSpPr>
          <p:nvPr>
            <p:ph type="body" sz="quarter" idx="23" hasCustomPrompt="1"/>
          </p:nvPr>
        </p:nvSpPr>
        <p:spPr>
          <a:xfrm>
            <a:off x="8127999" y="1352010"/>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1</a:t>
            </a:r>
          </a:p>
        </p:txBody>
      </p:sp>
      <p:sp>
        <p:nvSpPr>
          <p:cNvPr id="36" name="Text Placeholder 35">
            <a:extLst>
              <a:ext uri="{FF2B5EF4-FFF2-40B4-BE49-F238E27FC236}">
                <a16:creationId xmlns:a16="http://schemas.microsoft.com/office/drawing/2014/main" id="{30BD6089-FFF7-DF6A-8F0A-60F942D8D0EF}"/>
              </a:ext>
            </a:extLst>
          </p:cNvPr>
          <p:cNvSpPr>
            <a:spLocks noGrp="1"/>
          </p:cNvSpPr>
          <p:nvPr>
            <p:ph type="body" sz="quarter" idx="21" hasCustomPrompt="1"/>
          </p:nvPr>
        </p:nvSpPr>
        <p:spPr>
          <a:xfrm>
            <a:off x="8127999" y="1949738"/>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37" name="Text Placeholder 35">
            <a:extLst>
              <a:ext uri="{FF2B5EF4-FFF2-40B4-BE49-F238E27FC236}">
                <a16:creationId xmlns:a16="http://schemas.microsoft.com/office/drawing/2014/main" id="{81F50A0A-2BD9-1114-30FF-91FD830AD207}"/>
              </a:ext>
            </a:extLst>
          </p:cNvPr>
          <p:cNvSpPr>
            <a:spLocks noGrp="1"/>
          </p:cNvSpPr>
          <p:nvPr>
            <p:ph type="body" sz="quarter" idx="22" hasCustomPrompt="1"/>
          </p:nvPr>
        </p:nvSpPr>
        <p:spPr>
          <a:xfrm>
            <a:off x="8127999" y="2277208"/>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D673F7F9-EDCA-FB72-8AE8-77D607CF123A}"/>
              </a:ext>
            </a:extLst>
          </p:cNvPr>
          <p:cNvSpPr>
            <a:spLocks noGrp="1"/>
          </p:cNvSpPr>
          <p:nvPr>
            <p:ph type="body" sz="quarter" idx="26" hasCustomPrompt="1"/>
          </p:nvPr>
        </p:nvSpPr>
        <p:spPr>
          <a:xfrm>
            <a:off x="8127999" y="3072485"/>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2</a:t>
            </a:r>
          </a:p>
        </p:txBody>
      </p:sp>
      <p:sp>
        <p:nvSpPr>
          <p:cNvPr id="39" name="Text Placeholder 35">
            <a:extLst>
              <a:ext uri="{FF2B5EF4-FFF2-40B4-BE49-F238E27FC236}">
                <a16:creationId xmlns:a16="http://schemas.microsoft.com/office/drawing/2014/main" id="{2D7DD48A-49A0-169F-8726-DCA105910C7A}"/>
              </a:ext>
            </a:extLst>
          </p:cNvPr>
          <p:cNvSpPr>
            <a:spLocks noGrp="1"/>
          </p:cNvSpPr>
          <p:nvPr>
            <p:ph type="body" sz="quarter" idx="24" hasCustomPrompt="1"/>
          </p:nvPr>
        </p:nvSpPr>
        <p:spPr>
          <a:xfrm>
            <a:off x="8127999" y="367021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40" name="Text Placeholder 35">
            <a:extLst>
              <a:ext uri="{FF2B5EF4-FFF2-40B4-BE49-F238E27FC236}">
                <a16:creationId xmlns:a16="http://schemas.microsoft.com/office/drawing/2014/main" id="{DB9A021A-63D3-D7F6-97E2-E37A37D9902D}"/>
              </a:ext>
            </a:extLst>
          </p:cNvPr>
          <p:cNvSpPr>
            <a:spLocks noGrp="1"/>
          </p:cNvSpPr>
          <p:nvPr>
            <p:ph type="body" sz="quarter" idx="25" hasCustomPrompt="1"/>
          </p:nvPr>
        </p:nvSpPr>
        <p:spPr>
          <a:xfrm>
            <a:off x="8127999" y="399768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518CE0EF-01CA-6DF6-603E-D9DD384E0136}"/>
              </a:ext>
            </a:extLst>
          </p:cNvPr>
          <p:cNvSpPr>
            <a:spLocks noGrp="1"/>
          </p:cNvSpPr>
          <p:nvPr>
            <p:ph type="body" sz="quarter" idx="29" hasCustomPrompt="1"/>
          </p:nvPr>
        </p:nvSpPr>
        <p:spPr>
          <a:xfrm>
            <a:off x="8127999" y="4797025"/>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3</a:t>
            </a:r>
          </a:p>
        </p:txBody>
      </p:sp>
      <p:sp>
        <p:nvSpPr>
          <p:cNvPr id="42" name="Text Placeholder 35">
            <a:extLst>
              <a:ext uri="{FF2B5EF4-FFF2-40B4-BE49-F238E27FC236}">
                <a16:creationId xmlns:a16="http://schemas.microsoft.com/office/drawing/2014/main" id="{B3DF3DD8-927E-87A3-C931-5EE0CC14474B}"/>
              </a:ext>
            </a:extLst>
          </p:cNvPr>
          <p:cNvSpPr>
            <a:spLocks noGrp="1"/>
          </p:cNvSpPr>
          <p:nvPr>
            <p:ph type="body" sz="quarter" idx="27" hasCustomPrompt="1"/>
          </p:nvPr>
        </p:nvSpPr>
        <p:spPr>
          <a:xfrm>
            <a:off x="8127999" y="539475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43" name="Text Placeholder 35">
            <a:extLst>
              <a:ext uri="{FF2B5EF4-FFF2-40B4-BE49-F238E27FC236}">
                <a16:creationId xmlns:a16="http://schemas.microsoft.com/office/drawing/2014/main" id="{01D83148-7E45-90DA-FBAA-DF532D9AB846}"/>
              </a:ext>
            </a:extLst>
          </p:cNvPr>
          <p:cNvSpPr>
            <a:spLocks noGrp="1"/>
          </p:cNvSpPr>
          <p:nvPr>
            <p:ph type="body" sz="quarter" idx="28" hasCustomPrompt="1"/>
          </p:nvPr>
        </p:nvSpPr>
        <p:spPr>
          <a:xfrm>
            <a:off x="8127999" y="572222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887765453"/>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Pyramid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01775B1-C7BA-1C28-6DD5-256F098AD812}"/>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2" name="Picture 11" descr="A picture containing white, design, black and white, art&#10;&#10;Description automatically generated">
              <a:extLst>
                <a:ext uri="{FF2B5EF4-FFF2-40B4-BE49-F238E27FC236}">
                  <a16:creationId xmlns:a16="http://schemas.microsoft.com/office/drawing/2014/main" id="{64B2730C-F7F3-DFC7-BB46-B3AD7102637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515909F7-FC1F-62DF-9D12-65B2051611E8}"/>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1" name="Rectangle 10">
            <a:extLst>
              <a:ext uri="{FF2B5EF4-FFF2-40B4-BE49-F238E27FC236}">
                <a16:creationId xmlns:a16="http://schemas.microsoft.com/office/drawing/2014/main" id="{74261ACD-524F-F8A5-7C1D-EBAD6CF91E7C}"/>
              </a:ext>
              <a:ext uri="{C183D7F6-B498-43B3-948B-1728B52AA6E4}">
                <adec:decorative xmlns:adec="http://schemas.microsoft.com/office/drawing/2017/decorative" val="1"/>
              </a:ext>
            </a:extLst>
          </p:cNvPr>
          <p:cNvSpPr/>
          <p:nvPr userDrawn="1"/>
        </p:nvSpPr>
        <p:spPr bwMode="auto">
          <a:xfrm>
            <a:off x="0" y="1436688"/>
            <a:ext cx="12192000" cy="4646612"/>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Title 1">
            <a:extLst>
              <a:ext uri="{FF2B5EF4-FFF2-40B4-BE49-F238E27FC236}">
                <a16:creationId xmlns:a16="http://schemas.microsoft.com/office/drawing/2014/main" id="{DD9F9B38-D95C-F64F-84C5-FA31BC716B1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4045132046"/>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B72737-0619-8938-DBE8-7F20F43E788C}"/>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2" name="Picture 11" descr="A picture containing white, design, black and white, art&#10;&#10;Description automatically generated">
              <a:extLst>
                <a:ext uri="{FF2B5EF4-FFF2-40B4-BE49-F238E27FC236}">
                  <a16:creationId xmlns:a16="http://schemas.microsoft.com/office/drawing/2014/main" id="{FB75841B-A7F1-C2D4-C5BC-4543D2F5870F}"/>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61E4D187-4C6C-5061-8A14-70FFF6A77D47}"/>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0"/>
              <a:ext cx="12192001" cy="6858000"/>
            </a:xfrm>
            <a:prstGeom prst="rect">
              <a:avLst/>
            </a:prstGeom>
          </p:spPr>
        </p:pic>
      </p:grpSp>
      <p:sp>
        <p:nvSpPr>
          <p:cNvPr id="11" name="Rectangle: Single Corner Rounded 10">
            <a:extLst>
              <a:ext uri="{FF2B5EF4-FFF2-40B4-BE49-F238E27FC236}">
                <a16:creationId xmlns:a16="http://schemas.microsoft.com/office/drawing/2014/main" id="{28F9A865-97B3-C5BE-DB00-CA28E0DAE6FB}"/>
              </a:ext>
              <a:ext uri="{C183D7F6-B498-43B3-948B-1728B52AA6E4}">
                <adec:decorative xmlns:adec="http://schemas.microsoft.com/office/drawing/2017/decorative" val="1"/>
              </a:ext>
            </a:extLst>
          </p:cNvPr>
          <p:cNvSpPr/>
          <p:nvPr userDrawn="1"/>
        </p:nvSpPr>
        <p:spPr bwMode="auto">
          <a:xfrm>
            <a:off x="0" y="1436688"/>
            <a:ext cx="5740400" cy="5113533"/>
          </a:xfrm>
          <a:prstGeom prst="round1Rect">
            <a:avLst>
              <a:gd name="adj" fmla="val 1302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18" name="Rectangle 17">
            <a:extLst>
              <a:ext uri="{FF2B5EF4-FFF2-40B4-BE49-F238E27FC236}">
                <a16:creationId xmlns:a16="http://schemas.microsoft.com/office/drawing/2014/main" id="{4AD22638-E85A-8246-1496-86736BCE1B4E}"/>
              </a:ext>
              <a:ext uri="{C183D7F6-B498-43B3-948B-1728B52AA6E4}">
                <adec:decorative xmlns:adec="http://schemas.microsoft.com/office/drawing/2017/decorative" val="1"/>
              </a:ext>
            </a:extLst>
          </p:cNvPr>
          <p:cNvSpPr/>
          <p:nvPr userDrawn="1"/>
        </p:nvSpPr>
        <p:spPr bwMode="auto">
          <a:xfrm rot="5400000" flipH="1">
            <a:off x="5942111" y="608110"/>
            <a:ext cx="307777" cy="12192000"/>
          </a:xfrm>
          <a:prstGeom prst="rect">
            <a:avLst/>
          </a:prstGeom>
          <a:gradFill flip="none" rotWithShape="1">
            <a:gsLst>
              <a:gs pos="35000">
                <a:schemeClr val="tx2"/>
              </a:gs>
              <a:gs pos="100000">
                <a:schemeClr val="tx2">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19" name="Straight Connector 18">
            <a:extLst>
              <a:ext uri="{FF2B5EF4-FFF2-40B4-BE49-F238E27FC236}">
                <a16:creationId xmlns:a16="http://schemas.microsoft.com/office/drawing/2014/main" id="{AC0A0D0F-043A-D756-9908-B9863D45FFA9}"/>
              </a:ext>
              <a:ext uri="{C183D7F6-B498-43B3-948B-1728B52AA6E4}">
                <adec:decorative xmlns:adec="http://schemas.microsoft.com/office/drawing/2017/decorative" val="1"/>
              </a:ext>
            </a:extLst>
          </p:cNvPr>
          <p:cNvCxnSpPr>
            <a:cxnSpLocks/>
          </p:cNvCxnSpPr>
          <p:nvPr userDrawn="1"/>
        </p:nvCxnSpPr>
        <p:spPr>
          <a:xfrm>
            <a:off x="588263" y="1436688"/>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71C7370-0759-F0F6-1E84-B6204E3661D7}"/>
              </a:ext>
              <a:ext uri="{C183D7F6-B498-43B3-948B-1728B52AA6E4}">
                <adec:decorative xmlns:adec="http://schemas.microsoft.com/office/drawing/2017/decorative" val="1"/>
              </a:ext>
            </a:extLst>
          </p:cNvPr>
          <p:cNvCxnSpPr>
            <a:cxnSpLocks/>
          </p:cNvCxnSpPr>
          <p:nvPr userDrawn="1"/>
        </p:nvCxnSpPr>
        <p:spPr>
          <a:xfrm>
            <a:off x="6242050" y="1436688"/>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AF771DB1-9CE4-325C-D5E6-03D71B87394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2" name="Text Placeholder 35">
            <a:extLst>
              <a:ext uri="{FF2B5EF4-FFF2-40B4-BE49-F238E27FC236}">
                <a16:creationId xmlns:a16="http://schemas.microsoft.com/office/drawing/2014/main" id="{3E1A9C30-0BB8-133E-D68B-740CFE57E218}"/>
              </a:ext>
            </a:extLst>
          </p:cNvPr>
          <p:cNvSpPr>
            <a:spLocks noGrp="1"/>
          </p:cNvSpPr>
          <p:nvPr>
            <p:ph type="body" sz="quarter" idx="25" hasCustomPrompt="1"/>
          </p:nvPr>
        </p:nvSpPr>
        <p:spPr>
          <a:xfrm>
            <a:off x="588263" y="1789499"/>
            <a:ext cx="4710812" cy="4210022"/>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Text Placeholder 35">
            <a:extLst>
              <a:ext uri="{FF2B5EF4-FFF2-40B4-BE49-F238E27FC236}">
                <a16:creationId xmlns:a16="http://schemas.microsoft.com/office/drawing/2014/main" id="{BB3FCEBC-408E-2EE9-42FA-C3588E992FF5}"/>
              </a:ext>
            </a:extLst>
          </p:cNvPr>
          <p:cNvSpPr>
            <a:spLocks noGrp="1"/>
          </p:cNvSpPr>
          <p:nvPr>
            <p:ph type="body" sz="quarter" idx="21" hasCustomPrompt="1"/>
          </p:nvPr>
        </p:nvSpPr>
        <p:spPr>
          <a:xfrm>
            <a:off x="6242050" y="170926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Text Placeholder 35">
            <a:extLst>
              <a:ext uri="{FF2B5EF4-FFF2-40B4-BE49-F238E27FC236}">
                <a16:creationId xmlns:a16="http://schemas.microsoft.com/office/drawing/2014/main" id="{C47E819C-E533-8069-6253-4440F51BC262}"/>
              </a:ext>
            </a:extLst>
          </p:cNvPr>
          <p:cNvSpPr>
            <a:spLocks noGrp="1"/>
          </p:cNvSpPr>
          <p:nvPr>
            <p:ph type="body" sz="quarter" idx="26" hasCustomPrompt="1"/>
          </p:nvPr>
        </p:nvSpPr>
        <p:spPr>
          <a:xfrm>
            <a:off x="6242049" y="215847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5" name="Text Placeholder 35">
            <a:extLst>
              <a:ext uri="{FF2B5EF4-FFF2-40B4-BE49-F238E27FC236}">
                <a16:creationId xmlns:a16="http://schemas.microsoft.com/office/drawing/2014/main" id="{6E2C8C10-4A6F-4F85-CE7B-C6F6F294FB0D}"/>
              </a:ext>
            </a:extLst>
          </p:cNvPr>
          <p:cNvSpPr>
            <a:spLocks noGrp="1"/>
          </p:cNvSpPr>
          <p:nvPr>
            <p:ph type="body" sz="quarter" idx="27" hasCustomPrompt="1"/>
          </p:nvPr>
        </p:nvSpPr>
        <p:spPr>
          <a:xfrm>
            <a:off x="6242050" y="404981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D9E00F15-294A-104E-7473-89117B1DCD50}"/>
              </a:ext>
            </a:extLst>
          </p:cNvPr>
          <p:cNvSpPr>
            <a:spLocks noGrp="1"/>
          </p:cNvSpPr>
          <p:nvPr>
            <p:ph type="body" sz="quarter" idx="28" hasCustomPrompt="1"/>
          </p:nvPr>
        </p:nvSpPr>
        <p:spPr>
          <a:xfrm>
            <a:off x="6242049" y="449902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89039576"/>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ustomer story slide">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43E480C-326D-1BD3-675E-490770C2832C}"/>
              </a:ext>
            </a:extLst>
          </p:cNvPr>
          <p:cNvSpPr/>
          <p:nvPr userDrawn="1"/>
        </p:nvSpPr>
        <p:spPr>
          <a:xfrm flipH="1">
            <a:off x="5727701" y="3265542"/>
            <a:ext cx="6464299" cy="2178087"/>
          </a:xfrm>
          <a:custGeom>
            <a:avLst/>
            <a:gdLst>
              <a:gd name="connsiteX0" fmla="*/ 0 w 6464299"/>
              <a:gd name="connsiteY0" fmla="*/ 0 h 2178087"/>
              <a:gd name="connsiteX1" fmla="*/ 0 w 6464299"/>
              <a:gd name="connsiteY1" fmla="*/ 2178087 h 2178087"/>
              <a:gd name="connsiteX2" fmla="*/ 6464299 w 6464299"/>
              <a:gd name="connsiteY2" fmla="*/ 2178087 h 2178087"/>
              <a:gd name="connsiteX3" fmla="*/ 6464299 w 6464299"/>
              <a:gd name="connsiteY3" fmla="*/ 1609277 h 2178087"/>
              <a:gd name="connsiteX4" fmla="*/ 6395660 w 6464299"/>
              <a:gd name="connsiteY4" fmla="*/ 1621604 h 2178087"/>
              <a:gd name="connsiteX5" fmla="*/ 5229981 w 6464299"/>
              <a:gd name="connsiteY5" fmla="*/ 1726424 h 2178087"/>
              <a:gd name="connsiteX6" fmla="*/ 49187 w 6464299"/>
              <a:gd name="connsiteY6" fmla="*/ 26851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299" h="2178087">
                <a:moveTo>
                  <a:pt x="0" y="0"/>
                </a:moveTo>
                <a:lnTo>
                  <a:pt x="0" y="2178087"/>
                </a:lnTo>
                <a:lnTo>
                  <a:pt x="6464299" y="2178087"/>
                </a:lnTo>
                <a:lnTo>
                  <a:pt x="6464299" y="1609277"/>
                </a:lnTo>
                <a:lnTo>
                  <a:pt x="6395660" y="1621604"/>
                </a:lnTo>
                <a:cubicBezTo>
                  <a:pt x="6007101" y="1684506"/>
                  <a:pt x="5618541" y="1724931"/>
                  <a:pt x="5229981" y="1726424"/>
                </a:cubicBezTo>
                <a:cubicBezTo>
                  <a:pt x="3157664" y="1718458"/>
                  <a:pt x="1085347" y="603113"/>
                  <a:pt x="49187" y="26851"/>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4" name="Freeform: Shape 3">
            <a:extLst>
              <a:ext uri="{FF2B5EF4-FFF2-40B4-BE49-F238E27FC236}">
                <a16:creationId xmlns:a16="http://schemas.microsoft.com/office/drawing/2014/main" id="{39E40CF4-B58F-9DD8-56C2-61B59D6AA3DB}"/>
              </a:ext>
            </a:extLst>
          </p:cNvPr>
          <p:cNvSpPr/>
          <p:nvPr userDrawn="1"/>
        </p:nvSpPr>
        <p:spPr>
          <a:xfrm flipH="1">
            <a:off x="5727700" y="3898856"/>
            <a:ext cx="6464300" cy="1074871"/>
          </a:xfrm>
          <a:custGeom>
            <a:avLst/>
            <a:gdLst>
              <a:gd name="connsiteX0" fmla="*/ 0 w 6464300"/>
              <a:gd name="connsiteY0" fmla="*/ 0 h 1074871"/>
              <a:gd name="connsiteX1" fmla="*/ 0 w 6464300"/>
              <a:gd name="connsiteY1" fmla="*/ 1074871 h 1074871"/>
              <a:gd name="connsiteX2" fmla="*/ 6464300 w 6464300"/>
              <a:gd name="connsiteY2" fmla="*/ 1074871 h 1074871"/>
              <a:gd name="connsiteX3" fmla="*/ 6464300 w 6464300"/>
              <a:gd name="connsiteY3" fmla="*/ 628704 h 1074871"/>
              <a:gd name="connsiteX4" fmla="*/ 6141358 w 6464300"/>
              <a:gd name="connsiteY4" fmla="*/ 670861 h 1074871"/>
              <a:gd name="connsiteX5" fmla="*/ 4094238 w 6464300"/>
              <a:gd name="connsiteY5" fmla="*/ 875996 h 1074871"/>
              <a:gd name="connsiteX6" fmla="*/ 682372 w 6464300"/>
              <a:gd name="connsiteY6" fmla="*/ 218743 h 10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300" h="1074871">
                <a:moveTo>
                  <a:pt x="0" y="0"/>
                </a:moveTo>
                <a:lnTo>
                  <a:pt x="0" y="1074871"/>
                </a:lnTo>
                <a:lnTo>
                  <a:pt x="6464300" y="1074871"/>
                </a:lnTo>
                <a:lnTo>
                  <a:pt x="6464300" y="628704"/>
                </a:lnTo>
                <a:lnTo>
                  <a:pt x="6141358" y="670861"/>
                </a:lnTo>
                <a:cubicBezTo>
                  <a:pt x="5458985" y="765855"/>
                  <a:pt x="4776612" y="874455"/>
                  <a:pt x="4094238" y="875996"/>
                </a:cubicBezTo>
                <a:cubicBezTo>
                  <a:pt x="2729492" y="872915"/>
                  <a:pt x="1364746" y="441593"/>
                  <a:pt x="682372" y="218743"/>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7" name="Rectangle: Top Corners Rounded 6">
            <a:extLst>
              <a:ext uri="{FF2B5EF4-FFF2-40B4-BE49-F238E27FC236}">
                <a16:creationId xmlns:a16="http://schemas.microsoft.com/office/drawing/2014/main" id="{CB0B2AFE-795D-9F81-C2DA-BE6BA5909955}"/>
              </a:ext>
            </a:extLst>
          </p:cNvPr>
          <p:cNvSpPr/>
          <p:nvPr userDrawn="1"/>
        </p:nvSpPr>
        <p:spPr bwMode="auto">
          <a:xfrm flipH="1">
            <a:off x="2994654" y="4151782"/>
            <a:ext cx="9211883" cy="2706217"/>
          </a:xfrm>
          <a:prstGeom prst="round2SameRect">
            <a:avLst>
              <a:gd name="adj1" fmla="val 0"/>
              <a:gd name="adj2" fmla="val 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17" name="Graphic 28">
            <a:extLst>
              <a:ext uri="{FF2B5EF4-FFF2-40B4-BE49-F238E27FC236}">
                <a16:creationId xmlns:a16="http://schemas.microsoft.com/office/drawing/2014/main" id="{7F00291F-6782-6CC4-396F-B301C212B1CB}"/>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Lst>
          </p:cNvPr>
          <p:cNvSpPr/>
          <p:nvPr userDrawn="1"/>
        </p:nvSpPr>
        <p:spPr bwMode="auto">
          <a:xfrm>
            <a:off x="-1" y="0"/>
            <a:ext cx="2994654" cy="68580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19" name="Title 33">
            <a:extLst>
              <a:ext uri="{FF2B5EF4-FFF2-40B4-BE49-F238E27FC236}">
                <a16:creationId xmlns:a16="http://schemas.microsoft.com/office/drawing/2014/main" id="{F89D72CF-7A31-D125-DB5B-833146136650}"/>
              </a:ext>
            </a:extLst>
          </p:cNvPr>
          <p:cNvSpPr txBox="1">
            <a:spLocks/>
          </p:cNvSpPr>
          <p:nvPr userDrawn="1"/>
        </p:nvSpPr>
        <p:spPr>
          <a:xfrm>
            <a:off x="292100" y="585788"/>
            <a:ext cx="1437389" cy="438552"/>
          </a:xfrm>
          <a:prstGeom prst="rect">
            <a:avLst/>
          </a:prstGeom>
          <a:solidFill>
            <a:schemeClr val="bg1"/>
          </a:solidFill>
          <a:ln>
            <a:solidFill>
              <a:schemeClr val="bg1"/>
            </a:solidFill>
            <a:headEnd type="none" w="med" len="med"/>
            <a:tailEnd type="none" w="med" len="med"/>
          </a:ln>
          <a:effectLst>
            <a:outerShdw blurRad="444500" dir="660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a:spcAft>
                <a:spcPts val="600"/>
              </a:spcAft>
              <a:defRPr sz="2400">
                <a:solidFill>
                  <a:schemeClr val="tx2"/>
                </a:solidFill>
                <a:latin typeface="+mj-lt"/>
                <a:ea typeface="Segoe UI Black" panose="020B0A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Font typeface="Arial" panose="020B0604020202020204" pitchFamily="34" charset="0"/>
              <a:buNone/>
            </a:pPr>
            <a:endParaRPr lang="en-US" sz="2000">
              <a:solidFill>
                <a:schemeClr val="tx1"/>
              </a:solidFill>
            </a:endParaRPr>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7695" y="6191792"/>
            <a:ext cx="1554480" cy="333103"/>
          </a:xfrm>
          <a:prstGeom prst="rect">
            <a:avLst/>
          </a:prstGeom>
        </p:spPr>
      </p:pic>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 name="Text Placeholder 35">
            <a:extLst>
              <a:ext uri="{FF2B5EF4-FFF2-40B4-BE49-F238E27FC236}">
                <a16:creationId xmlns:a16="http://schemas.microsoft.com/office/drawing/2014/main" id="{DC1C33FC-0565-DB57-09AD-164E6C4B9513}"/>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35">
            <a:extLst>
              <a:ext uri="{FF2B5EF4-FFF2-40B4-BE49-F238E27FC236}">
                <a16:creationId xmlns:a16="http://schemas.microsoft.com/office/drawing/2014/main" id="{D6063B89-448E-BAD5-83EA-D6172E43C1EA}"/>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35">
            <a:extLst>
              <a:ext uri="{FF2B5EF4-FFF2-40B4-BE49-F238E27FC236}">
                <a16:creationId xmlns:a16="http://schemas.microsoft.com/office/drawing/2014/main" id="{2D221920-FD96-D642-C3BF-0CF09A5380C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67692343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4 Images with title slide_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5AD8BA-8EB4-8C60-44BE-802AED33C1B2}"/>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72603C5-7E1C-691A-3A8C-77A988987D3F}"/>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380843"/>
            <a:ext cx="12193057" cy="3504589"/>
          </a:xfrm>
          <a:prstGeom prst="rect">
            <a:avLst/>
          </a:prstGeom>
        </p:spPr>
      </p:pic>
      <p:sp>
        <p:nvSpPr>
          <p:cNvPr id="5" name="Rectangle 4">
            <a:extLst>
              <a:ext uri="{FF2B5EF4-FFF2-40B4-BE49-F238E27FC236}">
                <a16:creationId xmlns:a16="http://schemas.microsoft.com/office/drawing/2014/main" id="{508B6CFE-E000-0ACC-B219-6756C1F3F834}"/>
              </a:ext>
              <a:ext uri="{C183D7F6-B498-43B3-948B-1728B52AA6E4}">
                <adec:decorative xmlns:adec="http://schemas.microsoft.com/office/drawing/2017/decorative" val="1"/>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CD59E4C4-633B-B2CB-3CDB-C63BB998E9AA}"/>
              </a:ext>
              <a:ext uri="{C183D7F6-B498-43B3-948B-1728B52AA6E4}">
                <adec:decorative xmlns:adec="http://schemas.microsoft.com/office/drawing/2017/decorative" val="1"/>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651AE396-4D0D-6F84-E1A1-5781BF535782}"/>
              </a:ext>
              <a:ext uri="{C183D7F6-B498-43B3-948B-1728B52AA6E4}">
                <adec:decorative xmlns:adec="http://schemas.microsoft.com/office/drawing/2017/decorative" val="1"/>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4A490233-9888-9C55-E1BF-71FF49CFFF1F}"/>
              </a:ext>
              <a:ext uri="{C183D7F6-B498-43B3-948B-1728B52AA6E4}">
                <adec:decorative xmlns:adec="http://schemas.microsoft.com/office/drawing/2017/decorative" val="1"/>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38497971-F6C3-8944-7B6D-031FEA20BE4C}"/>
              </a:ext>
              <a:ext uri="{C183D7F6-B498-43B3-948B-1728B52AA6E4}">
                <adec:decorative xmlns:adec="http://schemas.microsoft.com/office/drawing/2017/decorative" val="1"/>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5AD73CCB-1EEE-33B9-1D95-8A37AFA234A9}"/>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1" name="Freeform: Shape 10">
              <a:extLst>
                <a:ext uri="{FF2B5EF4-FFF2-40B4-BE49-F238E27FC236}">
                  <a16:creationId xmlns:a16="http://schemas.microsoft.com/office/drawing/2014/main" id="{F02863E0-F8A7-A9C9-C95A-8F840EA55DA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0E237AE5-1E95-8389-7585-D0C84AE79E7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 name="Title 1">
            <a:extLst>
              <a:ext uri="{FF2B5EF4-FFF2-40B4-BE49-F238E27FC236}">
                <a16:creationId xmlns:a16="http://schemas.microsoft.com/office/drawing/2014/main" id="{8CCB51E2-97A6-063B-9241-1EE35A28D633}"/>
              </a:ext>
            </a:extLst>
          </p:cNvPr>
          <p:cNvSpPr>
            <a:spLocks noGrp="1"/>
          </p:cNvSpPr>
          <p:nvPr>
            <p:ph type="title"/>
          </p:nvPr>
        </p:nvSpPr>
        <p:spPr>
          <a:xfrm>
            <a:off x="588263" y="885909"/>
            <a:ext cx="11018520" cy="553998"/>
          </a:xfrm>
        </p:spPr>
        <p:txBody>
          <a:bodyPr/>
          <a:lstStyle>
            <a:lvl1pPr marL="0" indent="0" algn="ctr" defTabSz="932742" rtl="0" eaLnBrk="1" latinLnBrk="0" hangingPunct="1">
              <a:lnSpc>
                <a:spcPct val="100000"/>
              </a:lnSpc>
              <a:spcBef>
                <a:spcPct val="0"/>
              </a:spcBef>
              <a:buFont typeface="Arial" panose="020B0604020202020204" pitchFamily="34" charset="0"/>
              <a:buNone/>
              <a:defRPr lang="en-IN" sz="3600" b="0" kern="1200" cap="none" spc="-50" baseline="0" dirty="0">
                <a:ln w="3175">
                  <a:noFill/>
                </a:ln>
                <a:gradFill>
                  <a:gsLst>
                    <a:gs pos="0">
                      <a:schemeClr val="tx2"/>
                    </a:gs>
                    <a:gs pos="100000">
                      <a:schemeClr val="tx2">
                        <a:lumMod val="60000"/>
                        <a:lumOff val="40000"/>
                      </a:schemeClr>
                    </a:gs>
                  </a:gsLst>
                  <a:lin ang="2700000" scaled="1"/>
                </a:gradFill>
                <a:effectLst/>
                <a:latin typeface="+mj-lt"/>
                <a:ea typeface="+mn-ea"/>
                <a:cs typeface="Segoe UI" pitchFamily="34" charset="0"/>
              </a:defRPr>
            </a:lvl1pPr>
          </a:lstStyle>
          <a:p>
            <a:r>
              <a:rPr lang="en-US"/>
              <a:t>Click to edit Master title style</a:t>
            </a:r>
            <a:endParaRPr lang="en-IN"/>
          </a:p>
        </p:txBody>
      </p:sp>
      <p:sp>
        <p:nvSpPr>
          <p:cNvPr id="14" name="Picture Placeholder 58">
            <a:extLst>
              <a:ext uri="{FF2B5EF4-FFF2-40B4-BE49-F238E27FC236}">
                <a16:creationId xmlns:a16="http://schemas.microsoft.com/office/drawing/2014/main" id="{B6608B93-9B28-49CD-A1A9-2D21516C8F14}"/>
              </a:ext>
            </a:extLst>
          </p:cNvPr>
          <p:cNvSpPr>
            <a:spLocks noGrp="1"/>
          </p:cNvSpPr>
          <p:nvPr>
            <p:ph type="pic" sz="quarter" idx="24"/>
          </p:nvPr>
        </p:nvSpPr>
        <p:spPr>
          <a:xfrm>
            <a:off x="58367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5" name="Text Placeholder 35">
            <a:extLst>
              <a:ext uri="{FF2B5EF4-FFF2-40B4-BE49-F238E27FC236}">
                <a16:creationId xmlns:a16="http://schemas.microsoft.com/office/drawing/2014/main" id="{8EB06A7C-D22C-1FBA-65EB-02EA0B6F8FFB}"/>
              </a:ext>
            </a:extLst>
          </p:cNvPr>
          <p:cNvSpPr>
            <a:spLocks noGrp="1"/>
          </p:cNvSpPr>
          <p:nvPr>
            <p:ph type="body" sz="quarter" idx="21" hasCustomPrompt="1"/>
          </p:nvPr>
        </p:nvSpPr>
        <p:spPr>
          <a:xfrm>
            <a:off x="6779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6" name="Picture Placeholder 58">
            <a:extLst>
              <a:ext uri="{FF2B5EF4-FFF2-40B4-BE49-F238E27FC236}">
                <a16:creationId xmlns:a16="http://schemas.microsoft.com/office/drawing/2014/main" id="{0FD08BD9-6CB4-7876-E13F-33B944066CF2}"/>
              </a:ext>
            </a:extLst>
          </p:cNvPr>
          <p:cNvSpPr>
            <a:spLocks noGrp="1"/>
          </p:cNvSpPr>
          <p:nvPr>
            <p:ph type="pic" sz="quarter" idx="23"/>
          </p:nvPr>
        </p:nvSpPr>
        <p:spPr>
          <a:xfrm>
            <a:off x="348672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7" name="Text Placeholder 35">
            <a:extLst>
              <a:ext uri="{FF2B5EF4-FFF2-40B4-BE49-F238E27FC236}">
                <a16:creationId xmlns:a16="http://schemas.microsoft.com/office/drawing/2014/main" id="{DB3E2D36-ADF4-2425-C0E3-2F0EDFE5AF41}"/>
              </a:ext>
            </a:extLst>
          </p:cNvPr>
          <p:cNvSpPr>
            <a:spLocks noGrp="1"/>
          </p:cNvSpPr>
          <p:nvPr>
            <p:ph type="body" sz="quarter" idx="26" hasCustomPrompt="1"/>
          </p:nvPr>
        </p:nvSpPr>
        <p:spPr>
          <a:xfrm>
            <a:off x="3580975"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E558D9CD-E43E-ED53-EA8A-67C959D1A2DE}"/>
              </a:ext>
            </a:extLst>
          </p:cNvPr>
          <p:cNvSpPr>
            <a:spLocks noGrp="1"/>
          </p:cNvSpPr>
          <p:nvPr>
            <p:ph type="pic" sz="quarter" idx="22"/>
          </p:nvPr>
        </p:nvSpPr>
        <p:spPr>
          <a:xfrm>
            <a:off x="638977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9" name="Text Placeholder 35">
            <a:extLst>
              <a:ext uri="{FF2B5EF4-FFF2-40B4-BE49-F238E27FC236}">
                <a16:creationId xmlns:a16="http://schemas.microsoft.com/office/drawing/2014/main" id="{739C71C5-7346-F2A6-8BCE-DB0EF9C83111}"/>
              </a:ext>
            </a:extLst>
          </p:cNvPr>
          <p:cNvSpPr>
            <a:spLocks noGrp="1"/>
          </p:cNvSpPr>
          <p:nvPr>
            <p:ph type="body" sz="quarter" idx="27" hasCustomPrompt="1"/>
          </p:nvPr>
        </p:nvSpPr>
        <p:spPr>
          <a:xfrm>
            <a:off x="64840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Picture Placeholder 58">
            <a:extLst>
              <a:ext uri="{FF2B5EF4-FFF2-40B4-BE49-F238E27FC236}">
                <a16:creationId xmlns:a16="http://schemas.microsoft.com/office/drawing/2014/main" id="{096B9AE2-5DB8-265B-A4E3-299900199F2C}"/>
              </a:ext>
            </a:extLst>
          </p:cNvPr>
          <p:cNvSpPr>
            <a:spLocks noGrp="1"/>
          </p:cNvSpPr>
          <p:nvPr>
            <p:ph type="pic" sz="quarter" idx="25"/>
          </p:nvPr>
        </p:nvSpPr>
        <p:spPr>
          <a:xfrm>
            <a:off x="9292823"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1" name="Text Placeholder 35">
            <a:extLst>
              <a:ext uri="{FF2B5EF4-FFF2-40B4-BE49-F238E27FC236}">
                <a16:creationId xmlns:a16="http://schemas.microsoft.com/office/drawing/2014/main" id="{14449AEA-1DC0-6948-0F20-37FB7E38906F}"/>
              </a:ext>
            </a:extLst>
          </p:cNvPr>
          <p:cNvSpPr>
            <a:spLocks noGrp="1"/>
          </p:cNvSpPr>
          <p:nvPr>
            <p:ph type="body" sz="quarter" idx="28" hasCustomPrompt="1"/>
          </p:nvPr>
        </p:nvSpPr>
        <p:spPr>
          <a:xfrm>
            <a:off x="9388093"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88070152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4 Images with 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473677"/>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26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26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473677"/>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3485662"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3485662"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473677"/>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63887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63887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473677"/>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9292780"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9292780"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116584250"/>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5 Images with 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1592190"/>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0" y="3921107"/>
            <a:ext cx="1933578"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0" y="4267200"/>
            <a:ext cx="1933578"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1592190"/>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869826"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869826"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1592190"/>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5141355"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5141355"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1592190"/>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7412884"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7412884"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1592190"/>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9684412"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9684412"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868967804"/>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6 Images with 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16967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1" y="3727201"/>
            <a:ext cx="1458761"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1"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49798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49797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441176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441175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632554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632553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8239320"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8239319"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17944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9" name="Text Placeholder 35">
            <a:extLst>
              <a:ext uri="{FF2B5EF4-FFF2-40B4-BE49-F238E27FC236}">
                <a16:creationId xmlns:a16="http://schemas.microsoft.com/office/drawing/2014/main" id="{617E7719-FAEE-A779-D036-99FBACC045AF}"/>
              </a:ext>
            </a:extLst>
          </p:cNvPr>
          <p:cNvSpPr>
            <a:spLocks noGrp="1"/>
          </p:cNvSpPr>
          <p:nvPr>
            <p:ph type="body" sz="quarter" idx="41" hasCustomPrompt="1"/>
          </p:nvPr>
        </p:nvSpPr>
        <p:spPr>
          <a:xfrm>
            <a:off x="10163737" y="3727201"/>
            <a:ext cx="1448127" cy="266808"/>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39714483-8AAD-2FC7-F030-69AE44D86130}"/>
              </a:ext>
            </a:extLst>
          </p:cNvPr>
          <p:cNvSpPr>
            <a:spLocks noGrp="1"/>
          </p:cNvSpPr>
          <p:nvPr>
            <p:ph type="body" sz="quarter" idx="42" hasCustomPrompt="1"/>
          </p:nvPr>
        </p:nvSpPr>
        <p:spPr>
          <a:xfrm>
            <a:off x="10163736" y="4085449"/>
            <a:ext cx="1458762" cy="2178086"/>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81356315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4 speakers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826650"/>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971683"/>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26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26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971683"/>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3485662"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3485662"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971683"/>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6388713"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6388713"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971683"/>
            <a:ext cx="2156504" cy="2156504"/>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9292780" y="4433192"/>
            <a:ext cx="2316608" cy="625103"/>
          </a:xfrm>
          <a:noFill/>
        </p:spPr>
        <p:txBody>
          <a:bodyPr vert="horz" wrap="square" lIns="0" tIns="0" rIns="0" bIns="0" rtlCol="0" anchor="b">
            <a:noAutofit/>
          </a:bodyPr>
          <a:lstStyle>
            <a:lvl1pPr marL="0" indent="0" algn="ctr">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9292780" y="5162470"/>
            <a:ext cx="2316608" cy="561161"/>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7109448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bullet with side image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0943B4-4880-E10F-62F9-1A1A72AE4FAB}"/>
              </a:ext>
              <a:ext uri="{C183D7F6-B498-43B3-948B-1728B52AA6E4}">
                <adec:decorative xmlns:adec="http://schemas.microsoft.com/office/drawing/2017/decorative" val="1"/>
              </a:ext>
            </a:extLst>
          </p:cNvPr>
          <p:cNvSpPr>
            <a:spLocks/>
          </p:cNvSpPr>
          <p:nvPr userDrawn="1"/>
        </p:nvSpPr>
        <p:spPr bwMode="auto">
          <a:xfrm>
            <a:off x="1" y="0"/>
            <a:ext cx="9524999" cy="6857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F46AD0D-16AF-1F19-FA71-8FF439678DE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8935724E-DE71-60A9-1D72-A7CCB756B175}"/>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l="-1"/>
          <a:stretch/>
        </p:blipFill>
        <p:spPr>
          <a:xfrm>
            <a:off x="1" y="0"/>
            <a:ext cx="9524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5" name="Rectangle: Rounded Corners 4">
            <a:extLst>
              <a:ext uri="{FF2B5EF4-FFF2-40B4-BE49-F238E27FC236}">
                <a16:creationId xmlns:a16="http://schemas.microsoft.com/office/drawing/2014/main" id="{2ABE4288-98BB-666E-1D51-F41686B6BBE9}"/>
              </a:ext>
              <a:ext uri="{C183D7F6-B498-43B3-948B-1728B52AA6E4}">
                <adec:decorative xmlns:adec="http://schemas.microsoft.com/office/drawing/2017/decorative" val="1"/>
              </a:ext>
            </a:extLst>
          </p:cNvPr>
          <p:cNvSpPr>
            <a:spLocks/>
          </p:cNvSpPr>
          <p:nvPr userDrawn="1"/>
        </p:nvSpPr>
        <p:spPr bwMode="auto">
          <a:xfrm>
            <a:off x="317500" y="1468398"/>
            <a:ext cx="5778500" cy="4809290"/>
          </a:xfrm>
          <a:prstGeom prst="roundRect">
            <a:avLst>
              <a:gd name="adj" fmla="val 4857"/>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8" name="Freeform: Shape 7">
            <a:extLst>
              <a:ext uri="{FF2B5EF4-FFF2-40B4-BE49-F238E27FC236}">
                <a16:creationId xmlns:a16="http://schemas.microsoft.com/office/drawing/2014/main" id="{111393A8-5705-A59F-F3BF-F1226C7CC210}"/>
              </a:ext>
              <a:ext uri="{C183D7F6-B498-43B3-948B-1728B52AA6E4}">
                <adec:decorative xmlns:adec="http://schemas.microsoft.com/office/drawing/2017/decorative" val="1"/>
              </a:ext>
            </a:extLst>
          </p:cNvPr>
          <p:cNvSpPr/>
          <p:nvPr userDrawn="1"/>
        </p:nvSpPr>
        <p:spPr>
          <a:xfrm>
            <a:off x="0" y="5999523"/>
            <a:ext cx="9525000" cy="858477"/>
          </a:xfrm>
          <a:custGeom>
            <a:avLst/>
            <a:gdLst>
              <a:gd name="connsiteX0" fmla="*/ 7676696 w 9525000"/>
              <a:gd name="connsiteY0" fmla="*/ 530993 h 858477"/>
              <a:gd name="connsiteX1" fmla="*/ 8188475 w 9525000"/>
              <a:gd name="connsiteY1" fmla="*/ 547368 h 858477"/>
              <a:gd name="connsiteX2" fmla="*/ 9324798 w 9525000"/>
              <a:gd name="connsiteY2" fmla="*/ 750487 h 858477"/>
              <a:gd name="connsiteX3" fmla="*/ 9525000 w 9525000"/>
              <a:gd name="connsiteY3" fmla="*/ 808516 h 858477"/>
              <a:gd name="connsiteX4" fmla="*/ 9525000 w 9525000"/>
              <a:gd name="connsiteY4" fmla="*/ 858477 h 858477"/>
              <a:gd name="connsiteX5" fmla="*/ 4572598 w 9525000"/>
              <a:gd name="connsiteY5" fmla="*/ 858477 h 858477"/>
              <a:gd name="connsiteX6" fmla="*/ 4606017 w 9525000"/>
              <a:gd name="connsiteY6" fmla="*/ 856651 h 858477"/>
              <a:gd name="connsiteX7" fmla="*/ 7676696 w 9525000"/>
              <a:gd name="connsiteY7" fmla="*/ 530993 h 858477"/>
              <a:gd name="connsiteX8" fmla="*/ 0 w 9525000"/>
              <a:gd name="connsiteY8" fmla="*/ 0 h 858477"/>
              <a:gd name="connsiteX9" fmla="*/ 682372 w 9525000"/>
              <a:gd name="connsiteY9" fmla="*/ 218742 h 858477"/>
              <a:gd name="connsiteX10" fmla="*/ 3583790 w 9525000"/>
              <a:gd name="connsiteY10" fmla="*/ 856009 h 858477"/>
              <a:gd name="connsiteX11" fmla="*/ 3627014 w 9525000"/>
              <a:gd name="connsiteY11" fmla="*/ 858477 h 858477"/>
              <a:gd name="connsiteX12" fmla="*/ 0 w 9525000"/>
              <a:gd name="connsiteY12"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00" h="858477">
                <a:moveTo>
                  <a:pt x="7676696" y="530993"/>
                </a:moveTo>
                <a:cubicBezTo>
                  <a:pt x="7847289" y="529316"/>
                  <a:pt x="8017882" y="534146"/>
                  <a:pt x="8188475" y="547368"/>
                </a:cubicBezTo>
                <a:cubicBezTo>
                  <a:pt x="8572310" y="578273"/>
                  <a:pt x="8956144" y="652475"/>
                  <a:pt x="9324798" y="750487"/>
                </a:cubicBezTo>
                <a:lnTo>
                  <a:pt x="9525000" y="808516"/>
                </a:lnTo>
                <a:lnTo>
                  <a:pt x="9525000"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
        <p:nvSpPr>
          <p:cNvPr id="13" name="Rectangle 12">
            <a:extLst>
              <a:ext uri="{FF2B5EF4-FFF2-40B4-BE49-F238E27FC236}">
                <a16:creationId xmlns:a16="http://schemas.microsoft.com/office/drawing/2014/main" id="{D62DDA98-5FF3-DBEA-7A67-465EFDE8955A}"/>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0F70E65B-F7BD-7633-A9C4-A5602CB69B3F}"/>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6" name="Text Placeholder 35">
            <a:extLst>
              <a:ext uri="{FF2B5EF4-FFF2-40B4-BE49-F238E27FC236}">
                <a16:creationId xmlns:a16="http://schemas.microsoft.com/office/drawing/2014/main" id="{137F2901-2041-9485-514F-D231514C6C00}"/>
              </a:ext>
            </a:extLst>
          </p:cNvPr>
          <p:cNvSpPr>
            <a:spLocks noGrp="1"/>
          </p:cNvSpPr>
          <p:nvPr>
            <p:ph type="body" sz="quarter" idx="15" hasCustomPrompt="1"/>
          </p:nvPr>
        </p:nvSpPr>
        <p:spPr>
          <a:xfrm>
            <a:off x="588263" y="1627779"/>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7F57E1B0-98DF-6225-9936-2D7F216E345F}"/>
              </a:ext>
            </a:extLst>
          </p:cNvPr>
          <p:cNvSpPr>
            <a:spLocks noGrp="1"/>
          </p:cNvSpPr>
          <p:nvPr>
            <p:ph type="body" sz="quarter" idx="12" hasCustomPrompt="1"/>
          </p:nvPr>
        </p:nvSpPr>
        <p:spPr>
          <a:xfrm>
            <a:off x="588263" y="2019300"/>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66DEE5AB-9412-F26B-6CE8-151A63C66FFE}"/>
              </a:ext>
            </a:extLst>
          </p:cNvPr>
          <p:cNvSpPr>
            <a:spLocks noGrp="1"/>
          </p:cNvSpPr>
          <p:nvPr>
            <p:ph type="body" sz="quarter" idx="16" hasCustomPrompt="1"/>
          </p:nvPr>
        </p:nvSpPr>
        <p:spPr>
          <a:xfrm>
            <a:off x="588263" y="311280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5A40C563-852C-37F3-E367-EDE58C7FCD59}"/>
              </a:ext>
            </a:extLst>
          </p:cNvPr>
          <p:cNvSpPr>
            <a:spLocks noGrp="1"/>
          </p:cNvSpPr>
          <p:nvPr>
            <p:ph type="body" sz="quarter" idx="17" hasCustomPrompt="1"/>
          </p:nvPr>
        </p:nvSpPr>
        <p:spPr>
          <a:xfrm>
            <a:off x="588263" y="350432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15B05EA5-3AD2-E196-3400-76EA2AF587E1}"/>
              </a:ext>
            </a:extLst>
          </p:cNvPr>
          <p:cNvSpPr>
            <a:spLocks noGrp="1"/>
          </p:cNvSpPr>
          <p:nvPr>
            <p:ph type="body" sz="quarter" idx="18" hasCustomPrompt="1"/>
          </p:nvPr>
        </p:nvSpPr>
        <p:spPr>
          <a:xfrm>
            <a:off x="588263" y="468779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Text Placeholder 35">
            <a:extLst>
              <a:ext uri="{FF2B5EF4-FFF2-40B4-BE49-F238E27FC236}">
                <a16:creationId xmlns:a16="http://schemas.microsoft.com/office/drawing/2014/main" id="{27591425-E795-E159-9160-D589C4352E2E}"/>
              </a:ext>
            </a:extLst>
          </p:cNvPr>
          <p:cNvSpPr>
            <a:spLocks noGrp="1"/>
          </p:cNvSpPr>
          <p:nvPr>
            <p:ph type="body" sz="quarter" idx="19" hasCustomPrompt="1"/>
          </p:nvPr>
        </p:nvSpPr>
        <p:spPr>
          <a:xfrm>
            <a:off x="588263" y="507931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C9FC747D-A6BA-9F50-4542-EBA890BE4B55}"/>
              </a:ext>
            </a:extLst>
          </p:cNvPr>
          <p:cNvSpPr>
            <a:spLocks noGrp="1"/>
          </p:cNvSpPr>
          <p:nvPr>
            <p:ph type="pic" sz="quarter" idx="22"/>
          </p:nvPr>
        </p:nvSpPr>
        <p:spPr>
          <a:xfrm>
            <a:off x="6657973" y="1468397"/>
            <a:ext cx="5240337" cy="4809290"/>
          </a:xfrm>
          <a:prstGeom prst="roundRect">
            <a:avLst>
              <a:gd name="adj" fmla="val 4500"/>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861323866"/>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5 speakers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0" name="Picture 19">
            <a:extLst>
              <a:ext uri="{FF2B5EF4-FFF2-40B4-BE49-F238E27FC236}">
                <a16:creationId xmlns:a16="http://schemas.microsoft.com/office/drawing/2014/main" id="{F58F077D-AD83-5BF8-FB02-676B81572C85}"/>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21" name="Rectangle 20">
            <a:extLst>
              <a:ext uri="{FF2B5EF4-FFF2-40B4-BE49-F238E27FC236}">
                <a16:creationId xmlns:a16="http://schemas.microsoft.com/office/drawing/2014/main" id="{D6ECC369-2C29-D532-9E7E-8C4FE487A76E}"/>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B1940E9D-6D9D-0130-946D-3054594670E0}"/>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32" name="Freeform: Shape 31">
              <a:extLst>
                <a:ext uri="{FF2B5EF4-FFF2-40B4-BE49-F238E27FC236}">
                  <a16:creationId xmlns:a16="http://schemas.microsoft.com/office/drawing/2014/main" id="{76D281CC-6A0E-B1F5-67B5-8219B7AA9A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33" name="Freeform: Shape 32">
              <a:extLst>
                <a:ext uri="{FF2B5EF4-FFF2-40B4-BE49-F238E27FC236}">
                  <a16:creationId xmlns:a16="http://schemas.microsoft.com/office/drawing/2014/main" id="{ACEB436E-0A50-E046-D24D-FFE89B6B2DC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904551"/>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2033701"/>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0" y="4150959"/>
            <a:ext cx="1933578"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0" y="4873101"/>
            <a:ext cx="1933578"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2033701"/>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869826"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869826"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2033701"/>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5141355"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5141355"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2033701"/>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7412884"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7412884"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2033701"/>
            <a:ext cx="1919480" cy="1919478"/>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9684412" y="4150959"/>
            <a:ext cx="1919481" cy="625103"/>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9684412" y="4873101"/>
            <a:ext cx="1919481" cy="561161"/>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894783470"/>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6 speakers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0EBB2-8CA1-DA40-F19C-8ADE243ECAD6}"/>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56CE2223-793E-DC36-6096-9A224C75A598}"/>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099867"/>
            <a:ext cx="12193057" cy="3758133"/>
          </a:xfrm>
          <a:prstGeom prst="rect">
            <a:avLst/>
          </a:prstGeom>
        </p:spPr>
      </p:pic>
      <p:sp>
        <p:nvSpPr>
          <p:cNvPr id="8" name="Rectangle 7">
            <a:extLst>
              <a:ext uri="{FF2B5EF4-FFF2-40B4-BE49-F238E27FC236}">
                <a16:creationId xmlns:a16="http://schemas.microsoft.com/office/drawing/2014/main" id="{21E1321F-0FDD-E7D4-2A40-C00D72A456A0}"/>
              </a:ext>
              <a:ext uri="{C183D7F6-B498-43B3-948B-1728B52AA6E4}">
                <adec:decorative xmlns:adec="http://schemas.microsoft.com/office/drawing/2017/decorative" val="1"/>
              </a:ext>
            </a:extLst>
          </p:cNvPr>
          <p:cNvSpPr/>
          <p:nvPr userDrawn="1"/>
        </p:nvSpPr>
        <p:spPr bwMode="auto">
          <a:xfrm>
            <a:off x="0" y="304296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F27FD47A-7C97-5667-ADA3-E0AE7D1B3492}"/>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9878666-54D5-F6EF-2ACC-80649371323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4" name="Freeform: Shape 13">
              <a:extLst>
                <a:ext uri="{FF2B5EF4-FFF2-40B4-BE49-F238E27FC236}">
                  <a16:creationId xmlns:a16="http://schemas.microsoft.com/office/drawing/2014/main" id="{AA39B6E0-B067-A29A-8E1F-5700A6E6527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8645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D1702F11-134B-4BAA-AA4E-98AC2F316145}"/>
              </a:ext>
              <a:ext uri="{C183D7F6-B498-43B3-948B-1728B52AA6E4}">
                <adec:decorative xmlns:adec="http://schemas.microsoft.com/office/drawing/2017/decorative" val="1"/>
              </a:ext>
            </a:extLst>
          </p:cNvPr>
          <p:cNvSpPr/>
          <p:nvPr userDrawn="1"/>
        </p:nvSpPr>
        <p:spPr bwMode="auto">
          <a:xfrm>
            <a:off x="240023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1DFE77D6-B942-4EFC-000A-9C389535E5AD}"/>
              </a:ext>
              <a:ext uri="{C183D7F6-B498-43B3-948B-1728B52AA6E4}">
                <adec:decorative xmlns:adec="http://schemas.microsoft.com/office/drawing/2017/decorative" val="1"/>
              </a:ext>
            </a:extLst>
          </p:cNvPr>
          <p:cNvSpPr/>
          <p:nvPr userDrawn="1"/>
        </p:nvSpPr>
        <p:spPr bwMode="auto">
          <a:xfrm>
            <a:off x="431401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02E49D4-B829-E21E-AF5A-71371107A9FE}"/>
              </a:ext>
              <a:ext uri="{C183D7F6-B498-43B3-948B-1728B52AA6E4}">
                <adec:decorative xmlns:adec="http://schemas.microsoft.com/office/drawing/2017/decorative" val="1"/>
              </a:ext>
            </a:extLst>
          </p:cNvPr>
          <p:cNvSpPr/>
          <p:nvPr userDrawn="1"/>
        </p:nvSpPr>
        <p:spPr bwMode="auto">
          <a:xfrm>
            <a:off x="622779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E453B493-A5FA-EEC7-A986-E813F579C97C}"/>
              </a:ext>
              <a:ext uri="{C183D7F6-B498-43B3-948B-1728B52AA6E4}">
                <adec:decorative xmlns:adec="http://schemas.microsoft.com/office/drawing/2017/decorative" val="1"/>
              </a:ext>
            </a:extLst>
          </p:cNvPr>
          <p:cNvSpPr/>
          <p:nvPr userDrawn="1"/>
        </p:nvSpPr>
        <p:spPr bwMode="auto">
          <a:xfrm>
            <a:off x="8141573"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2430F640-40DC-E8AC-3BAB-464D55067EC4}"/>
              </a:ext>
              <a:ext uri="{C183D7F6-B498-43B3-948B-1728B52AA6E4}">
                <adec:decorative xmlns:adec="http://schemas.microsoft.com/office/drawing/2017/decorative" val="1"/>
              </a:ext>
            </a:extLst>
          </p:cNvPr>
          <p:cNvSpPr/>
          <p:nvPr userDrawn="1"/>
        </p:nvSpPr>
        <p:spPr bwMode="auto">
          <a:xfrm>
            <a:off x="10055355" y="2230121"/>
            <a:ext cx="1654258" cy="165425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4200"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584201" y="3952119"/>
            <a:ext cx="1458761"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 name="Text Placeholder 35">
            <a:extLst>
              <a:ext uri="{FF2B5EF4-FFF2-40B4-BE49-F238E27FC236}">
                <a16:creationId xmlns:a16="http://schemas.microsoft.com/office/drawing/2014/main" id="{6AED311F-E0BF-F139-4248-DCB9A5543568}"/>
              </a:ext>
            </a:extLst>
          </p:cNvPr>
          <p:cNvSpPr>
            <a:spLocks noGrp="1"/>
          </p:cNvSpPr>
          <p:nvPr>
            <p:ph type="body" sz="quarter" idx="29" hasCustomPrompt="1"/>
          </p:nvPr>
        </p:nvSpPr>
        <p:spPr>
          <a:xfrm>
            <a:off x="584201"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42A55147-953F-B9A9-99C2-9FC4CA6BE46F}"/>
              </a:ext>
            </a:extLst>
          </p:cNvPr>
          <p:cNvSpPr>
            <a:spLocks noGrp="1"/>
          </p:cNvSpPr>
          <p:nvPr>
            <p:ph type="pic" sz="quarter" idx="36"/>
          </p:nvPr>
        </p:nvSpPr>
        <p:spPr>
          <a:xfrm>
            <a:off x="2497980"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249798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 name="Text Placeholder 35">
            <a:extLst>
              <a:ext uri="{FF2B5EF4-FFF2-40B4-BE49-F238E27FC236}">
                <a16:creationId xmlns:a16="http://schemas.microsoft.com/office/drawing/2014/main" id="{7C593DC5-D794-C4A7-485A-8C84C085BF8C}"/>
              </a:ext>
            </a:extLst>
          </p:cNvPr>
          <p:cNvSpPr>
            <a:spLocks noGrp="1"/>
          </p:cNvSpPr>
          <p:nvPr>
            <p:ph type="body" sz="quarter" idx="30" hasCustomPrompt="1"/>
          </p:nvPr>
        </p:nvSpPr>
        <p:spPr>
          <a:xfrm>
            <a:off x="249797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Picture Placeholder 58">
            <a:extLst>
              <a:ext uri="{FF2B5EF4-FFF2-40B4-BE49-F238E27FC236}">
                <a16:creationId xmlns:a16="http://schemas.microsoft.com/office/drawing/2014/main" id="{DE2674AD-377C-4DC5-84B9-2E5282684CDA}"/>
              </a:ext>
            </a:extLst>
          </p:cNvPr>
          <p:cNvSpPr>
            <a:spLocks noGrp="1"/>
          </p:cNvSpPr>
          <p:nvPr>
            <p:ph type="pic" sz="quarter" idx="37"/>
          </p:nvPr>
        </p:nvSpPr>
        <p:spPr>
          <a:xfrm>
            <a:off x="4411760"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441176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 name="Text Placeholder 35">
            <a:extLst>
              <a:ext uri="{FF2B5EF4-FFF2-40B4-BE49-F238E27FC236}">
                <a16:creationId xmlns:a16="http://schemas.microsoft.com/office/drawing/2014/main" id="{C46BF6D1-44DE-F917-E931-5EF61CCC8C4A}"/>
              </a:ext>
            </a:extLst>
          </p:cNvPr>
          <p:cNvSpPr>
            <a:spLocks noGrp="1"/>
          </p:cNvSpPr>
          <p:nvPr>
            <p:ph type="body" sz="quarter" idx="31" hasCustomPrompt="1"/>
          </p:nvPr>
        </p:nvSpPr>
        <p:spPr>
          <a:xfrm>
            <a:off x="441175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AF7E0EB-CA3F-F97E-9810-CF0682265AEC}"/>
              </a:ext>
            </a:extLst>
          </p:cNvPr>
          <p:cNvSpPr>
            <a:spLocks noGrp="1"/>
          </p:cNvSpPr>
          <p:nvPr>
            <p:ph type="pic" sz="quarter" idx="38"/>
          </p:nvPr>
        </p:nvSpPr>
        <p:spPr>
          <a:xfrm>
            <a:off x="6325540"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632554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 name="Text Placeholder 35">
            <a:extLst>
              <a:ext uri="{FF2B5EF4-FFF2-40B4-BE49-F238E27FC236}">
                <a16:creationId xmlns:a16="http://schemas.microsoft.com/office/drawing/2014/main" id="{60B2F3A3-25F8-3E69-C2C4-1B8B2C8830F8}"/>
              </a:ext>
            </a:extLst>
          </p:cNvPr>
          <p:cNvSpPr>
            <a:spLocks noGrp="1"/>
          </p:cNvSpPr>
          <p:nvPr>
            <p:ph type="body" sz="quarter" idx="32" hasCustomPrompt="1"/>
          </p:nvPr>
        </p:nvSpPr>
        <p:spPr>
          <a:xfrm>
            <a:off x="632553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Picture Placeholder 58">
            <a:extLst>
              <a:ext uri="{FF2B5EF4-FFF2-40B4-BE49-F238E27FC236}">
                <a16:creationId xmlns:a16="http://schemas.microsoft.com/office/drawing/2014/main" id="{94730077-6404-CF07-BB44-5F3FB6144AB6}"/>
              </a:ext>
            </a:extLst>
          </p:cNvPr>
          <p:cNvSpPr>
            <a:spLocks noGrp="1"/>
          </p:cNvSpPr>
          <p:nvPr>
            <p:ph type="pic" sz="quarter" idx="39"/>
          </p:nvPr>
        </p:nvSpPr>
        <p:spPr>
          <a:xfrm>
            <a:off x="8239320"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18" name="Text Placeholder 35">
            <a:extLst>
              <a:ext uri="{FF2B5EF4-FFF2-40B4-BE49-F238E27FC236}">
                <a16:creationId xmlns:a16="http://schemas.microsoft.com/office/drawing/2014/main" id="{46CEA24A-61CC-A676-09C2-65CEB1DC3B68}"/>
              </a:ext>
            </a:extLst>
          </p:cNvPr>
          <p:cNvSpPr>
            <a:spLocks noGrp="1"/>
          </p:cNvSpPr>
          <p:nvPr>
            <p:ph type="body" sz="quarter" idx="34" hasCustomPrompt="1"/>
          </p:nvPr>
        </p:nvSpPr>
        <p:spPr>
          <a:xfrm>
            <a:off x="8239320"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EB20AC39-B691-43F7-C28F-EA9095D844CE}"/>
              </a:ext>
            </a:extLst>
          </p:cNvPr>
          <p:cNvSpPr>
            <a:spLocks noGrp="1"/>
          </p:cNvSpPr>
          <p:nvPr>
            <p:ph type="body" sz="quarter" idx="35" hasCustomPrompt="1"/>
          </p:nvPr>
        </p:nvSpPr>
        <p:spPr>
          <a:xfrm>
            <a:off x="8239319"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Picture Placeholder 58">
            <a:extLst>
              <a:ext uri="{FF2B5EF4-FFF2-40B4-BE49-F238E27FC236}">
                <a16:creationId xmlns:a16="http://schemas.microsoft.com/office/drawing/2014/main" id="{AB094ACA-CDE8-BDBF-F139-FAD9F7EBAC70}"/>
              </a:ext>
            </a:extLst>
          </p:cNvPr>
          <p:cNvSpPr>
            <a:spLocks noGrp="1"/>
          </p:cNvSpPr>
          <p:nvPr>
            <p:ph type="pic" sz="quarter" idx="40"/>
          </p:nvPr>
        </p:nvSpPr>
        <p:spPr>
          <a:xfrm>
            <a:off x="10153102" y="2327869"/>
            <a:ext cx="1458762" cy="1458760"/>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1400"/>
            </a:lvl1pPr>
          </a:lstStyle>
          <a:p>
            <a:endParaRPr lang="en-IN"/>
          </a:p>
        </p:txBody>
      </p:sp>
      <p:sp>
        <p:nvSpPr>
          <p:cNvPr id="39" name="Text Placeholder 35">
            <a:extLst>
              <a:ext uri="{FF2B5EF4-FFF2-40B4-BE49-F238E27FC236}">
                <a16:creationId xmlns:a16="http://schemas.microsoft.com/office/drawing/2014/main" id="{617E7719-FAEE-A779-D036-99FBACC045AF}"/>
              </a:ext>
            </a:extLst>
          </p:cNvPr>
          <p:cNvSpPr>
            <a:spLocks noGrp="1"/>
          </p:cNvSpPr>
          <p:nvPr>
            <p:ph type="body" sz="quarter" idx="41" hasCustomPrompt="1"/>
          </p:nvPr>
        </p:nvSpPr>
        <p:spPr>
          <a:xfrm>
            <a:off x="10163737" y="3952119"/>
            <a:ext cx="1448127" cy="529570"/>
          </a:xfrm>
          <a:noFill/>
        </p:spPr>
        <p:txBody>
          <a:bodyPr vert="horz" wrap="square" lIns="0" tIns="0" rIns="0" bIns="0" rtlCol="0" anchor="b">
            <a:noAutofit/>
          </a:bodyPr>
          <a:lstStyle>
            <a:lvl1pPr marL="0" indent="0" algn="ctr">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39714483-8AAD-2FC7-F030-69AE44D86130}"/>
              </a:ext>
            </a:extLst>
          </p:cNvPr>
          <p:cNvSpPr>
            <a:spLocks noGrp="1"/>
          </p:cNvSpPr>
          <p:nvPr>
            <p:ph type="body" sz="quarter" idx="42" hasCustomPrompt="1"/>
          </p:nvPr>
        </p:nvSpPr>
        <p:spPr>
          <a:xfrm>
            <a:off x="10163736" y="4618849"/>
            <a:ext cx="1458762" cy="74926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932458162"/>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1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A246D4EA-9411-3D4B-20A5-8D3405057D24}"/>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Freeform: Shape 2">
            <a:extLst>
              <a:ext uri="{FF2B5EF4-FFF2-40B4-BE49-F238E27FC236}">
                <a16:creationId xmlns:a16="http://schemas.microsoft.com/office/drawing/2014/main" id="{812472E7-3921-B428-5D34-B8B6331E7E5C}"/>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grpSp>
        <p:nvGrpSpPr>
          <p:cNvPr id="4" name="Group 3">
            <a:extLst>
              <a:ext uri="{FF2B5EF4-FFF2-40B4-BE49-F238E27FC236}">
                <a16:creationId xmlns:a16="http://schemas.microsoft.com/office/drawing/2014/main" id="{052D03FD-E14E-46B1-94D0-1774A20795C0}"/>
              </a:ext>
            </a:extLst>
          </p:cNvPr>
          <p:cNvGrpSpPr/>
          <p:nvPr userDrawn="1"/>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990E1BDE-4634-2099-6676-D322FE1A728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9" name="Freeform: Shape 8">
              <a:extLst>
                <a:ext uri="{FF2B5EF4-FFF2-40B4-BE49-F238E27FC236}">
                  <a16:creationId xmlns:a16="http://schemas.microsoft.com/office/drawing/2014/main" id="{CC118F95-BEBD-ADE7-1620-6CB3493934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3" name="TextBox 12">
            <a:extLst>
              <a:ext uri="{FF2B5EF4-FFF2-40B4-BE49-F238E27FC236}">
                <a16:creationId xmlns:a16="http://schemas.microsoft.com/office/drawing/2014/main" id="{35CB53DE-8200-864F-38C2-7AB9911F24E6}"/>
              </a:ext>
            </a:extLst>
          </p:cNvPr>
          <p:cNvSpPr txBox="1"/>
          <p:nvPr/>
        </p:nvSpPr>
        <p:spPr>
          <a:xfrm>
            <a:off x="582611" y="625475"/>
            <a:ext cx="3740149" cy="7632859"/>
          </a:xfrm>
          <a:prstGeom prst="rect">
            <a:avLst/>
          </a:prstGeom>
          <a:noFill/>
        </p:spPr>
        <p:txBody>
          <a:bodyPr wrap="square" lIns="0" tIns="0" rIns="0" bIns="0" rtlCol="0">
            <a:spAutoFit/>
          </a:bodyPr>
          <a:lstStyle>
            <a:defPPr>
              <a:defRPr lang="en-US"/>
            </a:defPPr>
            <a:lvl1pPr>
              <a:defRPr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defRPr>
            </a:lvl1pPr>
          </a:lstStyle>
          <a:p>
            <a:pPr lvl="0"/>
            <a:r>
              <a:rPr lang="en-US"/>
              <a:t>1</a:t>
            </a:r>
            <a:endParaRPr lang="en-IN"/>
          </a:p>
        </p:txBody>
      </p:sp>
      <p:sp>
        <p:nvSpPr>
          <p:cNvPr id="10" name="Freeform: Shape 9">
            <a:extLst>
              <a:ext uri="{FF2B5EF4-FFF2-40B4-BE49-F238E27FC236}">
                <a16:creationId xmlns:a16="http://schemas.microsoft.com/office/drawing/2014/main" id="{542D0176-B38F-6DD1-1C28-85907121F060}"/>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1215185370"/>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2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A3BFC779-1239-49A2-E2FF-124C5ED45BA6}"/>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640715"/>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2</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021AD6BE-0D40-02F7-D46A-2BBFCB5A0A54}"/>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4000174609"/>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3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A62AEA09-B6EA-2292-9FD6-CAE2471D58A8}"/>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7104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3</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AAD9C891-78B1-69BD-D608-49EB1E41CB8C}"/>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2325500241"/>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4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0E8EAB63-5D2C-D9EF-D4B2-416D80267290}"/>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640715"/>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4</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CC5E0F2B-D6F7-9787-4528-0BEA25DA0F92}"/>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3960048523"/>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5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A01BF730-A895-714D-8B15-A03CC0FC979A}"/>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5580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5</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4D15A5EE-3F1F-330C-BEAE-195F9416E917}"/>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2927614056"/>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6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3F9C6B24-2083-FA7D-AE3D-1DD303B44568}"/>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5580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6</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F104E7C6-16C4-A5C3-A634-4F9DFEBAD327}"/>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1349399592"/>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7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8CA80AC6-CBF0-E60A-DC0D-BA3BB2EB6C37}"/>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7104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7</a:t>
            </a:r>
            <a:endParaRPr lang="en-IN" sz="49600" b="1" err="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8C75FCF1-52CE-5C06-78EB-5043440D37E6}"/>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1496018642"/>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8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96FCAE03-CE3A-EEBE-9941-92B6B838321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5580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8</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506ABDBE-302D-4A40-9427-F3C2132505A5}"/>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98407036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side image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211CB7-DBF6-C36A-6D1A-4E19A7516B46}"/>
              </a:ext>
              <a:ext uri="{C183D7F6-B498-43B3-948B-1728B52AA6E4}">
                <adec:decorative xmlns:adec="http://schemas.microsoft.com/office/drawing/2017/decorative" val="1"/>
              </a:ext>
            </a:extLst>
          </p:cNvPr>
          <p:cNvSpPr>
            <a:spLocks/>
          </p:cNvSpPr>
          <p:nvPr userDrawn="1"/>
        </p:nvSpPr>
        <p:spPr bwMode="auto">
          <a:xfrm>
            <a:off x="1" y="0"/>
            <a:ext cx="9524999" cy="6857999"/>
          </a:xfrm>
          <a:prstGeom prst="rect">
            <a:avLst/>
          </a:prstGeom>
          <a:solidFill>
            <a:srgbClr val="1934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 name="Picture 4">
            <a:extLst>
              <a:ext uri="{FF2B5EF4-FFF2-40B4-BE49-F238E27FC236}">
                <a16:creationId xmlns:a16="http://schemas.microsoft.com/office/drawing/2014/main" id="{10458351-7755-D79F-7FB4-8943C1CC4E66}"/>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5147BB5B-EE3F-6D49-51E7-88BA2F8843D8}"/>
              </a:ext>
              <a:ext uri="{C183D7F6-B498-43B3-948B-1728B52AA6E4}">
                <adec:decorative xmlns:adec="http://schemas.microsoft.com/office/drawing/2017/decorative" val="1"/>
              </a:ext>
            </a:extLst>
          </p:cNvPr>
          <p:cNvPicPr>
            <a:picLocks/>
          </p:cNvPicPr>
          <p:nvPr userDrawn="1"/>
        </p:nvPicPr>
        <p:blipFill rotWithShape="1">
          <a:blip r:embed="rId3" cstate="screen">
            <a:alphaModFix amt="50000"/>
            <a:extLst>
              <a:ext uri="{28A0092B-C50C-407E-A947-70E740481C1C}">
                <a14:useLocalDpi xmlns:a14="http://schemas.microsoft.com/office/drawing/2010/main"/>
              </a:ext>
            </a:extLst>
          </a:blip>
          <a:srcRect l="-1"/>
          <a:stretch/>
        </p:blipFill>
        <p:spPr>
          <a:xfrm>
            <a:off x="1" y="0"/>
            <a:ext cx="9524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3" name="Rectangle 12">
            <a:extLst>
              <a:ext uri="{FF2B5EF4-FFF2-40B4-BE49-F238E27FC236}">
                <a16:creationId xmlns:a16="http://schemas.microsoft.com/office/drawing/2014/main" id="{686E8C9A-7CBD-7463-32E0-C4FACE3E8090}"/>
              </a:ext>
              <a:ext uri="{C183D7F6-B498-43B3-948B-1728B52AA6E4}">
                <adec:decorative xmlns:adec="http://schemas.microsoft.com/office/drawing/2017/decorative" val="1"/>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ACB8128C-4C58-63C6-D872-2F46CF45BFC7}"/>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7" name="Freeform: Shape 6">
            <a:extLst>
              <a:ext uri="{FF2B5EF4-FFF2-40B4-BE49-F238E27FC236}">
                <a16:creationId xmlns:a16="http://schemas.microsoft.com/office/drawing/2014/main" id="{9FC4AE73-034C-C179-37D6-7B5E5BCB9880}"/>
              </a:ext>
              <a:ext uri="{C183D7F6-B498-43B3-948B-1728B52AA6E4}">
                <adec:decorative xmlns:adec="http://schemas.microsoft.com/office/drawing/2017/decorative" val="1"/>
              </a:ext>
            </a:extLst>
          </p:cNvPr>
          <p:cNvSpPr/>
          <p:nvPr userDrawn="1"/>
        </p:nvSpPr>
        <p:spPr>
          <a:xfrm>
            <a:off x="0" y="5999523"/>
            <a:ext cx="9450161" cy="858477"/>
          </a:xfrm>
          <a:custGeom>
            <a:avLst/>
            <a:gdLst>
              <a:gd name="connsiteX0" fmla="*/ 7676696 w 9525000"/>
              <a:gd name="connsiteY0" fmla="*/ 530993 h 858477"/>
              <a:gd name="connsiteX1" fmla="*/ 8188475 w 9525000"/>
              <a:gd name="connsiteY1" fmla="*/ 547368 h 858477"/>
              <a:gd name="connsiteX2" fmla="*/ 9324798 w 9525000"/>
              <a:gd name="connsiteY2" fmla="*/ 750487 h 858477"/>
              <a:gd name="connsiteX3" fmla="*/ 9525000 w 9525000"/>
              <a:gd name="connsiteY3" fmla="*/ 808516 h 858477"/>
              <a:gd name="connsiteX4" fmla="*/ 9525000 w 9525000"/>
              <a:gd name="connsiteY4" fmla="*/ 858477 h 858477"/>
              <a:gd name="connsiteX5" fmla="*/ 4572598 w 9525000"/>
              <a:gd name="connsiteY5" fmla="*/ 858477 h 858477"/>
              <a:gd name="connsiteX6" fmla="*/ 4606017 w 9525000"/>
              <a:gd name="connsiteY6" fmla="*/ 856651 h 858477"/>
              <a:gd name="connsiteX7" fmla="*/ 7676696 w 9525000"/>
              <a:gd name="connsiteY7" fmla="*/ 530993 h 858477"/>
              <a:gd name="connsiteX8" fmla="*/ 0 w 9525000"/>
              <a:gd name="connsiteY8" fmla="*/ 0 h 858477"/>
              <a:gd name="connsiteX9" fmla="*/ 682372 w 9525000"/>
              <a:gd name="connsiteY9" fmla="*/ 218742 h 858477"/>
              <a:gd name="connsiteX10" fmla="*/ 3583790 w 9525000"/>
              <a:gd name="connsiteY10" fmla="*/ 856009 h 858477"/>
              <a:gd name="connsiteX11" fmla="*/ 3627014 w 9525000"/>
              <a:gd name="connsiteY11" fmla="*/ 858477 h 858477"/>
              <a:gd name="connsiteX12" fmla="*/ 0 w 9525000"/>
              <a:gd name="connsiteY12"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00" h="858477">
                <a:moveTo>
                  <a:pt x="7676696" y="530993"/>
                </a:moveTo>
                <a:cubicBezTo>
                  <a:pt x="7847289" y="529316"/>
                  <a:pt x="8017882" y="534146"/>
                  <a:pt x="8188475" y="547368"/>
                </a:cubicBezTo>
                <a:cubicBezTo>
                  <a:pt x="8572310" y="578273"/>
                  <a:pt x="8956144" y="652475"/>
                  <a:pt x="9324798" y="750487"/>
                </a:cubicBezTo>
                <a:lnTo>
                  <a:pt x="9525000" y="808516"/>
                </a:lnTo>
                <a:lnTo>
                  <a:pt x="9525000"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
        <p:nvSpPr>
          <p:cNvPr id="2" name="Rectangle: Rounded Corners 1">
            <a:extLst>
              <a:ext uri="{FF2B5EF4-FFF2-40B4-BE49-F238E27FC236}">
                <a16:creationId xmlns:a16="http://schemas.microsoft.com/office/drawing/2014/main" id="{BEE69CFD-242E-FE6F-BCBE-F8F384C101B7}"/>
              </a:ext>
              <a:ext uri="{C183D7F6-B498-43B3-948B-1728B52AA6E4}">
                <adec:decorative xmlns:adec="http://schemas.microsoft.com/office/drawing/2017/decorative" val="1"/>
              </a:ext>
            </a:extLst>
          </p:cNvPr>
          <p:cNvSpPr>
            <a:spLocks/>
          </p:cNvSpPr>
          <p:nvPr userDrawn="1"/>
        </p:nvSpPr>
        <p:spPr bwMode="auto">
          <a:xfrm>
            <a:off x="317500" y="1468398"/>
            <a:ext cx="6046788" cy="4809290"/>
          </a:xfrm>
          <a:prstGeom prst="roundRect">
            <a:avLst>
              <a:gd name="adj" fmla="val 4857"/>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lvl="0" indent="0">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7" name="Text Placeholder 35">
            <a:extLst>
              <a:ext uri="{FF2B5EF4-FFF2-40B4-BE49-F238E27FC236}">
                <a16:creationId xmlns:a16="http://schemas.microsoft.com/office/drawing/2014/main" id="{F831F155-8A54-997C-765C-6C941063424C}"/>
              </a:ext>
            </a:extLst>
          </p:cNvPr>
          <p:cNvSpPr>
            <a:spLocks noGrp="1"/>
          </p:cNvSpPr>
          <p:nvPr>
            <p:ph type="body" sz="quarter" idx="12" hasCustomPrompt="1"/>
          </p:nvPr>
        </p:nvSpPr>
        <p:spPr>
          <a:xfrm>
            <a:off x="317500" y="1468398"/>
            <a:ext cx="6046788" cy="4809290"/>
          </a:xfrm>
          <a:noFill/>
        </p:spPr>
        <p:txBody>
          <a:bodyPr wrap="square" lIns="274320" tIns="182880" rIns="182880" bIns="18288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F4E70418-56F2-1389-58B8-C8C96D2D6AE8}"/>
              </a:ext>
            </a:extLst>
          </p:cNvPr>
          <p:cNvSpPr>
            <a:spLocks noGrp="1"/>
          </p:cNvSpPr>
          <p:nvPr>
            <p:ph type="pic" sz="quarter" idx="22"/>
          </p:nvPr>
        </p:nvSpPr>
        <p:spPr>
          <a:xfrm>
            <a:off x="6657973" y="1468397"/>
            <a:ext cx="5240337" cy="4809290"/>
          </a:xfrm>
          <a:prstGeom prst="roundRect">
            <a:avLst>
              <a:gd name="adj" fmla="val 4500"/>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766035017"/>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9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96FCAE03-CE3A-EEBE-9941-92B6B838321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82611" y="555807"/>
            <a:ext cx="3740149" cy="7632859"/>
          </a:xfrm>
          <a:prstGeom prst="rect">
            <a:avLst/>
          </a:prstGeom>
          <a:noFill/>
        </p:spPr>
        <p:txBody>
          <a:bodyPr wrap="square" lIns="0" tIns="0" rIns="0" bIns="0" rtlCol="0">
            <a:spAutoFit/>
          </a:bodyPr>
          <a:lstStyle/>
          <a:p>
            <a:pPr algn="l"/>
            <a:r>
              <a:rPr lang="en-US"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9</a:t>
            </a:r>
            <a:endParaRPr lang="en-IN" sz="49600" b="1">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506ABDBE-302D-4A40-9427-F3C2132505A5}"/>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2285990653"/>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10_number slides">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FD920130-4A2A-F7E3-79FB-3494FD38D916}"/>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5928359" y="2745600"/>
            <a:ext cx="5681029"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5928359" y="3634600"/>
            <a:ext cx="5681029" cy="2093100"/>
          </a:xfrm>
          <a:noFill/>
        </p:spPr>
        <p:txBody>
          <a:bodyPr vert="horz" wrap="square" lIns="0" tIns="0" rIns="0" bIns="0" rtlCol="0" anchor="t">
            <a:noAutofit/>
          </a:bodyPr>
          <a:lstStyle>
            <a:lvl1pPr marL="0" indent="0" algn="l">
              <a:buNone/>
              <a:defRPr kumimoji="0" lang="en-US" sz="28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9" name="Group 8">
            <a:extLst>
              <a:ext uri="{FF2B5EF4-FFF2-40B4-BE49-F238E27FC236}">
                <a16:creationId xmlns:a16="http://schemas.microsoft.com/office/drawing/2014/main" id="{D418BC07-CAD1-0A44-378F-4E7E44FA05CD}"/>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F25B3C3-EA12-2BD5-701C-FFABE7D2FAE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B1634156-DF67-E6AF-23D9-51662B713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5" name="Freeform: Shape 4">
            <a:extLst>
              <a:ext uri="{FF2B5EF4-FFF2-40B4-BE49-F238E27FC236}">
                <a16:creationId xmlns:a16="http://schemas.microsoft.com/office/drawing/2014/main" id="{96FCAE03-CE3A-EEBE-9941-92B6B838321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13" name="TextBox 12">
            <a:extLst>
              <a:ext uri="{FF2B5EF4-FFF2-40B4-BE49-F238E27FC236}">
                <a16:creationId xmlns:a16="http://schemas.microsoft.com/office/drawing/2014/main" id="{35CB53DE-8200-864F-38C2-7AB9911F24E6}"/>
              </a:ext>
            </a:extLst>
          </p:cNvPr>
          <p:cNvSpPr txBox="1"/>
          <p:nvPr userDrawn="1"/>
        </p:nvSpPr>
        <p:spPr>
          <a:xfrm>
            <a:off x="536891" y="1592127"/>
            <a:ext cx="5345749" cy="6355586"/>
          </a:xfrm>
          <a:prstGeom prst="rect">
            <a:avLst/>
          </a:prstGeom>
          <a:noFill/>
        </p:spPr>
        <p:txBody>
          <a:bodyPr wrap="square" lIns="0" tIns="0" rIns="0" bIns="0" rtlCol="0">
            <a:spAutoFit/>
          </a:bodyPr>
          <a:lstStyle/>
          <a:p>
            <a:pPr algn="l"/>
            <a:r>
              <a:rPr lang="en-US" sz="41300" b="1" baseline="0">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rPr>
              <a:t>10</a:t>
            </a:r>
            <a:endParaRPr lang="en-IN" sz="41300" b="1" baseline="0">
              <a:ln w="15875">
                <a:solidFill>
                  <a:schemeClr val="bg1"/>
                </a:solid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ndParaRPr>
          </a:p>
        </p:txBody>
      </p:sp>
      <p:sp>
        <p:nvSpPr>
          <p:cNvPr id="6" name="Freeform: Shape 5">
            <a:extLst>
              <a:ext uri="{FF2B5EF4-FFF2-40B4-BE49-F238E27FC236}">
                <a16:creationId xmlns:a16="http://schemas.microsoft.com/office/drawing/2014/main" id="{506ABDBE-302D-4A40-9427-F3C2132505A5}"/>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1001742669"/>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1_Section slide">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5366DA47-E29B-9F0A-1E98-FB583AD0F16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931B0CC2-F087-D983-AE25-1922796CE6E2}"/>
              </a:ext>
            </a:extLst>
          </p:cNvPr>
          <p:cNvGrpSpPr/>
          <p:nvPr userDrawn="1"/>
        </p:nvGrpSpPr>
        <p:grpSpPr>
          <a:xfrm>
            <a:off x="7471836" y="1"/>
            <a:ext cx="4720163" cy="1211986"/>
            <a:chOff x="4863262" y="0"/>
            <a:chExt cx="6378217" cy="1637721"/>
          </a:xfrm>
        </p:grpSpPr>
        <p:sp>
          <p:nvSpPr>
            <p:cNvPr id="5" name="Freeform: Shape 4">
              <a:extLst>
                <a:ext uri="{FF2B5EF4-FFF2-40B4-BE49-F238E27FC236}">
                  <a16:creationId xmlns:a16="http://schemas.microsoft.com/office/drawing/2014/main" id="{4266778D-2143-9C65-2BBC-63EACD74660B}"/>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444500" dist="355600" dir="8640000" sx="95000" sy="95000" algn="bl" rotWithShape="0">
                <a:prstClr val="black">
                  <a:alpha val="5000"/>
                </a:prstClr>
              </a:outerShdw>
            </a:effectLst>
          </p:spPr>
          <p:txBody>
            <a:bodyPr rtlCol="0" anchor="ctr"/>
            <a:lstStyle/>
            <a:p>
              <a:endParaRPr lang="en-US"/>
            </a:p>
          </p:txBody>
        </p:sp>
        <p:sp>
          <p:nvSpPr>
            <p:cNvPr id="6" name="Freeform: Shape 5">
              <a:extLst>
                <a:ext uri="{FF2B5EF4-FFF2-40B4-BE49-F238E27FC236}">
                  <a16:creationId xmlns:a16="http://schemas.microsoft.com/office/drawing/2014/main" id="{0CF323C3-219E-76F9-075A-460C0C6C2717}"/>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393700" dir="18900000" sx="90000" sy="90000" algn="bl" rotWithShape="0">
                <a:prstClr val="black">
                  <a:alpha val="5000"/>
                </a:prstClr>
              </a:outerShdw>
            </a:effectLst>
          </p:spPr>
          <p:txBody>
            <a:bodyPr rtlCol="0" anchor="ctr"/>
            <a:lstStyle/>
            <a:p>
              <a:endParaRPr lang="en-US"/>
            </a:p>
          </p:txBody>
        </p:sp>
      </p:grpSp>
      <p:sp>
        <p:nvSpPr>
          <p:cNvPr id="10" name="Title 1">
            <a:extLst>
              <a:ext uri="{FF2B5EF4-FFF2-40B4-BE49-F238E27FC236}">
                <a16:creationId xmlns:a16="http://schemas.microsoft.com/office/drawing/2014/main" id="{AF38C510-2D71-8E21-0FD9-447152FE59C2}"/>
              </a:ext>
            </a:extLst>
          </p:cNvPr>
          <p:cNvSpPr>
            <a:spLocks noGrp="1"/>
          </p:cNvSpPr>
          <p:nvPr>
            <p:ph type="title" hasCustomPrompt="1"/>
          </p:nvPr>
        </p:nvSpPr>
        <p:spPr>
          <a:xfrm>
            <a:off x="586740" y="3152001"/>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Section Title</a:t>
            </a:r>
            <a:endParaRPr lang="en-IN"/>
          </a:p>
        </p:txBody>
      </p:sp>
      <p:sp>
        <p:nvSpPr>
          <p:cNvPr id="2" name="Freeform: Shape 1">
            <a:extLst>
              <a:ext uri="{FF2B5EF4-FFF2-40B4-BE49-F238E27FC236}">
                <a16:creationId xmlns:a16="http://schemas.microsoft.com/office/drawing/2014/main" id="{7C0EE574-9389-CEA5-1425-96619E073F95}"/>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7" name="Freeform: Shape 6">
            <a:extLst>
              <a:ext uri="{FF2B5EF4-FFF2-40B4-BE49-F238E27FC236}">
                <a16:creationId xmlns:a16="http://schemas.microsoft.com/office/drawing/2014/main" id="{51C8D354-20FE-29C8-7983-F66D5510C162}"/>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Tree>
    <p:extLst>
      <p:ext uri="{BB962C8B-B14F-4D97-AF65-F5344CB8AC3E}">
        <p14:creationId xmlns:p14="http://schemas.microsoft.com/office/powerpoint/2010/main" val="473561943"/>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Section slide with speak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66DA47-E29B-9F0A-1E98-FB583AD0F161}"/>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931B0CC2-F087-D983-AE25-1922796CE6E2}"/>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5" name="Freeform: Shape 4">
              <a:extLst>
                <a:ext uri="{FF2B5EF4-FFF2-40B4-BE49-F238E27FC236}">
                  <a16:creationId xmlns:a16="http://schemas.microsoft.com/office/drawing/2014/main" id="{4266778D-2143-9C65-2BBC-63EACD74660B}"/>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444500" dist="355600" dir="8640000" sx="95000" sy="95000" algn="bl" rotWithShape="0">
                <a:prstClr val="black">
                  <a:alpha val="5000"/>
                </a:prstClr>
              </a:outerShdw>
            </a:effectLst>
          </p:spPr>
          <p:txBody>
            <a:bodyPr rtlCol="0" anchor="ctr"/>
            <a:lstStyle/>
            <a:p>
              <a:endParaRPr lang="en-US"/>
            </a:p>
          </p:txBody>
        </p:sp>
        <p:sp>
          <p:nvSpPr>
            <p:cNvPr id="6" name="Freeform: Shape 5">
              <a:extLst>
                <a:ext uri="{FF2B5EF4-FFF2-40B4-BE49-F238E27FC236}">
                  <a16:creationId xmlns:a16="http://schemas.microsoft.com/office/drawing/2014/main" id="{0CF323C3-219E-76F9-075A-460C0C6C2717}"/>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393700" dir="18900000" sx="90000" sy="90000" algn="bl" rotWithShape="0">
                <a:prstClr val="black">
                  <a:alpha val="5000"/>
                </a:prstClr>
              </a:outerShdw>
            </a:effectLst>
          </p:spPr>
          <p:txBody>
            <a:bodyPr rtlCol="0" anchor="ctr"/>
            <a:lstStyle/>
            <a:p>
              <a:endParaRPr lang="en-US"/>
            </a:p>
          </p:txBody>
        </p:sp>
      </p:grpSp>
      <p:sp>
        <p:nvSpPr>
          <p:cNvPr id="10" name="Title 1">
            <a:extLst>
              <a:ext uri="{FF2B5EF4-FFF2-40B4-BE49-F238E27FC236}">
                <a16:creationId xmlns:a16="http://schemas.microsoft.com/office/drawing/2014/main" id="{AF38C510-2D71-8E21-0FD9-447152FE59C2}"/>
              </a:ext>
            </a:extLst>
          </p:cNvPr>
          <p:cNvSpPr>
            <a:spLocks noGrp="1"/>
          </p:cNvSpPr>
          <p:nvPr>
            <p:ph type="title" hasCustomPrompt="1"/>
          </p:nvPr>
        </p:nvSpPr>
        <p:spPr>
          <a:xfrm>
            <a:off x="586740" y="3121224"/>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Section Title</a:t>
            </a:r>
            <a:endParaRPr lang="en-IN"/>
          </a:p>
        </p:txBody>
      </p:sp>
      <p:sp>
        <p:nvSpPr>
          <p:cNvPr id="2" name="Freeform: Shape 1">
            <a:extLst>
              <a:ext uri="{FF2B5EF4-FFF2-40B4-BE49-F238E27FC236}">
                <a16:creationId xmlns:a16="http://schemas.microsoft.com/office/drawing/2014/main" id="{7C0EE574-9389-CEA5-1425-96619E073F95}"/>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3000"/>
              </a:prstClr>
            </a:outerShdw>
          </a:effectLst>
        </p:spPr>
        <p:txBody>
          <a:bodyPr rtlCol="0" anchor="ctr"/>
          <a:lstStyle/>
          <a:p>
            <a:endParaRPr lang="en-US"/>
          </a:p>
        </p:txBody>
      </p:sp>
      <p:sp>
        <p:nvSpPr>
          <p:cNvPr id="7" name="Freeform: Shape 6">
            <a:extLst>
              <a:ext uri="{FF2B5EF4-FFF2-40B4-BE49-F238E27FC236}">
                <a16:creationId xmlns:a16="http://schemas.microsoft.com/office/drawing/2014/main" id="{51C8D354-20FE-29C8-7983-F66D5510C162}"/>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3000"/>
              </a:prstClr>
            </a:outerShdw>
          </a:effectLst>
        </p:spPr>
        <p:txBody>
          <a:bodyPr wrap="square" rtlCol="0" anchor="ctr">
            <a:noAutofit/>
          </a:bodyPr>
          <a:lstStyle/>
          <a:p>
            <a:endParaRPr lang="en-US"/>
          </a:p>
        </p:txBody>
      </p:sp>
      <p:sp>
        <p:nvSpPr>
          <p:cNvPr id="13" name="Text Placeholder 12">
            <a:extLst>
              <a:ext uri="{FF2B5EF4-FFF2-40B4-BE49-F238E27FC236}">
                <a16:creationId xmlns:a16="http://schemas.microsoft.com/office/drawing/2014/main" id="{D71C576D-FD18-10D5-C1B8-D7190B671836}"/>
              </a:ext>
            </a:extLst>
          </p:cNvPr>
          <p:cNvSpPr>
            <a:spLocks noGrp="1"/>
          </p:cNvSpPr>
          <p:nvPr>
            <p:ph type="body" sz="quarter" idx="10" hasCustomPrompt="1"/>
          </p:nvPr>
        </p:nvSpPr>
        <p:spPr>
          <a:xfrm>
            <a:off x="586740" y="3824976"/>
            <a:ext cx="11018520" cy="369332"/>
          </a:xfrm>
        </p:spPr>
        <p:txBody>
          <a:bodyPr/>
          <a:lstStyle>
            <a:lvl1pPr marL="0" indent="0" algn="l" defTabSz="932742" rtl="0" eaLnBrk="1" latinLnBrk="0" hangingPunct="1">
              <a:lnSpc>
                <a:spcPct val="100000"/>
              </a:lnSpc>
              <a:spcBef>
                <a:spcPct val="0"/>
              </a:spcBef>
              <a:buFont typeface="Arial" panose="020B0604020202020204" pitchFamily="34" charset="0"/>
              <a:buNone/>
              <a:defRPr lang="en-US" sz="2400" b="0" kern="1200" cap="none" spc="-50" baseline="0" dirty="0" smtClean="0">
                <a:ln w="3175">
                  <a:noFill/>
                </a:ln>
                <a:gradFill>
                  <a:gsLst>
                    <a:gs pos="0">
                      <a:schemeClr val="tx2"/>
                    </a:gs>
                    <a:gs pos="100000">
                      <a:schemeClr val="tx2">
                        <a:lumMod val="60000"/>
                        <a:lumOff val="40000"/>
                      </a:schemeClr>
                    </a:gs>
                  </a:gsLst>
                  <a:lin ang="2700000" scaled="1"/>
                </a:gradFill>
                <a:effectLst/>
                <a:latin typeface="+mn-lt"/>
                <a:ea typeface="+mn-ea"/>
                <a:cs typeface="Segoe UI" pitchFamily="34" charset="0"/>
              </a:defRPr>
            </a:lvl1pPr>
          </a:lstStyle>
          <a:p>
            <a:pPr lvl="0"/>
            <a:r>
              <a:rPr lang="en-US"/>
              <a:t>Speaker</a:t>
            </a:r>
          </a:p>
        </p:txBody>
      </p:sp>
    </p:spTree>
    <p:extLst>
      <p:ext uri="{BB962C8B-B14F-4D97-AF65-F5344CB8AC3E}">
        <p14:creationId xmlns:p14="http://schemas.microsoft.com/office/powerpoint/2010/main" val="1816623623"/>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CED5D4-D5FE-8E91-2C27-0767AD657DC0}"/>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BB1FBE52-090D-88D4-6AF6-45E7E687FB11}"/>
              </a:ext>
              <a:ext uri="{C183D7F6-B498-43B3-948B-1728B52AA6E4}">
                <adec:decorative xmlns:adec="http://schemas.microsoft.com/office/drawing/2017/decorative" val="1"/>
              </a:ext>
            </a:extLst>
          </p:cNvPr>
          <p:cNvSpPr/>
          <p:nvPr userDrawn="1"/>
        </p:nvSpPr>
        <p:spPr bwMode="auto">
          <a:xfrm>
            <a:off x="0" y="2493962"/>
            <a:ext cx="6463284" cy="1866900"/>
          </a:xfrm>
          <a:prstGeom prst="rect">
            <a:avLst/>
          </a:prstGeom>
          <a:gradFill>
            <a:gsLst>
              <a:gs pos="43000">
                <a:srgbClr val="FFFFFF">
                  <a:alpha val="9000"/>
                </a:srgbClr>
              </a:gs>
              <a:gs pos="0">
                <a:schemeClr val="bg1">
                  <a:alpha val="0"/>
                </a:schemeClr>
              </a:gs>
              <a:gs pos="84000">
                <a:schemeClr val="bg1">
                  <a:alpha val="70000"/>
                </a:schemeClr>
              </a:gs>
            </a:gsLst>
            <a:lin ang="10800000" scaled="1"/>
          </a:gradFill>
          <a:ln>
            <a:noFill/>
            <a:headEnd type="none" w="med" len="med"/>
            <a:tailEnd type="none" w="med" len="med"/>
          </a:ln>
          <a:effectLst>
            <a:outerShdw blurRad="76200" dist="38100" dir="10800000" sx="101000" sy="101000" algn="r" rotWithShape="0">
              <a:schemeClr val="tx1">
                <a:alpha val="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6" name="MS logo gray - EMF">
            <a:extLst>
              <a:ext uri="{FF2B5EF4-FFF2-40B4-BE49-F238E27FC236}">
                <a16:creationId xmlns:a16="http://schemas.microsoft.com/office/drawing/2014/main" id="{4C015D71-3E55-982A-47FA-9450B990596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Box 3">
            <a:extLst>
              <a:ext uri="{FF2B5EF4-FFF2-40B4-BE49-F238E27FC236}">
                <a16:creationId xmlns:a16="http://schemas.microsoft.com/office/drawing/2014/main" id="{55D7B2BA-D4E8-0B99-9647-EAE432CF6FC8}"/>
              </a:ext>
              <a:ext uri="{C183D7F6-B498-43B3-948B-1728B52AA6E4}">
                <adec:decorative xmlns:adec="http://schemas.microsoft.com/office/drawing/2017/decorative" val="1"/>
              </a:ext>
            </a:extLst>
          </p:cNvPr>
          <p:cNvSpPr txBox="1">
            <a:spLocks noChangeArrowheads="1"/>
          </p:cNvSpPr>
          <p:nvPr userDrawn="1"/>
        </p:nvSpPr>
        <p:spPr bwMode="blackWhite">
          <a:xfrm>
            <a:off x="584200" y="6564313"/>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sp>
        <p:nvSpPr>
          <p:cNvPr id="8" name="Title 1">
            <a:extLst>
              <a:ext uri="{FF2B5EF4-FFF2-40B4-BE49-F238E27FC236}">
                <a16:creationId xmlns:a16="http://schemas.microsoft.com/office/drawing/2014/main" id="{C162987A-C5A2-E20D-E70A-A6A18E7BDE14}"/>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gradFill>
                  <a:gsLst>
                    <a:gs pos="0">
                      <a:schemeClr val="tx2"/>
                    </a:gs>
                    <a:gs pos="100000">
                      <a:schemeClr val="tx2">
                        <a:lumMod val="60000"/>
                        <a:lumOff val="40000"/>
                      </a:schemeClr>
                    </a:gs>
                  </a:gsLst>
                  <a:lin ang="2700000" scaled="1"/>
                </a:gradFill>
              </a:defRPr>
            </a:lvl1pPr>
          </a:lstStyle>
          <a:p>
            <a:pPr marL="0" lvl="0"/>
            <a:r>
              <a:rPr lang="en-US"/>
              <a:t>Thank you</a:t>
            </a:r>
            <a:endParaRPr lang="en-IN"/>
          </a:p>
        </p:txBody>
      </p:sp>
    </p:spTree>
    <p:extLst>
      <p:ext uri="{BB962C8B-B14F-4D97-AF65-F5344CB8AC3E}">
        <p14:creationId xmlns:p14="http://schemas.microsoft.com/office/powerpoint/2010/main" val="1116867655"/>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hank you slide with different languag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CED5D4-D5FE-8E91-2C27-0767AD657DC0}"/>
              </a:ext>
              <a:ext uri="{C183D7F6-B498-43B3-948B-1728B52AA6E4}">
                <adec:decorative xmlns:adec="http://schemas.microsoft.com/office/drawing/2017/decorative" val="1"/>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MS logo gray - EMF">
            <a:extLst>
              <a:ext uri="{FF2B5EF4-FFF2-40B4-BE49-F238E27FC236}">
                <a16:creationId xmlns:a16="http://schemas.microsoft.com/office/drawing/2014/main" id="{4C015D71-3E55-982A-47FA-9450B990596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Box 3">
            <a:extLst>
              <a:ext uri="{FF2B5EF4-FFF2-40B4-BE49-F238E27FC236}">
                <a16:creationId xmlns:a16="http://schemas.microsoft.com/office/drawing/2014/main" id="{55D7B2BA-D4E8-0B99-9647-EAE432CF6FC8}"/>
              </a:ext>
              <a:ext uri="{C183D7F6-B498-43B3-948B-1728B52AA6E4}">
                <adec:decorative xmlns:adec="http://schemas.microsoft.com/office/drawing/2017/decorative" val="1"/>
              </a:ext>
            </a:extLst>
          </p:cNvPr>
          <p:cNvSpPr txBox="1">
            <a:spLocks noChangeArrowheads="1"/>
          </p:cNvSpPr>
          <p:nvPr userDrawn="1"/>
        </p:nvSpPr>
        <p:spPr bwMode="blackWhite">
          <a:xfrm>
            <a:off x="584200" y="6564313"/>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sp>
        <p:nvSpPr>
          <p:cNvPr id="5" name="Freeform 234">
            <a:extLst>
              <a:ext uri="{FF2B5EF4-FFF2-40B4-BE49-F238E27FC236}">
                <a16:creationId xmlns:a16="http://schemas.microsoft.com/office/drawing/2014/main" id="{CD6A30D9-3871-4705-E2A3-C3D19E6651A2}"/>
              </a:ext>
              <a:ext uri="{C183D7F6-B498-43B3-948B-1728B52AA6E4}">
                <adec:decorative xmlns:adec="http://schemas.microsoft.com/office/drawing/2017/decorative" val="1"/>
              </a:ext>
            </a:extLst>
          </p:cNvPr>
          <p:cNvSpPr>
            <a:spLocks noEditPoints="1"/>
          </p:cNvSpPr>
          <p:nvPr userDrawn="1"/>
        </p:nvSpPr>
        <p:spPr bwMode="auto">
          <a:xfrm>
            <a:off x="1269635" y="2252686"/>
            <a:ext cx="1434671" cy="182384"/>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9" name="Freeform 244">
            <a:extLst>
              <a:ext uri="{FF2B5EF4-FFF2-40B4-BE49-F238E27FC236}">
                <a16:creationId xmlns:a16="http://schemas.microsoft.com/office/drawing/2014/main" id="{52A59710-2FE2-B19F-D258-2C74217130AC}"/>
              </a:ext>
              <a:ext uri="{C183D7F6-B498-43B3-948B-1728B52AA6E4}">
                <adec:decorative xmlns:adec="http://schemas.microsoft.com/office/drawing/2017/decorative" val="1"/>
              </a:ext>
            </a:extLst>
          </p:cNvPr>
          <p:cNvSpPr>
            <a:spLocks noEditPoints="1"/>
          </p:cNvSpPr>
          <p:nvPr userDrawn="1"/>
        </p:nvSpPr>
        <p:spPr bwMode="auto">
          <a:xfrm>
            <a:off x="1777862" y="1694482"/>
            <a:ext cx="1220176" cy="273577"/>
          </a:xfrm>
          <a:custGeom>
            <a:avLst/>
            <a:gdLst>
              <a:gd name="T0" fmla="*/ 0 w 402"/>
              <a:gd name="T1" fmla="*/ 21 h 90"/>
              <a:gd name="T2" fmla="*/ 18 w 402"/>
              <a:gd name="T3" fmla="*/ 89 h 90"/>
              <a:gd name="T4" fmla="*/ 54 w 402"/>
              <a:gd name="T5" fmla="*/ 54 h 90"/>
              <a:gd name="T6" fmla="*/ 39 w 402"/>
              <a:gd name="T7" fmla="*/ 75 h 90"/>
              <a:gd name="T8" fmla="*/ 8 w 402"/>
              <a:gd name="T9" fmla="*/ 82 h 90"/>
              <a:gd name="T10" fmla="*/ 19 w 402"/>
              <a:gd name="T11" fmla="*/ 29 h 90"/>
              <a:gd name="T12" fmla="*/ 39 w 402"/>
              <a:gd name="T13" fmla="*/ 75 h 90"/>
              <a:gd name="T14" fmla="*/ 27 w 402"/>
              <a:gd name="T15" fmla="*/ 15 h 90"/>
              <a:gd name="T16" fmla="*/ 10 w 402"/>
              <a:gd name="T17" fmla="*/ 0 h 90"/>
              <a:gd name="T18" fmla="*/ 23 w 402"/>
              <a:gd name="T19" fmla="*/ 10 h 90"/>
              <a:gd name="T20" fmla="*/ 37 w 402"/>
              <a:gd name="T21" fmla="*/ 0 h 90"/>
              <a:gd name="T22" fmla="*/ 84 w 402"/>
              <a:gd name="T23" fmla="*/ 21 h 90"/>
              <a:gd name="T24" fmla="*/ 67 w 402"/>
              <a:gd name="T25" fmla="*/ 89 h 90"/>
              <a:gd name="T26" fmla="*/ 102 w 402"/>
              <a:gd name="T27" fmla="*/ 70 h 90"/>
              <a:gd name="T28" fmla="*/ 118 w 402"/>
              <a:gd name="T29" fmla="*/ 89 h 90"/>
              <a:gd name="T30" fmla="*/ 77 w 402"/>
              <a:gd name="T31" fmla="*/ 63 h 90"/>
              <a:gd name="T32" fmla="*/ 88 w 402"/>
              <a:gd name="T33" fmla="*/ 30 h 90"/>
              <a:gd name="T34" fmla="*/ 89 w 402"/>
              <a:gd name="T35" fmla="*/ 34 h 90"/>
              <a:gd name="T36" fmla="*/ 77 w 402"/>
              <a:gd name="T37" fmla="*/ 63 h 90"/>
              <a:gd name="T38" fmla="*/ 164 w 402"/>
              <a:gd name="T39" fmla="*/ 89 h 90"/>
              <a:gd name="T40" fmla="*/ 136 w 402"/>
              <a:gd name="T41" fmla="*/ 56 h 90"/>
              <a:gd name="T42" fmla="*/ 136 w 402"/>
              <a:gd name="T43" fmla="*/ 89 h 90"/>
              <a:gd name="T44" fmla="*/ 128 w 402"/>
              <a:gd name="T45" fmla="*/ 21 h 90"/>
              <a:gd name="T46" fmla="*/ 136 w 402"/>
              <a:gd name="T47" fmla="*/ 53 h 90"/>
              <a:gd name="T48" fmla="*/ 138 w 402"/>
              <a:gd name="T49" fmla="*/ 51 h 90"/>
              <a:gd name="T50" fmla="*/ 173 w 402"/>
              <a:gd name="T51" fmla="*/ 21 h 90"/>
              <a:gd name="T52" fmla="*/ 175 w 402"/>
              <a:gd name="T53" fmla="*/ 89 h 90"/>
              <a:gd name="T54" fmla="*/ 208 w 402"/>
              <a:gd name="T55" fmla="*/ 90 h 90"/>
              <a:gd name="T56" fmla="*/ 183 w 402"/>
              <a:gd name="T57" fmla="*/ 21 h 90"/>
              <a:gd name="T58" fmla="*/ 191 w 402"/>
              <a:gd name="T59" fmla="*/ 62 h 90"/>
              <a:gd name="T60" fmla="*/ 226 w 402"/>
              <a:gd name="T61" fmla="*/ 63 h 90"/>
              <a:gd name="T62" fmla="*/ 233 w 402"/>
              <a:gd name="T63" fmla="*/ 21 h 90"/>
              <a:gd name="T64" fmla="*/ 267 w 402"/>
              <a:gd name="T65" fmla="*/ 65 h 90"/>
              <a:gd name="T66" fmla="*/ 249 w 402"/>
              <a:gd name="T67" fmla="*/ 90 h 90"/>
              <a:gd name="T68" fmla="*/ 242 w 402"/>
              <a:gd name="T69" fmla="*/ 81 h 90"/>
              <a:gd name="T70" fmla="*/ 260 w 402"/>
              <a:gd name="T71" fmla="*/ 65 h 90"/>
              <a:gd name="T72" fmla="*/ 267 w 402"/>
              <a:gd name="T73" fmla="*/ 21 h 90"/>
              <a:gd name="T74" fmla="*/ 320 w 402"/>
              <a:gd name="T75" fmla="*/ 89 h 90"/>
              <a:gd name="T76" fmla="*/ 285 w 402"/>
              <a:gd name="T77" fmla="*/ 21 h 90"/>
              <a:gd name="T78" fmla="*/ 319 w 402"/>
              <a:gd name="T79" fmla="*/ 29 h 90"/>
              <a:gd name="T80" fmla="*/ 292 w 402"/>
              <a:gd name="T81" fmla="*/ 51 h 90"/>
              <a:gd name="T82" fmla="*/ 317 w 402"/>
              <a:gd name="T83" fmla="*/ 58 h 90"/>
              <a:gd name="T84" fmla="*/ 292 w 402"/>
              <a:gd name="T85" fmla="*/ 82 h 90"/>
              <a:gd name="T86" fmla="*/ 320 w 402"/>
              <a:gd name="T87" fmla="*/ 89 h 90"/>
              <a:gd name="T88" fmla="*/ 394 w 402"/>
              <a:gd name="T89" fmla="*/ 89 h 90"/>
              <a:gd name="T90" fmla="*/ 395 w 402"/>
              <a:gd name="T91" fmla="*/ 31 h 90"/>
              <a:gd name="T92" fmla="*/ 393 w 402"/>
              <a:gd name="T93" fmla="*/ 37 h 90"/>
              <a:gd name="T94" fmla="*/ 366 w 402"/>
              <a:gd name="T95" fmla="*/ 89 h 90"/>
              <a:gd name="T96" fmla="*/ 341 w 402"/>
              <a:gd name="T97" fmla="*/ 31 h 90"/>
              <a:gd name="T98" fmla="*/ 341 w 402"/>
              <a:gd name="T99" fmla="*/ 44 h 90"/>
              <a:gd name="T100" fmla="*/ 333 w 402"/>
              <a:gd name="T101" fmla="*/ 89 h 90"/>
              <a:gd name="T102" fmla="*/ 344 w 402"/>
              <a:gd name="T103" fmla="*/ 21 h 90"/>
              <a:gd name="T104" fmla="*/ 368 w 402"/>
              <a:gd name="T105" fmla="*/ 77 h 90"/>
              <a:gd name="T106" fmla="*/ 371 w 402"/>
              <a:gd name="T107" fmla="*/ 68 h 90"/>
              <a:gd name="T108" fmla="*/ 402 w 402"/>
              <a:gd name="T109"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2" h="90">
                <a:moveTo>
                  <a:pt x="19" y="21"/>
                </a:moveTo>
                <a:cubicBezTo>
                  <a:pt x="0" y="21"/>
                  <a:pt x="0" y="21"/>
                  <a:pt x="0" y="21"/>
                </a:cubicBezTo>
                <a:cubicBezTo>
                  <a:pt x="0" y="89"/>
                  <a:pt x="0" y="89"/>
                  <a:pt x="0" y="89"/>
                </a:cubicBezTo>
                <a:cubicBezTo>
                  <a:pt x="18" y="89"/>
                  <a:pt x="18" y="89"/>
                  <a:pt x="18" y="89"/>
                </a:cubicBezTo>
                <a:cubicBezTo>
                  <a:pt x="29" y="89"/>
                  <a:pt x="38" y="86"/>
                  <a:pt x="45" y="79"/>
                </a:cubicBezTo>
                <a:cubicBezTo>
                  <a:pt x="51" y="73"/>
                  <a:pt x="54" y="65"/>
                  <a:pt x="54" y="54"/>
                </a:cubicBezTo>
                <a:cubicBezTo>
                  <a:pt x="54" y="32"/>
                  <a:pt x="43" y="21"/>
                  <a:pt x="19" y="21"/>
                </a:cubicBezTo>
                <a:close/>
                <a:moveTo>
                  <a:pt x="39" y="75"/>
                </a:moveTo>
                <a:cubicBezTo>
                  <a:pt x="34" y="79"/>
                  <a:pt x="27" y="82"/>
                  <a:pt x="18" y="82"/>
                </a:cubicBezTo>
                <a:cubicBezTo>
                  <a:pt x="8" y="82"/>
                  <a:pt x="8" y="82"/>
                  <a:pt x="8" y="82"/>
                </a:cubicBezTo>
                <a:cubicBezTo>
                  <a:pt x="8" y="29"/>
                  <a:pt x="8" y="29"/>
                  <a:pt x="8" y="29"/>
                </a:cubicBezTo>
                <a:cubicBezTo>
                  <a:pt x="19" y="29"/>
                  <a:pt x="19" y="29"/>
                  <a:pt x="19" y="29"/>
                </a:cubicBezTo>
                <a:cubicBezTo>
                  <a:pt x="37" y="29"/>
                  <a:pt x="46" y="37"/>
                  <a:pt x="46" y="54"/>
                </a:cubicBezTo>
                <a:cubicBezTo>
                  <a:pt x="46" y="63"/>
                  <a:pt x="44" y="70"/>
                  <a:pt x="39" y="75"/>
                </a:cubicBezTo>
                <a:close/>
                <a:moveTo>
                  <a:pt x="37" y="0"/>
                </a:moveTo>
                <a:cubicBezTo>
                  <a:pt x="27" y="15"/>
                  <a:pt x="27" y="15"/>
                  <a:pt x="27" y="15"/>
                </a:cubicBezTo>
                <a:cubicBezTo>
                  <a:pt x="20" y="15"/>
                  <a:pt x="20" y="15"/>
                  <a:pt x="20" y="15"/>
                </a:cubicBezTo>
                <a:cubicBezTo>
                  <a:pt x="10" y="0"/>
                  <a:pt x="10" y="0"/>
                  <a:pt x="10" y="0"/>
                </a:cubicBezTo>
                <a:cubicBezTo>
                  <a:pt x="16" y="0"/>
                  <a:pt x="16" y="0"/>
                  <a:pt x="16" y="0"/>
                </a:cubicBezTo>
                <a:cubicBezTo>
                  <a:pt x="23" y="10"/>
                  <a:pt x="23" y="10"/>
                  <a:pt x="23" y="10"/>
                </a:cubicBezTo>
                <a:cubicBezTo>
                  <a:pt x="31" y="0"/>
                  <a:pt x="31" y="0"/>
                  <a:pt x="31" y="0"/>
                </a:cubicBezTo>
                <a:lnTo>
                  <a:pt x="37" y="0"/>
                </a:lnTo>
                <a:close/>
                <a:moveTo>
                  <a:pt x="92" y="21"/>
                </a:moveTo>
                <a:cubicBezTo>
                  <a:pt x="84" y="21"/>
                  <a:pt x="84" y="21"/>
                  <a:pt x="84" y="21"/>
                </a:cubicBezTo>
                <a:cubicBezTo>
                  <a:pt x="58" y="89"/>
                  <a:pt x="58" y="89"/>
                  <a:pt x="58" y="89"/>
                </a:cubicBezTo>
                <a:cubicBezTo>
                  <a:pt x="67" y="89"/>
                  <a:pt x="67" y="89"/>
                  <a:pt x="67" y="89"/>
                </a:cubicBezTo>
                <a:cubicBezTo>
                  <a:pt x="74" y="70"/>
                  <a:pt x="74" y="70"/>
                  <a:pt x="74" y="70"/>
                </a:cubicBezTo>
                <a:cubicBezTo>
                  <a:pt x="102" y="70"/>
                  <a:pt x="102" y="70"/>
                  <a:pt x="102" y="70"/>
                </a:cubicBezTo>
                <a:cubicBezTo>
                  <a:pt x="110" y="89"/>
                  <a:pt x="110" y="89"/>
                  <a:pt x="110" y="89"/>
                </a:cubicBezTo>
                <a:cubicBezTo>
                  <a:pt x="118" y="89"/>
                  <a:pt x="118" y="89"/>
                  <a:pt x="118" y="89"/>
                </a:cubicBezTo>
                <a:lnTo>
                  <a:pt x="92" y="21"/>
                </a:lnTo>
                <a:close/>
                <a:moveTo>
                  <a:pt x="77" y="63"/>
                </a:moveTo>
                <a:cubicBezTo>
                  <a:pt x="87" y="34"/>
                  <a:pt x="87" y="34"/>
                  <a:pt x="87" y="34"/>
                </a:cubicBezTo>
                <a:cubicBezTo>
                  <a:pt x="87" y="33"/>
                  <a:pt x="88" y="32"/>
                  <a:pt x="88" y="30"/>
                </a:cubicBezTo>
                <a:cubicBezTo>
                  <a:pt x="88" y="30"/>
                  <a:pt x="88" y="30"/>
                  <a:pt x="88" y="30"/>
                </a:cubicBezTo>
                <a:cubicBezTo>
                  <a:pt x="89" y="32"/>
                  <a:pt x="89" y="33"/>
                  <a:pt x="89" y="34"/>
                </a:cubicBezTo>
                <a:cubicBezTo>
                  <a:pt x="100" y="63"/>
                  <a:pt x="100" y="63"/>
                  <a:pt x="100" y="63"/>
                </a:cubicBezTo>
                <a:lnTo>
                  <a:pt x="77" y="63"/>
                </a:lnTo>
                <a:close/>
                <a:moveTo>
                  <a:pt x="175" y="89"/>
                </a:moveTo>
                <a:cubicBezTo>
                  <a:pt x="164" y="89"/>
                  <a:pt x="164" y="89"/>
                  <a:pt x="164" y="89"/>
                </a:cubicBezTo>
                <a:cubicBezTo>
                  <a:pt x="138" y="58"/>
                  <a:pt x="138" y="58"/>
                  <a:pt x="138" y="58"/>
                </a:cubicBezTo>
                <a:cubicBezTo>
                  <a:pt x="137" y="57"/>
                  <a:pt x="137" y="56"/>
                  <a:pt x="136" y="56"/>
                </a:cubicBezTo>
                <a:cubicBezTo>
                  <a:pt x="136" y="56"/>
                  <a:pt x="136" y="56"/>
                  <a:pt x="136" y="56"/>
                </a:cubicBezTo>
                <a:cubicBezTo>
                  <a:pt x="136" y="89"/>
                  <a:pt x="136" y="89"/>
                  <a:pt x="136" y="89"/>
                </a:cubicBezTo>
                <a:cubicBezTo>
                  <a:pt x="128" y="89"/>
                  <a:pt x="128" y="89"/>
                  <a:pt x="128" y="89"/>
                </a:cubicBezTo>
                <a:cubicBezTo>
                  <a:pt x="128" y="21"/>
                  <a:pt x="128" y="21"/>
                  <a:pt x="128" y="21"/>
                </a:cubicBezTo>
                <a:cubicBezTo>
                  <a:pt x="136" y="21"/>
                  <a:pt x="136" y="21"/>
                  <a:pt x="136" y="21"/>
                </a:cubicBezTo>
                <a:cubicBezTo>
                  <a:pt x="136" y="53"/>
                  <a:pt x="136" y="53"/>
                  <a:pt x="136" y="53"/>
                </a:cubicBezTo>
                <a:cubicBezTo>
                  <a:pt x="136" y="53"/>
                  <a:pt x="136" y="53"/>
                  <a:pt x="136" y="53"/>
                </a:cubicBezTo>
                <a:cubicBezTo>
                  <a:pt x="137" y="52"/>
                  <a:pt x="137" y="52"/>
                  <a:pt x="138" y="51"/>
                </a:cubicBezTo>
                <a:cubicBezTo>
                  <a:pt x="163" y="21"/>
                  <a:pt x="163" y="21"/>
                  <a:pt x="163" y="21"/>
                </a:cubicBezTo>
                <a:cubicBezTo>
                  <a:pt x="173" y="21"/>
                  <a:pt x="173" y="21"/>
                  <a:pt x="173" y="21"/>
                </a:cubicBezTo>
                <a:cubicBezTo>
                  <a:pt x="144" y="54"/>
                  <a:pt x="144" y="54"/>
                  <a:pt x="144" y="54"/>
                </a:cubicBezTo>
                <a:lnTo>
                  <a:pt x="175" y="89"/>
                </a:lnTo>
                <a:close/>
                <a:moveTo>
                  <a:pt x="233" y="62"/>
                </a:moveTo>
                <a:cubicBezTo>
                  <a:pt x="233" y="80"/>
                  <a:pt x="225" y="90"/>
                  <a:pt x="208" y="90"/>
                </a:cubicBezTo>
                <a:cubicBezTo>
                  <a:pt x="191" y="90"/>
                  <a:pt x="183" y="81"/>
                  <a:pt x="183" y="63"/>
                </a:cubicBezTo>
                <a:cubicBezTo>
                  <a:pt x="183" y="21"/>
                  <a:pt x="183" y="21"/>
                  <a:pt x="183" y="21"/>
                </a:cubicBezTo>
                <a:cubicBezTo>
                  <a:pt x="191" y="21"/>
                  <a:pt x="191" y="21"/>
                  <a:pt x="191" y="21"/>
                </a:cubicBezTo>
                <a:cubicBezTo>
                  <a:pt x="191" y="62"/>
                  <a:pt x="191" y="62"/>
                  <a:pt x="191" y="62"/>
                </a:cubicBezTo>
                <a:cubicBezTo>
                  <a:pt x="191" y="76"/>
                  <a:pt x="197" y="83"/>
                  <a:pt x="209" y="83"/>
                </a:cubicBezTo>
                <a:cubicBezTo>
                  <a:pt x="220" y="83"/>
                  <a:pt x="226" y="76"/>
                  <a:pt x="226" y="63"/>
                </a:cubicBezTo>
                <a:cubicBezTo>
                  <a:pt x="226" y="21"/>
                  <a:pt x="226" y="21"/>
                  <a:pt x="226" y="21"/>
                </a:cubicBezTo>
                <a:cubicBezTo>
                  <a:pt x="233" y="21"/>
                  <a:pt x="233" y="21"/>
                  <a:pt x="233" y="21"/>
                </a:cubicBezTo>
                <a:lnTo>
                  <a:pt x="233" y="62"/>
                </a:lnTo>
                <a:close/>
                <a:moveTo>
                  <a:pt x="267" y="65"/>
                </a:moveTo>
                <a:cubicBezTo>
                  <a:pt x="267" y="73"/>
                  <a:pt x="266" y="79"/>
                  <a:pt x="262" y="83"/>
                </a:cubicBezTo>
                <a:cubicBezTo>
                  <a:pt x="259" y="88"/>
                  <a:pt x="255" y="90"/>
                  <a:pt x="249" y="90"/>
                </a:cubicBezTo>
                <a:cubicBezTo>
                  <a:pt x="246" y="90"/>
                  <a:pt x="244" y="90"/>
                  <a:pt x="242" y="89"/>
                </a:cubicBezTo>
                <a:cubicBezTo>
                  <a:pt x="242" y="81"/>
                  <a:pt x="242" y="81"/>
                  <a:pt x="242" y="81"/>
                </a:cubicBezTo>
                <a:cubicBezTo>
                  <a:pt x="244" y="82"/>
                  <a:pt x="246" y="83"/>
                  <a:pt x="249" y="83"/>
                </a:cubicBezTo>
                <a:cubicBezTo>
                  <a:pt x="256" y="83"/>
                  <a:pt x="260" y="77"/>
                  <a:pt x="260" y="65"/>
                </a:cubicBezTo>
                <a:cubicBezTo>
                  <a:pt x="260" y="21"/>
                  <a:pt x="260" y="21"/>
                  <a:pt x="260" y="21"/>
                </a:cubicBezTo>
                <a:cubicBezTo>
                  <a:pt x="267" y="21"/>
                  <a:pt x="267" y="21"/>
                  <a:pt x="267" y="21"/>
                </a:cubicBezTo>
                <a:lnTo>
                  <a:pt x="267" y="65"/>
                </a:lnTo>
                <a:close/>
                <a:moveTo>
                  <a:pt x="320" y="89"/>
                </a:moveTo>
                <a:cubicBezTo>
                  <a:pt x="285" y="89"/>
                  <a:pt x="285" y="89"/>
                  <a:pt x="285" y="89"/>
                </a:cubicBezTo>
                <a:cubicBezTo>
                  <a:pt x="285" y="21"/>
                  <a:pt x="285" y="21"/>
                  <a:pt x="285" y="21"/>
                </a:cubicBezTo>
                <a:cubicBezTo>
                  <a:pt x="319" y="21"/>
                  <a:pt x="319" y="21"/>
                  <a:pt x="319" y="21"/>
                </a:cubicBezTo>
                <a:cubicBezTo>
                  <a:pt x="319" y="29"/>
                  <a:pt x="319" y="29"/>
                  <a:pt x="319" y="29"/>
                </a:cubicBezTo>
                <a:cubicBezTo>
                  <a:pt x="292" y="29"/>
                  <a:pt x="292" y="29"/>
                  <a:pt x="292" y="29"/>
                </a:cubicBezTo>
                <a:cubicBezTo>
                  <a:pt x="292" y="51"/>
                  <a:pt x="292" y="51"/>
                  <a:pt x="292" y="51"/>
                </a:cubicBezTo>
                <a:cubicBezTo>
                  <a:pt x="317" y="51"/>
                  <a:pt x="317" y="51"/>
                  <a:pt x="317" y="51"/>
                </a:cubicBezTo>
                <a:cubicBezTo>
                  <a:pt x="317" y="58"/>
                  <a:pt x="317" y="58"/>
                  <a:pt x="317" y="58"/>
                </a:cubicBezTo>
                <a:cubicBezTo>
                  <a:pt x="292" y="58"/>
                  <a:pt x="292" y="58"/>
                  <a:pt x="292" y="58"/>
                </a:cubicBezTo>
                <a:cubicBezTo>
                  <a:pt x="292" y="82"/>
                  <a:pt x="292" y="82"/>
                  <a:pt x="292" y="82"/>
                </a:cubicBezTo>
                <a:cubicBezTo>
                  <a:pt x="320" y="82"/>
                  <a:pt x="320" y="82"/>
                  <a:pt x="320" y="82"/>
                </a:cubicBezTo>
                <a:lnTo>
                  <a:pt x="320" y="89"/>
                </a:lnTo>
                <a:close/>
                <a:moveTo>
                  <a:pt x="402" y="89"/>
                </a:moveTo>
                <a:cubicBezTo>
                  <a:pt x="394" y="89"/>
                  <a:pt x="394" y="89"/>
                  <a:pt x="394" y="89"/>
                </a:cubicBezTo>
                <a:cubicBezTo>
                  <a:pt x="394" y="44"/>
                  <a:pt x="394" y="44"/>
                  <a:pt x="394" y="44"/>
                </a:cubicBezTo>
                <a:cubicBezTo>
                  <a:pt x="394" y="40"/>
                  <a:pt x="394" y="36"/>
                  <a:pt x="395" y="31"/>
                </a:cubicBezTo>
                <a:cubicBezTo>
                  <a:pt x="395" y="31"/>
                  <a:pt x="395" y="31"/>
                  <a:pt x="395" y="31"/>
                </a:cubicBezTo>
                <a:cubicBezTo>
                  <a:pt x="394" y="34"/>
                  <a:pt x="393" y="36"/>
                  <a:pt x="393" y="37"/>
                </a:cubicBezTo>
                <a:cubicBezTo>
                  <a:pt x="370" y="89"/>
                  <a:pt x="370" y="89"/>
                  <a:pt x="370" y="89"/>
                </a:cubicBezTo>
                <a:cubicBezTo>
                  <a:pt x="366" y="89"/>
                  <a:pt x="366" y="89"/>
                  <a:pt x="366" y="89"/>
                </a:cubicBezTo>
                <a:cubicBezTo>
                  <a:pt x="343" y="37"/>
                  <a:pt x="343" y="37"/>
                  <a:pt x="343" y="37"/>
                </a:cubicBezTo>
                <a:cubicBezTo>
                  <a:pt x="342" y="36"/>
                  <a:pt x="341" y="34"/>
                  <a:pt x="341" y="31"/>
                </a:cubicBezTo>
                <a:cubicBezTo>
                  <a:pt x="341" y="31"/>
                  <a:pt x="341" y="31"/>
                  <a:pt x="341" y="31"/>
                </a:cubicBezTo>
                <a:cubicBezTo>
                  <a:pt x="341" y="33"/>
                  <a:pt x="341" y="38"/>
                  <a:pt x="341" y="44"/>
                </a:cubicBezTo>
                <a:cubicBezTo>
                  <a:pt x="341" y="89"/>
                  <a:pt x="341" y="89"/>
                  <a:pt x="341" y="89"/>
                </a:cubicBezTo>
                <a:cubicBezTo>
                  <a:pt x="333" y="89"/>
                  <a:pt x="333" y="89"/>
                  <a:pt x="333" y="89"/>
                </a:cubicBezTo>
                <a:cubicBezTo>
                  <a:pt x="333" y="21"/>
                  <a:pt x="333" y="21"/>
                  <a:pt x="333" y="21"/>
                </a:cubicBezTo>
                <a:cubicBezTo>
                  <a:pt x="344" y="21"/>
                  <a:pt x="344" y="21"/>
                  <a:pt x="344" y="21"/>
                </a:cubicBezTo>
                <a:cubicBezTo>
                  <a:pt x="364" y="68"/>
                  <a:pt x="364" y="68"/>
                  <a:pt x="364" y="68"/>
                </a:cubicBezTo>
                <a:cubicBezTo>
                  <a:pt x="366" y="72"/>
                  <a:pt x="367" y="75"/>
                  <a:pt x="368" y="77"/>
                </a:cubicBezTo>
                <a:cubicBezTo>
                  <a:pt x="368" y="77"/>
                  <a:pt x="368" y="77"/>
                  <a:pt x="368" y="77"/>
                </a:cubicBezTo>
                <a:cubicBezTo>
                  <a:pt x="369" y="73"/>
                  <a:pt x="370" y="70"/>
                  <a:pt x="371" y="68"/>
                </a:cubicBezTo>
                <a:cubicBezTo>
                  <a:pt x="392" y="21"/>
                  <a:pt x="392" y="21"/>
                  <a:pt x="392" y="21"/>
                </a:cubicBezTo>
                <a:cubicBezTo>
                  <a:pt x="402" y="21"/>
                  <a:pt x="402" y="21"/>
                  <a:pt x="402" y="21"/>
                </a:cubicBezTo>
                <a:lnTo>
                  <a:pt x="402" y="89"/>
                </a:lnTo>
                <a:close/>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0" name="Freeform 246">
            <a:extLst>
              <a:ext uri="{FF2B5EF4-FFF2-40B4-BE49-F238E27FC236}">
                <a16:creationId xmlns:a16="http://schemas.microsoft.com/office/drawing/2014/main" id="{D1A08005-0C7F-1C23-6167-D1CCC90857A5}"/>
              </a:ext>
              <a:ext uri="{C183D7F6-B498-43B3-948B-1728B52AA6E4}">
                <adec:decorative xmlns:adec="http://schemas.microsoft.com/office/drawing/2017/decorative" val="1"/>
              </a:ext>
            </a:extLst>
          </p:cNvPr>
          <p:cNvSpPr>
            <a:spLocks noEditPoints="1"/>
          </p:cNvSpPr>
          <p:nvPr userDrawn="1"/>
        </p:nvSpPr>
        <p:spPr bwMode="auto">
          <a:xfrm>
            <a:off x="3075086" y="1112496"/>
            <a:ext cx="1685408" cy="431404"/>
          </a:xfrm>
          <a:custGeom>
            <a:avLst/>
            <a:gdLst>
              <a:gd name="T0" fmla="*/ 216 w 461"/>
              <a:gd name="T1" fmla="*/ 107 h 118"/>
              <a:gd name="T2" fmla="*/ 219 w 461"/>
              <a:gd name="T3" fmla="*/ 97 h 118"/>
              <a:gd name="T4" fmla="*/ 208 w 461"/>
              <a:gd name="T5" fmla="*/ 103 h 118"/>
              <a:gd name="T6" fmla="*/ 390 w 461"/>
              <a:gd name="T7" fmla="*/ 71 h 118"/>
              <a:gd name="T8" fmla="*/ 395 w 461"/>
              <a:gd name="T9" fmla="*/ 46 h 118"/>
              <a:gd name="T10" fmla="*/ 406 w 461"/>
              <a:gd name="T11" fmla="*/ 50 h 118"/>
              <a:gd name="T12" fmla="*/ 382 w 461"/>
              <a:gd name="T13" fmla="*/ 82 h 118"/>
              <a:gd name="T14" fmla="*/ 306 w 461"/>
              <a:gd name="T15" fmla="*/ 72 h 118"/>
              <a:gd name="T16" fmla="*/ 296 w 461"/>
              <a:gd name="T17" fmla="*/ 31 h 118"/>
              <a:gd name="T18" fmla="*/ 272 w 461"/>
              <a:gd name="T19" fmla="*/ 44 h 118"/>
              <a:gd name="T20" fmla="*/ 234 w 461"/>
              <a:gd name="T21" fmla="*/ 53 h 118"/>
              <a:gd name="T22" fmla="*/ 251 w 461"/>
              <a:gd name="T23" fmla="*/ 83 h 118"/>
              <a:gd name="T24" fmla="*/ 237 w 461"/>
              <a:gd name="T25" fmla="*/ 40 h 118"/>
              <a:gd name="T26" fmla="*/ 272 w 461"/>
              <a:gd name="T27" fmla="*/ 87 h 118"/>
              <a:gd name="T28" fmla="*/ 306 w 461"/>
              <a:gd name="T29" fmla="*/ 72 h 118"/>
              <a:gd name="T30" fmla="*/ 246 w 461"/>
              <a:gd name="T31" fmla="*/ 82 h 118"/>
              <a:gd name="T32" fmla="*/ 295 w 461"/>
              <a:gd name="T33" fmla="*/ 72 h 118"/>
              <a:gd name="T34" fmla="*/ 98 w 461"/>
              <a:gd name="T35" fmla="*/ 48 h 118"/>
              <a:gd name="T36" fmla="*/ 61 w 461"/>
              <a:gd name="T37" fmla="*/ 57 h 118"/>
              <a:gd name="T38" fmla="*/ 93 w 461"/>
              <a:gd name="T39" fmla="*/ 82 h 118"/>
              <a:gd name="T40" fmla="*/ 83 w 461"/>
              <a:gd name="T41" fmla="*/ 51 h 118"/>
              <a:gd name="T42" fmla="*/ 65 w 461"/>
              <a:gd name="T43" fmla="*/ 87 h 118"/>
              <a:gd name="T44" fmla="*/ 77 w 461"/>
              <a:gd name="T45" fmla="*/ 51 h 118"/>
              <a:gd name="T46" fmla="*/ 77 w 461"/>
              <a:gd name="T47" fmla="*/ 51 h 118"/>
              <a:gd name="T48" fmla="*/ 316 w 461"/>
              <a:gd name="T49" fmla="*/ 55 h 118"/>
              <a:gd name="T50" fmla="*/ 331 w 461"/>
              <a:gd name="T51" fmla="*/ 59 h 118"/>
              <a:gd name="T52" fmla="*/ 326 w 461"/>
              <a:gd name="T53" fmla="*/ 60 h 118"/>
              <a:gd name="T54" fmla="*/ 353 w 461"/>
              <a:gd name="T55" fmla="*/ 46 h 118"/>
              <a:gd name="T56" fmla="*/ 359 w 461"/>
              <a:gd name="T57" fmla="*/ 47 h 118"/>
              <a:gd name="T58" fmla="*/ 341 w 461"/>
              <a:gd name="T59" fmla="*/ 57 h 118"/>
              <a:gd name="T60" fmla="*/ 174 w 461"/>
              <a:gd name="T61" fmla="*/ 55 h 118"/>
              <a:gd name="T62" fmla="*/ 189 w 461"/>
              <a:gd name="T63" fmla="*/ 59 h 118"/>
              <a:gd name="T64" fmla="*/ 185 w 461"/>
              <a:gd name="T65" fmla="*/ 60 h 118"/>
              <a:gd name="T66" fmla="*/ 211 w 461"/>
              <a:gd name="T67" fmla="*/ 46 h 118"/>
              <a:gd name="T68" fmla="*/ 217 w 461"/>
              <a:gd name="T69" fmla="*/ 47 h 118"/>
              <a:gd name="T70" fmla="*/ 199 w 461"/>
              <a:gd name="T71" fmla="*/ 57 h 118"/>
              <a:gd name="T72" fmla="*/ 28 w 461"/>
              <a:gd name="T73" fmla="*/ 82 h 118"/>
              <a:gd name="T74" fmla="*/ 3 w 461"/>
              <a:gd name="T75" fmla="*/ 48 h 118"/>
              <a:gd name="T76" fmla="*/ 13 w 461"/>
              <a:gd name="T77" fmla="*/ 37 h 118"/>
              <a:gd name="T78" fmla="*/ 23 w 461"/>
              <a:gd name="T79" fmla="*/ 82 h 118"/>
              <a:gd name="T80" fmla="*/ 45 w 461"/>
              <a:gd name="T81" fmla="*/ 87 h 118"/>
              <a:gd name="T82" fmla="*/ 15 w 461"/>
              <a:gd name="T83" fmla="*/ 42 h 118"/>
              <a:gd name="T84" fmla="*/ 456 w 461"/>
              <a:gd name="T85" fmla="*/ 31 h 118"/>
              <a:gd name="T86" fmla="*/ 429 w 461"/>
              <a:gd name="T87" fmla="*/ 59 h 118"/>
              <a:gd name="T88" fmla="*/ 423 w 461"/>
              <a:gd name="T89" fmla="*/ 82 h 118"/>
              <a:gd name="T90" fmla="*/ 461 w 461"/>
              <a:gd name="T91" fmla="*/ 87 h 118"/>
              <a:gd name="T92" fmla="*/ 423 w 461"/>
              <a:gd name="T93" fmla="*/ 43 h 118"/>
              <a:gd name="T94" fmla="*/ 154 w 461"/>
              <a:gd name="T95" fmla="*/ 31 h 118"/>
              <a:gd name="T96" fmla="*/ 127 w 461"/>
              <a:gd name="T97" fmla="*/ 59 h 118"/>
              <a:gd name="T98" fmla="*/ 122 w 461"/>
              <a:gd name="T99" fmla="*/ 82 h 118"/>
              <a:gd name="T100" fmla="*/ 160 w 461"/>
              <a:gd name="T101" fmla="*/ 87 h 118"/>
              <a:gd name="T102" fmla="*/ 121 w 461"/>
              <a:gd name="T103" fmla="*/ 43 h 118"/>
              <a:gd name="T104" fmla="*/ 412 w 461"/>
              <a:gd name="T105" fmla="*/ 2 h 118"/>
              <a:gd name="T106" fmla="*/ 374 w 461"/>
              <a:gd name="T107" fmla="*/ 15 h 118"/>
              <a:gd name="T108" fmla="*/ 412 w 461"/>
              <a:gd name="T109" fmla="*/ 2 h 118"/>
              <a:gd name="T110" fmla="*/ 379 w 461"/>
              <a:gd name="T111"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1" h="118">
                <a:moveTo>
                  <a:pt x="219" y="97"/>
                </a:moveTo>
                <a:cubicBezTo>
                  <a:pt x="218" y="94"/>
                  <a:pt x="213" y="91"/>
                  <a:pt x="208" y="92"/>
                </a:cubicBezTo>
                <a:cubicBezTo>
                  <a:pt x="197" y="96"/>
                  <a:pt x="205" y="114"/>
                  <a:pt x="216" y="107"/>
                </a:cubicBezTo>
                <a:cubicBezTo>
                  <a:pt x="214" y="109"/>
                  <a:pt x="215" y="114"/>
                  <a:pt x="214" y="118"/>
                </a:cubicBezTo>
                <a:cubicBezTo>
                  <a:pt x="216" y="118"/>
                  <a:pt x="218" y="118"/>
                  <a:pt x="220" y="117"/>
                </a:cubicBezTo>
                <a:cubicBezTo>
                  <a:pt x="219" y="111"/>
                  <a:pt x="221" y="103"/>
                  <a:pt x="219" y="97"/>
                </a:cubicBezTo>
                <a:close/>
                <a:moveTo>
                  <a:pt x="208" y="103"/>
                </a:moveTo>
                <a:cubicBezTo>
                  <a:pt x="206" y="99"/>
                  <a:pt x="209" y="95"/>
                  <a:pt x="214" y="97"/>
                </a:cubicBezTo>
                <a:cubicBezTo>
                  <a:pt x="218" y="101"/>
                  <a:pt x="212" y="107"/>
                  <a:pt x="208" y="103"/>
                </a:cubicBezTo>
                <a:close/>
                <a:moveTo>
                  <a:pt x="371" y="51"/>
                </a:moveTo>
                <a:cubicBezTo>
                  <a:pt x="377" y="51"/>
                  <a:pt x="384" y="50"/>
                  <a:pt x="390" y="51"/>
                </a:cubicBezTo>
                <a:cubicBezTo>
                  <a:pt x="390" y="71"/>
                  <a:pt x="390" y="71"/>
                  <a:pt x="390" y="71"/>
                </a:cubicBezTo>
                <a:cubicBezTo>
                  <a:pt x="380" y="65"/>
                  <a:pt x="372" y="78"/>
                  <a:pt x="378" y="85"/>
                </a:cubicBezTo>
                <a:cubicBezTo>
                  <a:pt x="383" y="91"/>
                  <a:pt x="394" y="88"/>
                  <a:pt x="395" y="81"/>
                </a:cubicBezTo>
                <a:cubicBezTo>
                  <a:pt x="396" y="71"/>
                  <a:pt x="394" y="55"/>
                  <a:pt x="395" y="46"/>
                </a:cubicBezTo>
                <a:cubicBezTo>
                  <a:pt x="389" y="45"/>
                  <a:pt x="381" y="45"/>
                  <a:pt x="376" y="46"/>
                </a:cubicBezTo>
                <a:cubicBezTo>
                  <a:pt x="376" y="31"/>
                  <a:pt x="403" y="33"/>
                  <a:pt x="401" y="50"/>
                </a:cubicBezTo>
                <a:cubicBezTo>
                  <a:pt x="406" y="50"/>
                  <a:pt x="406" y="50"/>
                  <a:pt x="406" y="50"/>
                </a:cubicBezTo>
                <a:cubicBezTo>
                  <a:pt x="408" y="24"/>
                  <a:pt x="367" y="26"/>
                  <a:pt x="371" y="51"/>
                </a:cubicBezTo>
                <a:close/>
                <a:moveTo>
                  <a:pt x="389" y="82"/>
                </a:moveTo>
                <a:cubicBezTo>
                  <a:pt x="387" y="83"/>
                  <a:pt x="384" y="83"/>
                  <a:pt x="382" y="82"/>
                </a:cubicBezTo>
                <a:cubicBezTo>
                  <a:pt x="380" y="78"/>
                  <a:pt x="383" y="73"/>
                  <a:pt x="388" y="75"/>
                </a:cubicBezTo>
                <a:cubicBezTo>
                  <a:pt x="390" y="77"/>
                  <a:pt x="390" y="81"/>
                  <a:pt x="389" y="82"/>
                </a:cubicBezTo>
                <a:close/>
                <a:moveTo>
                  <a:pt x="306" y="72"/>
                </a:moveTo>
                <a:cubicBezTo>
                  <a:pt x="305" y="70"/>
                  <a:pt x="303" y="70"/>
                  <a:pt x="301" y="67"/>
                </a:cubicBezTo>
                <a:cubicBezTo>
                  <a:pt x="301" y="31"/>
                  <a:pt x="301" y="31"/>
                  <a:pt x="301" y="31"/>
                </a:cubicBezTo>
                <a:cubicBezTo>
                  <a:pt x="296" y="31"/>
                  <a:pt x="296" y="31"/>
                  <a:pt x="296" y="31"/>
                </a:cubicBezTo>
                <a:cubicBezTo>
                  <a:pt x="296" y="67"/>
                  <a:pt x="296" y="67"/>
                  <a:pt x="296" y="67"/>
                </a:cubicBezTo>
                <a:cubicBezTo>
                  <a:pt x="285" y="69"/>
                  <a:pt x="279" y="75"/>
                  <a:pt x="272" y="80"/>
                </a:cubicBezTo>
                <a:cubicBezTo>
                  <a:pt x="271" y="68"/>
                  <a:pt x="274" y="55"/>
                  <a:pt x="272" y="44"/>
                </a:cubicBezTo>
                <a:cubicBezTo>
                  <a:pt x="270" y="25"/>
                  <a:pt x="235" y="29"/>
                  <a:pt x="229" y="42"/>
                </a:cubicBezTo>
                <a:cubicBezTo>
                  <a:pt x="233" y="43"/>
                  <a:pt x="237" y="43"/>
                  <a:pt x="240" y="46"/>
                </a:cubicBezTo>
                <a:cubicBezTo>
                  <a:pt x="236" y="47"/>
                  <a:pt x="234" y="49"/>
                  <a:pt x="234" y="53"/>
                </a:cubicBezTo>
                <a:cubicBezTo>
                  <a:pt x="233" y="59"/>
                  <a:pt x="233" y="72"/>
                  <a:pt x="234" y="79"/>
                </a:cubicBezTo>
                <a:cubicBezTo>
                  <a:pt x="234" y="80"/>
                  <a:pt x="234" y="82"/>
                  <a:pt x="234" y="83"/>
                </a:cubicBezTo>
                <a:cubicBezTo>
                  <a:pt x="237" y="90"/>
                  <a:pt x="249" y="89"/>
                  <a:pt x="251" y="83"/>
                </a:cubicBezTo>
                <a:cubicBezTo>
                  <a:pt x="254" y="75"/>
                  <a:pt x="246" y="67"/>
                  <a:pt x="239" y="71"/>
                </a:cubicBezTo>
                <a:cubicBezTo>
                  <a:pt x="238" y="58"/>
                  <a:pt x="238" y="47"/>
                  <a:pt x="248" y="46"/>
                </a:cubicBezTo>
                <a:cubicBezTo>
                  <a:pt x="245" y="43"/>
                  <a:pt x="241" y="42"/>
                  <a:pt x="237" y="40"/>
                </a:cubicBezTo>
                <a:cubicBezTo>
                  <a:pt x="245" y="33"/>
                  <a:pt x="265" y="34"/>
                  <a:pt x="267" y="45"/>
                </a:cubicBezTo>
                <a:cubicBezTo>
                  <a:pt x="269" y="57"/>
                  <a:pt x="266" y="74"/>
                  <a:pt x="267" y="87"/>
                </a:cubicBezTo>
                <a:cubicBezTo>
                  <a:pt x="272" y="87"/>
                  <a:pt x="272" y="87"/>
                  <a:pt x="272" y="87"/>
                </a:cubicBezTo>
                <a:cubicBezTo>
                  <a:pt x="276" y="83"/>
                  <a:pt x="282" y="78"/>
                  <a:pt x="287" y="75"/>
                </a:cubicBezTo>
                <a:cubicBezTo>
                  <a:pt x="286" y="79"/>
                  <a:pt x="287" y="83"/>
                  <a:pt x="289" y="85"/>
                </a:cubicBezTo>
                <a:cubicBezTo>
                  <a:pt x="297" y="94"/>
                  <a:pt x="312" y="83"/>
                  <a:pt x="306" y="72"/>
                </a:cubicBezTo>
                <a:close/>
                <a:moveTo>
                  <a:pt x="239" y="76"/>
                </a:moveTo>
                <a:cubicBezTo>
                  <a:pt x="240" y="75"/>
                  <a:pt x="242" y="74"/>
                  <a:pt x="245" y="75"/>
                </a:cubicBezTo>
                <a:cubicBezTo>
                  <a:pt x="247" y="76"/>
                  <a:pt x="247" y="81"/>
                  <a:pt x="246" y="82"/>
                </a:cubicBezTo>
                <a:cubicBezTo>
                  <a:pt x="242" y="86"/>
                  <a:pt x="236" y="80"/>
                  <a:pt x="239" y="76"/>
                </a:cubicBezTo>
                <a:close/>
                <a:moveTo>
                  <a:pt x="301" y="82"/>
                </a:moveTo>
                <a:cubicBezTo>
                  <a:pt x="294" y="88"/>
                  <a:pt x="286" y="74"/>
                  <a:pt x="295" y="72"/>
                </a:cubicBezTo>
                <a:cubicBezTo>
                  <a:pt x="297" y="72"/>
                  <a:pt x="299" y="72"/>
                  <a:pt x="301" y="72"/>
                </a:cubicBezTo>
                <a:cubicBezTo>
                  <a:pt x="303" y="74"/>
                  <a:pt x="303" y="80"/>
                  <a:pt x="301" y="82"/>
                </a:cubicBezTo>
                <a:close/>
                <a:moveTo>
                  <a:pt x="98" y="48"/>
                </a:moveTo>
                <a:cubicBezTo>
                  <a:pt x="97" y="37"/>
                  <a:pt x="87" y="30"/>
                  <a:pt x="75" y="31"/>
                </a:cubicBezTo>
                <a:cubicBezTo>
                  <a:pt x="62" y="32"/>
                  <a:pt x="55" y="42"/>
                  <a:pt x="55" y="58"/>
                </a:cubicBezTo>
                <a:cubicBezTo>
                  <a:pt x="57" y="58"/>
                  <a:pt x="60" y="58"/>
                  <a:pt x="61" y="57"/>
                </a:cubicBezTo>
                <a:cubicBezTo>
                  <a:pt x="60" y="46"/>
                  <a:pt x="64" y="40"/>
                  <a:pt x="71" y="37"/>
                </a:cubicBezTo>
                <a:cubicBezTo>
                  <a:pt x="81" y="33"/>
                  <a:pt x="91" y="39"/>
                  <a:pt x="93" y="47"/>
                </a:cubicBezTo>
                <a:cubicBezTo>
                  <a:pt x="95" y="57"/>
                  <a:pt x="92" y="71"/>
                  <a:pt x="93" y="82"/>
                </a:cubicBezTo>
                <a:cubicBezTo>
                  <a:pt x="86" y="82"/>
                  <a:pt x="78" y="83"/>
                  <a:pt x="71" y="82"/>
                </a:cubicBezTo>
                <a:cubicBezTo>
                  <a:pt x="71" y="63"/>
                  <a:pt x="71" y="63"/>
                  <a:pt x="71" y="63"/>
                </a:cubicBezTo>
                <a:cubicBezTo>
                  <a:pt x="78" y="67"/>
                  <a:pt x="86" y="60"/>
                  <a:pt x="83" y="51"/>
                </a:cubicBezTo>
                <a:cubicBezTo>
                  <a:pt x="81" y="44"/>
                  <a:pt x="69" y="43"/>
                  <a:pt x="66" y="51"/>
                </a:cubicBezTo>
                <a:cubicBezTo>
                  <a:pt x="64" y="55"/>
                  <a:pt x="65" y="63"/>
                  <a:pt x="65" y="69"/>
                </a:cubicBezTo>
                <a:cubicBezTo>
                  <a:pt x="65" y="87"/>
                  <a:pt x="65" y="87"/>
                  <a:pt x="65" y="87"/>
                </a:cubicBezTo>
                <a:cubicBezTo>
                  <a:pt x="98" y="87"/>
                  <a:pt x="98" y="87"/>
                  <a:pt x="98" y="87"/>
                </a:cubicBezTo>
                <a:cubicBezTo>
                  <a:pt x="98" y="74"/>
                  <a:pt x="100" y="59"/>
                  <a:pt x="98" y="48"/>
                </a:cubicBezTo>
                <a:close/>
                <a:moveTo>
                  <a:pt x="77" y="51"/>
                </a:moveTo>
                <a:cubicBezTo>
                  <a:pt x="79" y="52"/>
                  <a:pt x="79" y="55"/>
                  <a:pt x="78" y="57"/>
                </a:cubicBezTo>
                <a:cubicBezTo>
                  <a:pt x="78" y="58"/>
                  <a:pt x="78" y="58"/>
                  <a:pt x="77" y="58"/>
                </a:cubicBezTo>
                <a:cubicBezTo>
                  <a:pt x="69" y="63"/>
                  <a:pt x="68" y="46"/>
                  <a:pt x="77" y="51"/>
                </a:cubicBezTo>
                <a:close/>
                <a:moveTo>
                  <a:pt x="359" y="47"/>
                </a:moveTo>
                <a:cubicBezTo>
                  <a:pt x="357" y="37"/>
                  <a:pt x="348" y="30"/>
                  <a:pt x="335" y="31"/>
                </a:cubicBezTo>
                <a:cubicBezTo>
                  <a:pt x="323" y="32"/>
                  <a:pt x="317" y="43"/>
                  <a:pt x="316" y="55"/>
                </a:cubicBezTo>
                <a:cubicBezTo>
                  <a:pt x="316" y="64"/>
                  <a:pt x="317" y="76"/>
                  <a:pt x="316" y="87"/>
                </a:cubicBezTo>
                <a:cubicBezTo>
                  <a:pt x="322" y="87"/>
                  <a:pt x="322" y="87"/>
                  <a:pt x="322" y="87"/>
                </a:cubicBezTo>
                <a:cubicBezTo>
                  <a:pt x="325" y="78"/>
                  <a:pt x="329" y="69"/>
                  <a:pt x="331" y="59"/>
                </a:cubicBezTo>
                <a:cubicBezTo>
                  <a:pt x="333" y="61"/>
                  <a:pt x="336" y="63"/>
                  <a:pt x="339" y="62"/>
                </a:cubicBezTo>
                <a:cubicBezTo>
                  <a:pt x="355" y="60"/>
                  <a:pt x="345" y="36"/>
                  <a:pt x="332" y="45"/>
                </a:cubicBezTo>
                <a:cubicBezTo>
                  <a:pt x="329" y="48"/>
                  <a:pt x="328" y="54"/>
                  <a:pt x="326" y="60"/>
                </a:cubicBezTo>
                <a:cubicBezTo>
                  <a:pt x="325" y="65"/>
                  <a:pt x="323" y="70"/>
                  <a:pt x="321" y="75"/>
                </a:cubicBezTo>
                <a:cubicBezTo>
                  <a:pt x="321" y="60"/>
                  <a:pt x="320" y="46"/>
                  <a:pt x="327" y="39"/>
                </a:cubicBezTo>
                <a:cubicBezTo>
                  <a:pt x="336" y="32"/>
                  <a:pt x="350" y="37"/>
                  <a:pt x="353" y="46"/>
                </a:cubicBezTo>
                <a:cubicBezTo>
                  <a:pt x="356" y="57"/>
                  <a:pt x="352" y="74"/>
                  <a:pt x="354" y="87"/>
                </a:cubicBezTo>
                <a:cubicBezTo>
                  <a:pt x="359" y="87"/>
                  <a:pt x="359" y="87"/>
                  <a:pt x="359" y="87"/>
                </a:cubicBezTo>
                <a:cubicBezTo>
                  <a:pt x="358" y="74"/>
                  <a:pt x="360" y="60"/>
                  <a:pt x="359" y="47"/>
                </a:cubicBezTo>
                <a:close/>
                <a:moveTo>
                  <a:pt x="341" y="57"/>
                </a:moveTo>
                <a:cubicBezTo>
                  <a:pt x="339" y="57"/>
                  <a:pt x="336" y="57"/>
                  <a:pt x="335" y="57"/>
                </a:cubicBezTo>
                <a:cubicBezTo>
                  <a:pt x="328" y="45"/>
                  <a:pt x="349" y="48"/>
                  <a:pt x="341" y="57"/>
                </a:cubicBezTo>
                <a:close/>
                <a:moveTo>
                  <a:pt x="217" y="47"/>
                </a:moveTo>
                <a:cubicBezTo>
                  <a:pt x="215" y="37"/>
                  <a:pt x="206" y="30"/>
                  <a:pt x="193" y="31"/>
                </a:cubicBezTo>
                <a:cubicBezTo>
                  <a:pt x="181" y="32"/>
                  <a:pt x="175" y="43"/>
                  <a:pt x="174" y="55"/>
                </a:cubicBezTo>
                <a:cubicBezTo>
                  <a:pt x="174" y="64"/>
                  <a:pt x="175" y="76"/>
                  <a:pt x="174" y="87"/>
                </a:cubicBezTo>
                <a:cubicBezTo>
                  <a:pt x="180" y="87"/>
                  <a:pt x="180" y="87"/>
                  <a:pt x="180" y="87"/>
                </a:cubicBezTo>
                <a:cubicBezTo>
                  <a:pt x="183" y="78"/>
                  <a:pt x="187" y="69"/>
                  <a:pt x="189" y="59"/>
                </a:cubicBezTo>
                <a:cubicBezTo>
                  <a:pt x="191" y="61"/>
                  <a:pt x="194" y="63"/>
                  <a:pt x="197" y="62"/>
                </a:cubicBezTo>
                <a:cubicBezTo>
                  <a:pt x="213" y="60"/>
                  <a:pt x="203" y="36"/>
                  <a:pt x="191" y="45"/>
                </a:cubicBezTo>
                <a:cubicBezTo>
                  <a:pt x="187" y="48"/>
                  <a:pt x="186" y="54"/>
                  <a:pt x="185" y="60"/>
                </a:cubicBezTo>
                <a:cubicBezTo>
                  <a:pt x="183" y="65"/>
                  <a:pt x="181" y="70"/>
                  <a:pt x="179" y="75"/>
                </a:cubicBezTo>
                <a:cubicBezTo>
                  <a:pt x="179" y="60"/>
                  <a:pt x="178" y="46"/>
                  <a:pt x="185" y="39"/>
                </a:cubicBezTo>
                <a:cubicBezTo>
                  <a:pt x="194" y="32"/>
                  <a:pt x="208" y="37"/>
                  <a:pt x="211" y="46"/>
                </a:cubicBezTo>
                <a:cubicBezTo>
                  <a:pt x="214" y="57"/>
                  <a:pt x="210" y="74"/>
                  <a:pt x="212" y="87"/>
                </a:cubicBezTo>
                <a:cubicBezTo>
                  <a:pt x="217" y="87"/>
                  <a:pt x="217" y="87"/>
                  <a:pt x="217" y="87"/>
                </a:cubicBezTo>
                <a:cubicBezTo>
                  <a:pt x="216" y="74"/>
                  <a:pt x="218" y="60"/>
                  <a:pt x="217" y="47"/>
                </a:cubicBezTo>
                <a:close/>
                <a:moveTo>
                  <a:pt x="199" y="57"/>
                </a:moveTo>
                <a:cubicBezTo>
                  <a:pt x="197" y="57"/>
                  <a:pt x="195" y="57"/>
                  <a:pt x="193" y="57"/>
                </a:cubicBezTo>
                <a:cubicBezTo>
                  <a:pt x="186" y="45"/>
                  <a:pt x="207" y="48"/>
                  <a:pt x="199" y="57"/>
                </a:cubicBezTo>
                <a:close/>
                <a:moveTo>
                  <a:pt x="39" y="32"/>
                </a:moveTo>
                <a:cubicBezTo>
                  <a:pt x="39" y="48"/>
                  <a:pt x="40" y="66"/>
                  <a:pt x="39" y="82"/>
                </a:cubicBezTo>
                <a:cubicBezTo>
                  <a:pt x="36" y="82"/>
                  <a:pt x="31" y="83"/>
                  <a:pt x="28" y="82"/>
                </a:cubicBezTo>
                <a:cubicBezTo>
                  <a:pt x="29" y="72"/>
                  <a:pt x="27" y="64"/>
                  <a:pt x="28" y="56"/>
                </a:cubicBezTo>
                <a:cubicBezTo>
                  <a:pt x="29" y="51"/>
                  <a:pt x="33" y="48"/>
                  <a:pt x="33" y="42"/>
                </a:cubicBezTo>
                <a:cubicBezTo>
                  <a:pt x="33" y="25"/>
                  <a:pt x="0" y="28"/>
                  <a:pt x="3" y="48"/>
                </a:cubicBezTo>
                <a:cubicBezTo>
                  <a:pt x="4" y="51"/>
                  <a:pt x="6" y="54"/>
                  <a:pt x="8" y="55"/>
                </a:cubicBezTo>
                <a:cubicBezTo>
                  <a:pt x="16" y="59"/>
                  <a:pt x="26" y="48"/>
                  <a:pt x="20" y="41"/>
                </a:cubicBezTo>
                <a:cubicBezTo>
                  <a:pt x="18" y="39"/>
                  <a:pt x="16" y="38"/>
                  <a:pt x="13" y="37"/>
                </a:cubicBezTo>
                <a:cubicBezTo>
                  <a:pt x="19" y="35"/>
                  <a:pt x="27" y="35"/>
                  <a:pt x="28" y="42"/>
                </a:cubicBezTo>
                <a:cubicBezTo>
                  <a:pt x="28" y="47"/>
                  <a:pt x="24" y="50"/>
                  <a:pt x="23" y="56"/>
                </a:cubicBezTo>
                <a:cubicBezTo>
                  <a:pt x="22" y="65"/>
                  <a:pt x="24" y="74"/>
                  <a:pt x="23" y="82"/>
                </a:cubicBezTo>
                <a:cubicBezTo>
                  <a:pt x="16" y="82"/>
                  <a:pt x="16" y="82"/>
                  <a:pt x="16" y="82"/>
                </a:cubicBezTo>
                <a:cubicBezTo>
                  <a:pt x="16" y="83"/>
                  <a:pt x="16" y="86"/>
                  <a:pt x="16" y="87"/>
                </a:cubicBezTo>
                <a:cubicBezTo>
                  <a:pt x="45" y="87"/>
                  <a:pt x="45" y="87"/>
                  <a:pt x="45" y="87"/>
                </a:cubicBezTo>
                <a:cubicBezTo>
                  <a:pt x="45" y="32"/>
                  <a:pt x="45" y="32"/>
                  <a:pt x="45" y="32"/>
                </a:cubicBezTo>
                <a:lnTo>
                  <a:pt x="39" y="32"/>
                </a:lnTo>
                <a:close/>
                <a:moveTo>
                  <a:pt x="15" y="42"/>
                </a:moveTo>
                <a:cubicBezTo>
                  <a:pt x="20" y="46"/>
                  <a:pt x="14" y="53"/>
                  <a:pt x="9" y="50"/>
                </a:cubicBezTo>
                <a:cubicBezTo>
                  <a:pt x="6" y="47"/>
                  <a:pt x="9" y="39"/>
                  <a:pt x="15" y="42"/>
                </a:cubicBezTo>
                <a:close/>
                <a:moveTo>
                  <a:pt x="456" y="31"/>
                </a:moveTo>
                <a:cubicBezTo>
                  <a:pt x="456" y="82"/>
                  <a:pt x="456" y="82"/>
                  <a:pt x="456" y="82"/>
                </a:cubicBezTo>
                <a:cubicBezTo>
                  <a:pt x="429" y="82"/>
                  <a:pt x="429" y="82"/>
                  <a:pt x="429" y="82"/>
                </a:cubicBezTo>
                <a:cubicBezTo>
                  <a:pt x="429" y="59"/>
                  <a:pt x="429" y="59"/>
                  <a:pt x="429" y="59"/>
                </a:cubicBezTo>
                <a:cubicBezTo>
                  <a:pt x="429" y="46"/>
                  <a:pt x="432" y="29"/>
                  <a:pt x="418" y="31"/>
                </a:cubicBezTo>
                <a:cubicBezTo>
                  <a:pt x="406" y="32"/>
                  <a:pt x="409" y="54"/>
                  <a:pt x="423" y="49"/>
                </a:cubicBezTo>
                <a:cubicBezTo>
                  <a:pt x="423" y="82"/>
                  <a:pt x="423" y="82"/>
                  <a:pt x="423" y="82"/>
                </a:cubicBezTo>
                <a:cubicBezTo>
                  <a:pt x="421" y="82"/>
                  <a:pt x="418" y="82"/>
                  <a:pt x="417" y="82"/>
                </a:cubicBezTo>
                <a:cubicBezTo>
                  <a:pt x="417" y="87"/>
                  <a:pt x="417" y="87"/>
                  <a:pt x="417" y="87"/>
                </a:cubicBezTo>
                <a:cubicBezTo>
                  <a:pt x="461" y="87"/>
                  <a:pt x="461" y="87"/>
                  <a:pt x="461" y="87"/>
                </a:cubicBezTo>
                <a:cubicBezTo>
                  <a:pt x="461" y="31"/>
                  <a:pt x="461" y="31"/>
                  <a:pt x="461" y="31"/>
                </a:cubicBezTo>
                <a:lnTo>
                  <a:pt x="456" y="31"/>
                </a:lnTo>
                <a:close/>
                <a:moveTo>
                  <a:pt x="423" y="43"/>
                </a:moveTo>
                <a:cubicBezTo>
                  <a:pt x="419" y="46"/>
                  <a:pt x="413" y="43"/>
                  <a:pt x="416" y="37"/>
                </a:cubicBezTo>
                <a:cubicBezTo>
                  <a:pt x="420" y="33"/>
                  <a:pt x="427" y="38"/>
                  <a:pt x="423" y="43"/>
                </a:cubicBezTo>
                <a:close/>
                <a:moveTo>
                  <a:pt x="154" y="31"/>
                </a:moveTo>
                <a:cubicBezTo>
                  <a:pt x="154" y="82"/>
                  <a:pt x="154" y="82"/>
                  <a:pt x="154" y="82"/>
                </a:cubicBezTo>
                <a:cubicBezTo>
                  <a:pt x="127" y="82"/>
                  <a:pt x="127" y="82"/>
                  <a:pt x="127" y="82"/>
                </a:cubicBezTo>
                <a:cubicBezTo>
                  <a:pt x="127" y="59"/>
                  <a:pt x="127" y="59"/>
                  <a:pt x="127" y="59"/>
                </a:cubicBezTo>
                <a:cubicBezTo>
                  <a:pt x="127" y="46"/>
                  <a:pt x="130" y="29"/>
                  <a:pt x="116" y="31"/>
                </a:cubicBezTo>
                <a:cubicBezTo>
                  <a:pt x="104" y="32"/>
                  <a:pt x="107" y="54"/>
                  <a:pt x="122" y="49"/>
                </a:cubicBezTo>
                <a:cubicBezTo>
                  <a:pt x="122" y="82"/>
                  <a:pt x="122" y="82"/>
                  <a:pt x="122" y="82"/>
                </a:cubicBezTo>
                <a:cubicBezTo>
                  <a:pt x="119" y="82"/>
                  <a:pt x="117" y="82"/>
                  <a:pt x="115" y="82"/>
                </a:cubicBezTo>
                <a:cubicBezTo>
                  <a:pt x="115" y="87"/>
                  <a:pt x="115" y="87"/>
                  <a:pt x="115" y="87"/>
                </a:cubicBezTo>
                <a:cubicBezTo>
                  <a:pt x="160" y="87"/>
                  <a:pt x="160" y="87"/>
                  <a:pt x="160" y="87"/>
                </a:cubicBezTo>
                <a:cubicBezTo>
                  <a:pt x="160" y="31"/>
                  <a:pt x="160" y="31"/>
                  <a:pt x="160" y="31"/>
                </a:cubicBezTo>
                <a:lnTo>
                  <a:pt x="154" y="31"/>
                </a:lnTo>
                <a:close/>
                <a:moveTo>
                  <a:pt x="121" y="43"/>
                </a:moveTo>
                <a:cubicBezTo>
                  <a:pt x="117" y="46"/>
                  <a:pt x="111" y="43"/>
                  <a:pt x="114" y="37"/>
                </a:cubicBezTo>
                <a:cubicBezTo>
                  <a:pt x="118" y="33"/>
                  <a:pt x="125" y="38"/>
                  <a:pt x="121" y="43"/>
                </a:cubicBezTo>
                <a:close/>
                <a:moveTo>
                  <a:pt x="412" y="2"/>
                </a:moveTo>
                <a:cubicBezTo>
                  <a:pt x="407" y="10"/>
                  <a:pt x="399" y="15"/>
                  <a:pt x="389" y="18"/>
                </a:cubicBezTo>
                <a:cubicBezTo>
                  <a:pt x="391" y="16"/>
                  <a:pt x="391" y="16"/>
                  <a:pt x="391" y="14"/>
                </a:cubicBezTo>
                <a:cubicBezTo>
                  <a:pt x="393" y="0"/>
                  <a:pt x="372" y="2"/>
                  <a:pt x="374" y="15"/>
                </a:cubicBezTo>
                <a:cubicBezTo>
                  <a:pt x="375" y="21"/>
                  <a:pt x="383" y="23"/>
                  <a:pt x="390" y="22"/>
                </a:cubicBezTo>
                <a:cubicBezTo>
                  <a:pt x="402" y="21"/>
                  <a:pt x="410" y="12"/>
                  <a:pt x="416" y="5"/>
                </a:cubicBezTo>
                <a:cubicBezTo>
                  <a:pt x="414" y="4"/>
                  <a:pt x="413" y="3"/>
                  <a:pt x="412" y="2"/>
                </a:cubicBezTo>
                <a:close/>
                <a:moveTo>
                  <a:pt x="379" y="15"/>
                </a:moveTo>
                <a:cubicBezTo>
                  <a:pt x="376" y="9"/>
                  <a:pt x="384" y="6"/>
                  <a:pt x="386" y="10"/>
                </a:cubicBezTo>
                <a:cubicBezTo>
                  <a:pt x="389" y="14"/>
                  <a:pt x="383" y="19"/>
                  <a:pt x="379" y="15"/>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5">
                  <a:lumMod val="75000"/>
                </a:schemeClr>
              </a:solidFill>
              <a:effectLst/>
              <a:uLnTx/>
              <a:uFillTx/>
              <a:latin typeface="Segoe UI Semilight"/>
              <a:ea typeface="+mn-ea"/>
              <a:cs typeface="+mn-cs"/>
            </a:endParaRPr>
          </a:p>
        </p:txBody>
      </p:sp>
      <p:sp>
        <p:nvSpPr>
          <p:cNvPr id="11" name="Freeform 221">
            <a:extLst>
              <a:ext uri="{FF2B5EF4-FFF2-40B4-BE49-F238E27FC236}">
                <a16:creationId xmlns:a16="http://schemas.microsoft.com/office/drawing/2014/main" id="{70C7B306-0892-45C3-93A5-51ED348CF56D}"/>
              </a:ext>
              <a:ext uri="{C183D7F6-B498-43B3-948B-1728B52AA6E4}">
                <adec:decorative xmlns:adec="http://schemas.microsoft.com/office/drawing/2017/decorative" val="1"/>
              </a:ext>
            </a:extLst>
          </p:cNvPr>
          <p:cNvSpPr>
            <a:spLocks noEditPoints="1"/>
          </p:cNvSpPr>
          <p:nvPr userDrawn="1"/>
        </p:nvSpPr>
        <p:spPr bwMode="auto">
          <a:xfrm rot="16200000">
            <a:off x="9515227" y="2892332"/>
            <a:ext cx="217852" cy="978802"/>
          </a:xfrm>
          <a:custGeom>
            <a:avLst/>
            <a:gdLst>
              <a:gd name="T0" fmla="*/ 0 w 120"/>
              <a:gd name="T1" fmla="*/ 58 h 539"/>
              <a:gd name="T2" fmla="*/ 59 w 120"/>
              <a:gd name="T3" fmla="*/ 0 h 539"/>
              <a:gd name="T4" fmla="*/ 120 w 120"/>
              <a:gd name="T5" fmla="*/ 63 h 539"/>
              <a:gd name="T6" fmla="*/ 95 w 120"/>
              <a:gd name="T7" fmla="*/ 95 h 539"/>
              <a:gd name="T8" fmla="*/ 92 w 120"/>
              <a:gd name="T9" fmla="*/ 33 h 539"/>
              <a:gd name="T10" fmla="*/ 28 w 120"/>
              <a:gd name="T11" fmla="*/ 31 h 539"/>
              <a:gd name="T12" fmla="*/ 21 w 120"/>
              <a:gd name="T13" fmla="*/ 80 h 539"/>
              <a:gd name="T14" fmla="*/ 49 w 120"/>
              <a:gd name="T15" fmla="*/ 55 h 539"/>
              <a:gd name="T16" fmla="*/ 65 w 120"/>
              <a:gd name="T17" fmla="*/ 99 h 539"/>
              <a:gd name="T18" fmla="*/ 2 w 120"/>
              <a:gd name="T19" fmla="*/ 117 h 539"/>
              <a:gd name="T20" fmla="*/ 49 w 120"/>
              <a:gd name="T21" fmla="*/ 137 h 539"/>
              <a:gd name="T22" fmla="*/ 48 w 120"/>
              <a:gd name="T23" fmla="*/ 151 h 539"/>
              <a:gd name="T24" fmla="*/ 40 w 120"/>
              <a:gd name="T25" fmla="*/ 162 h 539"/>
              <a:gd name="T26" fmla="*/ 2 w 120"/>
              <a:gd name="T27" fmla="*/ 185 h 539"/>
              <a:gd name="T28" fmla="*/ 2 w 120"/>
              <a:gd name="T29" fmla="*/ 208 h 539"/>
              <a:gd name="T30" fmla="*/ 34 w 120"/>
              <a:gd name="T31" fmla="*/ 187 h 539"/>
              <a:gd name="T32" fmla="*/ 46 w 120"/>
              <a:gd name="T33" fmla="*/ 178 h 539"/>
              <a:gd name="T34" fmla="*/ 55 w 120"/>
              <a:gd name="T35" fmla="*/ 168 h 539"/>
              <a:gd name="T36" fmla="*/ 59 w 120"/>
              <a:gd name="T37" fmla="*/ 179 h 539"/>
              <a:gd name="T38" fmla="*/ 75 w 120"/>
              <a:gd name="T39" fmla="*/ 192 h 539"/>
              <a:gd name="T40" fmla="*/ 101 w 120"/>
              <a:gd name="T41" fmla="*/ 191 h 539"/>
              <a:gd name="T42" fmla="*/ 116 w 120"/>
              <a:gd name="T43" fmla="*/ 171 h 539"/>
              <a:gd name="T44" fmla="*/ 118 w 120"/>
              <a:gd name="T45" fmla="*/ 118 h 539"/>
              <a:gd name="T46" fmla="*/ 103 w 120"/>
              <a:gd name="T47" fmla="*/ 153 h 539"/>
              <a:gd name="T48" fmla="*/ 85 w 120"/>
              <a:gd name="T49" fmla="*/ 174 h 539"/>
              <a:gd name="T50" fmla="*/ 70 w 120"/>
              <a:gd name="T51" fmla="*/ 168 h 539"/>
              <a:gd name="T52" fmla="*/ 65 w 120"/>
              <a:gd name="T53" fmla="*/ 153 h 539"/>
              <a:gd name="T54" fmla="*/ 103 w 120"/>
              <a:gd name="T55" fmla="*/ 137 h 539"/>
              <a:gd name="T56" fmla="*/ 4 w 120"/>
              <a:gd name="T57" fmla="*/ 206 h 539"/>
              <a:gd name="T58" fmla="*/ 2 w 120"/>
              <a:gd name="T59" fmla="*/ 226 h 539"/>
              <a:gd name="T60" fmla="*/ 31 w 120"/>
              <a:gd name="T61" fmla="*/ 282 h 539"/>
              <a:gd name="T62" fmla="*/ 1 w 120"/>
              <a:gd name="T63" fmla="*/ 314 h 539"/>
              <a:gd name="T64" fmla="*/ 118 w 120"/>
              <a:gd name="T65" fmla="*/ 249 h 539"/>
              <a:gd name="T66" fmla="*/ 101 w 120"/>
              <a:gd name="T67" fmla="*/ 259 h 539"/>
              <a:gd name="T68" fmla="*/ 47 w 120"/>
              <a:gd name="T69" fmla="*/ 277 h 539"/>
              <a:gd name="T70" fmla="*/ 94 w 120"/>
              <a:gd name="T71" fmla="*/ 257 h 539"/>
              <a:gd name="T72" fmla="*/ 110 w 120"/>
              <a:gd name="T73" fmla="*/ 414 h 539"/>
              <a:gd name="T74" fmla="*/ 18 w 120"/>
              <a:gd name="T75" fmla="*/ 413 h 539"/>
              <a:gd name="T76" fmla="*/ 1 w 120"/>
              <a:gd name="T77" fmla="*/ 322 h 539"/>
              <a:gd name="T78" fmla="*/ 102 w 120"/>
              <a:gd name="T79" fmla="*/ 387 h 539"/>
              <a:gd name="T80" fmla="*/ 118 w 120"/>
              <a:gd name="T81" fmla="*/ 328 h 539"/>
              <a:gd name="T82" fmla="*/ 110 w 120"/>
              <a:gd name="T83" fmla="*/ 414 h 539"/>
              <a:gd name="T84" fmla="*/ 1 w 120"/>
              <a:gd name="T85" fmla="*/ 428 h 539"/>
              <a:gd name="T86" fmla="*/ 118 w 120"/>
              <a:gd name="T87" fmla="*/ 448 h 539"/>
              <a:gd name="T88" fmla="*/ 1 w 120"/>
              <a:gd name="T89" fmla="*/ 539 h 539"/>
              <a:gd name="T90" fmla="*/ 118 w 120"/>
              <a:gd name="T91" fmla="*/ 474 h 539"/>
              <a:gd name="T92" fmla="*/ 101 w 120"/>
              <a:gd name="T93" fmla="*/ 537 h 539"/>
              <a:gd name="T94" fmla="*/ 68 w 120"/>
              <a:gd name="T95" fmla="*/ 493 h 539"/>
              <a:gd name="T96" fmla="*/ 52 w 120"/>
              <a:gd name="T97" fmla="*/ 533 h 539"/>
              <a:gd name="T98" fmla="*/ 18 w 120"/>
              <a:gd name="T99" fmla="*/ 493 h 539"/>
              <a:gd name="T100" fmla="*/ 1 w 120"/>
              <a:gd name="T101"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9">
                <a:moveTo>
                  <a:pt x="10" y="99"/>
                </a:moveTo>
                <a:cubicBezTo>
                  <a:pt x="3" y="87"/>
                  <a:pt x="0" y="73"/>
                  <a:pt x="0" y="58"/>
                </a:cubicBezTo>
                <a:cubicBezTo>
                  <a:pt x="0" y="41"/>
                  <a:pt x="5" y="27"/>
                  <a:pt x="16" y="16"/>
                </a:cubicBezTo>
                <a:cubicBezTo>
                  <a:pt x="27" y="6"/>
                  <a:pt x="41" y="0"/>
                  <a:pt x="59" y="0"/>
                </a:cubicBezTo>
                <a:cubicBezTo>
                  <a:pt x="77" y="0"/>
                  <a:pt x="92" y="6"/>
                  <a:pt x="103" y="18"/>
                </a:cubicBezTo>
                <a:cubicBezTo>
                  <a:pt x="115" y="30"/>
                  <a:pt x="120" y="45"/>
                  <a:pt x="120" y="63"/>
                </a:cubicBezTo>
                <a:cubicBezTo>
                  <a:pt x="120" y="76"/>
                  <a:pt x="119" y="87"/>
                  <a:pt x="115" y="95"/>
                </a:cubicBezTo>
                <a:cubicBezTo>
                  <a:pt x="95" y="95"/>
                  <a:pt x="95" y="95"/>
                  <a:pt x="95" y="95"/>
                </a:cubicBezTo>
                <a:cubicBezTo>
                  <a:pt x="101" y="86"/>
                  <a:pt x="104" y="76"/>
                  <a:pt x="104" y="63"/>
                </a:cubicBezTo>
                <a:cubicBezTo>
                  <a:pt x="104" y="51"/>
                  <a:pt x="100" y="41"/>
                  <a:pt x="92" y="33"/>
                </a:cubicBezTo>
                <a:cubicBezTo>
                  <a:pt x="83" y="25"/>
                  <a:pt x="73" y="21"/>
                  <a:pt x="60" y="21"/>
                </a:cubicBezTo>
                <a:cubicBezTo>
                  <a:pt x="46" y="21"/>
                  <a:pt x="36" y="24"/>
                  <a:pt x="28" y="31"/>
                </a:cubicBezTo>
                <a:cubicBezTo>
                  <a:pt x="20" y="38"/>
                  <a:pt x="17" y="47"/>
                  <a:pt x="16" y="59"/>
                </a:cubicBezTo>
                <a:cubicBezTo>
                  <a:pt x="16" y="67"/>
                  <a:pt x="18" y="74"/>
                  <a:pt x="21" y="80"/>
                </a:cubicBezTo>
                <a:cubicBezTo>
                  <a:pt x="49" y="80"/>
                  <a:pt x="49" y="80"/>
                  <a:pt x="49" y="80"/>
                </a:cubicBezTo>
                <a:cubicBezTo>
                  <a:pt x="49" y="55"/>
                  <a:pt x="49" y="55"/>
                  <a:pt x="49" y="55"/>
                </a:cubicBezTo>
                <a:cubicBezTo>
                  <a:pt x="65" y="55"/>
                  <a:pt x="65" y="55"/>
                  <a:pt x="65" y="55"/>
                </a:cubicBezTo>
                <a:cubicBezTo>
                  <a:pt x="65" y="99"/>
                  <a:pt x="65" y="99"/>
                  <a:pt x="65" y="99"/>
                </a:cubicBezTo>
                <a:lnTo>
                  <a:pt x="10" y="99"/>
                </a:lnTo>
                <a:close/>
                <a:moveTo>
                  <a:pt x="2" y="117"/>
                </a:moveTo>
                <a:cubicBezTo>
                  <a:pt x="2" y="137"/>
                  <a:pt x="2" y="137"/>
                  <a:pt x="2" y="137"/>
                </a:cubicBezTo>
                <a:cubicBezTo>
                  <a:pt x="49" y="137"/>
                  <a:pt x="49" y="137"/>
                  <a:pt x="49" y="137"/>
                </a:cubicBezTo>
                <a:cubicBezTo>
                  <a:pt x="49" y="145"/>
                  <a:pt x="49" y="145"/>
                  <a:pt x="49" y="145"/>
                </a:cubicBezTo>
                <a:cubicBezTo>
                  <a:pt x="49" y="147"/>
                  <a:pt x="49" y="149"/>
                  <a:pt x="48" y="151"/>
                </a:cubicBezTo>
                <a:cubicBezTo>
                  <a:pt x="48" y="153"/>
                  <a:pt x="47" y="155"/>
                  <a:pt x="45" y="157"/>
                </a:cubicBezTo>
                <a:cubicBezTo>
                  <a:pt x="44" y="158"/>
                  <a:pt x="42" y="160"/>
                  <a:pt x="40" y="162"/>
                </a:cubicBezTo>
                <a:cubicBezTo>
                  <a:pt x="38" y="163"/>
                  <a:pt x="36" y="165"/>
                  <a:pt x="33" y="166"/>
                </a:cubicBezTo>
                <a:cubicBezTo>
                  <a:pt x="2" y="185"/>
                  <a:pt x="2" y="185"/>
                  <a:pt x="2" y="185"/>
                </a:cubicBezTo>
                <a:cubicBezTo>
                  <a:pt x="2" y="205"/>
                  <a:pt x="2" y="205"/>
                  <a:pt x="2" y="205"/>
                </a:cubicBezTo>
                <a:cubicBezTo>
                  <a:pt x="2" y="208"/>
                  <a:pt x="2" y="208"/>
                  <a:pt x="2" y="208"/>
                </a:cubicBezTo>
                <a:cubicBezTo>
                  <a:pt x="4" y="206"/>
                  <a:pt x="4" y="206"/>
                  <a:pt x="4" y="206"/>
                </a:cubicBezTo>
                <a:cubicBezTo>
                  <a:pt x="34" y="187"/>
                  <a:pt x="34" y="187"/>
                  <a:pt x="34" y="187"/>
                </a:cubicBezTo>
                <a:cubicBezTo>
                  <a:pt x="37" y="185"/>
                  <a:pt x="39" y="184"/>
                  <a:pt x="41" y="182"/>
                </a:cubicBezTo>
                <a:cubicBezTo>
                  <a:pt x="43" y="181"/>
                  <a:pt x="45" y="180"/>
                  <a:pt x="46" y="178"/>
                </a:cubicBezTo>
                <a:cubicBezTo>
                  <a:pt x="48" y="177"/>
                  <a:pt x="49" y="175"/>
                  <a:pt x="51" y="174"/>
                </a:cubicBezTo>
                <a:cubicBezTo>
                  <a:pt x="52" y="172"/>
                  <a:pt x="54" y="170"/>
                  <a:pt x="55" y="168"/>
                </a:cubicBezTo>
                <a:cubicBezTo>
                  <a:pt x="55" y="168"/>
                  <a:pt x="55" y="168"/>
                  <a:pt x="55" y="168"/>
                </a:cubicBezTo>
                <a:cubicBezTo>
                  <a:pt x="56" y="172"/>
                  <a:pt x="58" y="176"/>
                  <a:pt x="59" y="179"/>
                </a:cubicBezTo>
                <a:cubicBezTo>
                  <a:pt x="61" y="182"/>
                  <a:pt x="64" y="185"/>
                  <a:pt x="66" y="187"/>
                </a:cubicBezTo>
                <a:cubicBezTo>
                  <a:pt x="69" y="189"/>
                  <a:pt x="72" y="191"/>
                  <a:pt x="75" y="192"/>
                </a:cubicBezTo>
                <a:cubicBezTo>
                  <a:pt x="79" y="193"/>
                  <a:pt x="83" y="194"/>
                  <a:pt x="87" y="194"/>
                </a:cubicBezTo>
                <a:cubicBezTo>
                  <a:pt x="92" y="194"/>
                  <a:pt x="97" y="193"/>
                  <a:pt x="101" y="191"/>
                </a:cubicBezTo>
                <a:cubicBezTo>
                  <a:pt x="105" y="189"/>
                  <a:pt x="108" y="187"/>
                  <a:pt x="111" y="183"/>
                </a:cubicBezTo>
                <a:cubicBezTo>
                  <a:pt x="113" y="180"/>
                  <a:pt x="115" y="176"/>
                  <a:pt x="116" y="171"/>
                </a:cubicBezTo>
                <a:cubicBezTo>
                  <a:pt x="118" y="167"/>
                  <a:pt x="118" y="162"/>
                  <a:pt x="118" y="156"/>
                </a:cubicBezTo>
                <a:cubicBezTo>
                  <a:pt x="118" y="118"/>
                  <a:pt x="118" y="118"/>
                  <a:pt x="118" y="118"/>
                </a:cubicBezTo>
                <a:lnTo>
                  <a:pt x="2" y="117"/>
                </a:lnTo>
                <a:close/>
                <a:moveTo>
                  <a:pt x="103" y="153"/>
                </a:moveTo>
                <a:cubicBezTo>
                  <a:pt x="103" y="160"/>
                  <a:pt x="101" y="165"/>
                  <a:pt x="98" y="168"/>
                </a:cubicBezTo>
                <a:cubicBezTo>
                  <a:pt x="95" y="172"/>
                  <a:pt x="90" y="174"/>
                  <a:pt x="85" y="174"/>
                </a:cubicBezTo>
                <a:cubicBezTo>
                  <a:pt x="82" y="174"/>
                  <a:pt x="79" y="173"/>
                  <a:pt x="76" y="172"/>
                </a:cubicBezTo>
                <a:cubicBezTo>
                  <a:pt x="74" y="171"/>
                  <a:pt x="72" y="170"/>
                  <a:pt x="70" y="168"/>
                </a:cubicBezTo>
                <a:cubicBezTo>
                  <a:pt x="68" y="166"/>
                  <a:pt x="67" y="164"/>
                  <a:pt x="66" y="161"/>
                </a:cubicBezTo>
                <a:cubicBezTo>
                  <a:pt x="65" y="159"/>
                  <a:pt x="65" y="156"/>
                  <a:pt x="65" y="153"/>
                </a:cubicBezTo>
                <a:cubicBezTo>
                  <a:pt x="65" y="137"/>
                  <a:pt x="65" y="137"/>
                  <a:pt x="65" y="137"/>
                </a:cubicBezTo>
                <a:cubicBezTo>
                  <a:pt x="103" y="137"/>
                  <a:pt x="103" y="137"/>
                  <a:pt x="103" y="137"/>
                </a:cubicBezTo>
                <a:lnTo>
                  <a:pt x="103" y="153"/>
                </a:lnTo>
                <a:close/>
                <a:moveTo>
                  <a:pt x="4" y="206"/>
                </a:moveTo>
                <a:cubicBezTo>
                  <a:pt x="2" y="205"/>
                  <a:pt x="2" y="205"/>
                  <a:pt x="2" y="205"/>
                </a:cubicBezTo>
                <a:cubicBezTo>
                  <a:pt x="2" y="226"/>
                  <a:pt x="2" y="226"/>
                  <a:pt x="2" y="226"/>
                </a:cubicBezTo>
                <a:cubicBezTo>
                  <a:pt x="31" y="236"/>
                  <a:pt x="31" y="236"/>
                  <a:pt x="31" y="236"/>
                </a:cubicBezTo>
                <a:cubicBezTo>
                  <a:pt x="31" y="282"/>
                  <a:pt x="31" y="282"/>
                  <a:pt x="31" y="282"/>
                </a:cubicBezTo>
                <a:cubicBezTo>
                  <a:pt x="1" y="293"/>
                  <a:pt x="1" y="293"/>
                  <a:pt x="1" y="293"/>
                </a:cubicBezTo>
                <a:cubicBezTo>
                  <a:pt x="1" y="314"/>
                  <a:pt x="1" y="314"/>
                  <a:pt x="1" y="314"/>
                </a:cubicBezTo>
                <a:cubicBezTo>
                  <a:pt x="118" y="271"/>
                  <a:pt x="118" y="271"/>
                  <a:pt x="118" y="271"/>
                </a:cubicBezTo>
                <a:cubicBezTo>
                  <a:pt x="118" y="249"/>
                  <a:pt x="118" y="249"/>
                  <a:pt x="118" y="249"/>
                </a:cubicBezTo>
                <a:lnTo>
                  <a:pt x="4" y="206"/>
                </a:lnTo>
                <a:close/>
                <a:moveTo>
                  <a:pt x="101" y="259"/>
                </a:moveTo>
                <a:cubicBezTo>
                  <a:pt x="98" y="260"/>
                  <a:pt x="95" y="260"/>
                  <a:pt x="94" y="261"/>
                </a:cubicBezTo>
                <a:cubicBezTo>
                  <a:pt x="47" y="277"/>
                  <a:pt x="47" y="277"/>
                  <a:pt x="47" y="277"/>
                </a:cubicBezTo>
                <a:cubicBezTo>
                  <a:pt x="47" y="241"/>
                  <a:pt x="47" y="241"/>
                  <a:pt x="47" y="241"/>
                </a:cubicBezTo>
                <a:cubicBezTo>
                  <a:pt x="94" y="257"/>
                  <a:pt x="94" y="257"/>
                  <a:pt x="94" y="257"/>
                </a:cubicBezTo>
                <a:cubicBezTo>
                  <a:pt x="95" y="258"/>
                  <a:pt x="98" y="259"/>
                  <a:pt x="101" y="259"/>
                </a:cubicBezTo>
                <a:close/>
                <a:moveTo>
                  <a:pt x="110" y="414"/>
                </a:moveTo>
                <a:cubicBezTo>
                  <a:pt x="18" y="350"/>
                  <a:pt x="18" y="350"/>
                  <a:pt x="18" y="350"/>
                </a:cubicBezTo>
                <a:cubicBezTo>
                  <a:pt x="18" y="413"/>
                  <a:pt x="18" y="413"/>
                  <a:pt x="18" y="413"/>
                </a:cubicBezTo>
                <a:cubicBezTo>
                  <a:pt x="1" y="413"/>
                  <a:pt x="1" y="413"/>
                  <a:pt x="1" y="413"/>
                </a:cubicBezTo>
                <a:cubicBezTo>
                  <a:pt x="1" y="322"/>
                  <a:pt x="1" y="322"/>
                  <a:pt x="1" y="322"/>
                </a:cubicBezTo>
                <a:cubicBezTo>
                  <a:pt x="10" y="322"/>
                  <a:pt x="10" y="322"/>
                  <a:pt x="10" y="322"/>
                </a:cubicBezTo>
                <a:cubicBezTo>
                  <a:pt x="102" y="387"/>
                  <a:pt x="102" y="387"/>
                  <a:pt x="102" y="387"/>
                </a:cubicBezTo>
                <a:cubicBezTo>
                  <a:pt x="102" y="328"/>
                  <a:pt x="102" y="328"/>
                  <a:pt x="102" y="328"/>
                </a:cubicBezTo>
                <a:cubicBezTo>
                  <a:pt x="118" y="328"/>
                  <a:pt x="118" y="328"/>
                  <a:pt x="118" y="328"/>
                </a:cubicBezTo>
                <a:cubicBezTo>
                  <a:pt x="118" y="414"/>
                  <a:pt x="118" y="414"/>
                  <a:pt x="118" y="414"/>
                </a:cubicBezTo>
                <a:lnTo>
                  <a:pt x="110" y="414"/>
                </a:lnTo>
                <a:close/>
                <a:moveTo>
                  <a:pt x="1" y="448"/>
                </a:moveTo>
                <a:cubicBezTo>
                  <a:pt x="1" y="428"/>
                  <a:pt x="1" y="428"/>
                  <a:pt x="1" y="428"/>
                </a:cubicBezTo>
                <a:cubicBezTo>
                  <a:pt x="118" y="428"/>
                  <a:pt x="118" y="428"/>
                  <a:pt x="118" y="428"/>
                </a:cubicBezTo>
                <a:cubicBezTo>
                  <a:pt x="118" y="448"/>
                  <a:pt x="118" y="448"/>
                  <a:pt x="118" y="448"/>
                </a:cubicBezTo>
                <a:lnTo>
                  <a:pt x="1" y="448"/>
                </a:lnTo>
                <a:close/>
                <a:moveTo>
                  <a:pt x="1" y="539"/>
                </a:moveTo>
                <a:cubicBezTo>
                  <a:pt x="1" y="474"/>
                  <a:pt x="1" y="474"/>
                  <a:pt x="1" y="474"/>
                </a:cubicBezTo>
                <a:cubicBezTo>
                  <a:pt x="118" y="474"/>
                  <a:pt x="118" y="474"/>
                  <a:pt x="118" y="474"/>
                </a:cubicBezTo>
                <a:cubicBezTo>
                  <a:pt x="118" y="537"/>
                  <a:pt x="118" y="537"/>
                  <a:pt x="118" y="537"/>
                </a:cubicBezTo>
                <a:cubicBezTo>
                  <a:pt x="101" y="537"/>
                  <a:pt x="101" y="537"/>
                  <a:pt x="101" y="537"/>
                </a:cubicBezTo>
                <a:cubicBezTo>
                  <a:pt x="102" y="493"/>
                  <a:pt x="102" y="493"/>
                  <a:pt x="102" y="493"/>
                </a:cubicBezTo>
                <a:cubicBezTo>
                  <a:pt x="68" y="493"/>
                  <a:pt x="68" y="493"/>
                  <a:pt x="68" y="493"/>
                </a:cubicBezTo>
                <a:cubicBezTo>
                  <a:pt x="68" y="533"/>
                  <a:pt x="68" y="533"/>
                  <a:pt x="68" y="533"/>
                </a:cubicBezTo>
                <a:cubicBezTo>
                  <a:pt x="52" y="533"/>
                  <a:pt x="52" y="533"/>
                  <a:pt x="52" y="533"/>
                </a:cubicBezTo>
                <a:cubicBezTo>
                  <a:pt x="52" y="493"/>
                  <a:pt x="52" y="493"/>
                  <a:pt x="52" y="493"/>
                </a:cubicBezTo>
                <a:cubicBezTo>
                  <a:pt x="18" y="493"/>
                  <a:pt x="18" y="493"/>
                  <a:pt x="18" y="493"/>
                </a:cubicBezTo>
                <a:cubicBezTo>
                  <a:pt x="18" y="539"/>
                  <a:pt x="18" y="539"/>
                  <a:pt x="18" y="539"/>
                </a:cubicBezTo>
                <a:lnTo>
                  <a:pt x="1" y="539"/>
                </a:lnTo>
                <a:close/>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2" name="Freeform 222">
            <a:extLst>
              <a:ext uri="{FF2B5EF4-FFF2-40B4-BE49-F238E27FC236}">
                <a16:creationId xmlns:a16="http://schemas.microsoft.com/office/drawing/2014/main" id="{F9DA5B84-09F3-D717-FC5F-7D0A2F0EE809}"/>
              </a:ext>
              <a:ext uri="{C183D7F6-B498-43B3-948B-1728B52AA6E4}">
                <adec:decorative xmlns:adec="http://schemas.microsoft.com/office/drawing/2017/decorative" val="1"/>
              </a:ext>
            </a:extLst>
          </p:cNvPr>
          <p:cNvSpPr>
            <a:spLocks noEditPoints="1"/>
          </p:cNvSpPr>
          <p:nvPr userDrawn="1"/>
        </p:nvSpPr>
        <p:spPr bwMode="auto">
          <a:xfrm rot="16200000">
            <a:off x="7140191" y="614150"/>
            <a:ext cx="364768" cy="1361460"/>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13" name="Freeform 223">
            <a:extLst>
              <a:ext uri="{FF2B5EF4-FFF2-40B4-BE49-F238E27FC236}">
                <a16:creationId xmlns:a16="http://schemas.microsoft.com/office/drawing/2014/main" id="{82BDDC47-2F05-6E6C-49B9-88D8F918EFAE}"/>
              </a:ext>
              <a:ext uri="{C183D7F6-B498-43B3-948B-1728B52AA6E4}">
                <adec:decorative xmlns:adec="http://schemas.microsoft.com/office/drawing/2017/decorative" val="1"/>
              </a:ext>
            </a:extLst>
          </p:cNvPr>
          <p:cNvSpPr>
            <a:spLocks noEditPoints="1"/>
          </p:cNvSpPr>
          <p:nvPr userDrawn="1"/>
        </p:nvSpPr>
        <p:spPr bwMode="auto">
          <a:xfrm>
            <a:off x="3246095" y="2182577"/>
            <a:ext cx="2423656" cy="477795"/>
          </a:xfrm>
          <a:custGeom>
            <a:avLst/>
            <a:gdLst>
              <a:gd name="T0" fmla="*/ 69 w 798"/>
              <a:gd name="T1" fmla="*/ 157 h 157"/>
              <a:gd name="T2" fmla="*/ 0 w 798"/>
              <a:gd name="T3" fmla="*/ 81 h 157"/>
              <a:gd name="T4" fmla="*/ 75 w 798"/>
              <a:gd name="T5" fmla="*/ 0 h 157"/>
              <a:gd name="T6" fmla="*/ 114 w 798"/>
              <a:gd name="T7" fmla="*/ 20 h 157"/>
              <a:gd name="T8" fmla="*/ 28 w 798"/>
              <a:gd name="T9" fmla="*/ 29 h 157"/>
              <a:gd name="T10" fmla="*/ 27 w 798"/>
              <a:gd name="T11" fmla="*/ 129 h 157"/>
              <a:gd name="T12" fmla="*/ 107 w 798"/>
              <a:gd name="T13" fmla="*/ 139 h 157"/>
              <a:gd name="T14" fmla="*/ 71 w 798"/>
              <a:gd name="T15" fmla="*/ 89 h 157"/>
              <a:gd name="T16" fmla="*/ 117 w 798"/>
              <a:gd name="T17" fmla="*/ 79 h 157"/>
              <a:gd name="T18" fmla="*/ 219 w 798"/>
              <a:gd name="T19" fmla="*/ 106 h 157"/>
              <a:gd name="T20" fmla="*/ 201 w 798"/>
              <a:gd name="T21" fmla="*/ 84 h 157"/>
              <a:gd name="T22" fmla="*/ 237 w 798"/>
              <a:gd name="T23" fmla="*/ 42 h 157"/>
              <a:gd name="T24" fmla="*/ 194 w 798"/>
              <a:gd name="T25" fmla="*/ 3 h 157"/>
              <a:gd name="T26" fmla="*/ 152 w 798"/>
              <a:gd name="T27" fmla="*/ 154 h 157"/>
              <a:gd name="T28" fmla="*/ 162 w 798"/>
              <a:gd name="T29" fmla="*/ 87 h 157"/>
              <a:gd name="T30" fmla="*/ 197 w 798"/>
              <a:gd name="T31" fmla="*/ 92 h 157"/>
              <a:gd name="T32" fmla="*/ 230 w 798"/>
              <a:gd name="T33" fmla="*/ 154 h 157"/>
              <a:gd name="T34" fmla="*/ 219 w 798"/>
              <a:gd name="T35" fmla="*/ 106 h 157"/>
              <a:gd name="T36" fmla="*/ 162 w 798"/>
              <a:gd name="T37" fmla="*/ 77 h 157"/>
              <a:gd name="T38" fmla="*/ 191 w 798"/>
              <a:gd name="T39" fmla="*/ 13 h 157"/>
              <a:gd name="T40" fmla="*/ 226 w 798"/>
              <a:gd name="T41" fmla="*/ 43 h 157"/>
              <a:gd name="T42" fmla="*/ 189 w 798"/>
              <a:gd name="T43" fmla="*/ 77 h 157"/>
              <a:gd name="T44" fmla="*/ 316 w 798"/>
              <a:gd name="T45" fmla="*/ 3 h 157"/>
              <a:gd name="T46" fmla="*/ 270 w 798"/>
              <a:gd name="T47" fmla="*/ 154 h 157"/>
              <a:gd name="T48" fmla="*/ 353 w 798"/>
              <a:gd name="T49" fmla="*/ 107 h 157"/>
              <a:gd name="T50" fmla="*/ 382 w 798"/>
              <a:gd name="T51" fmla="*/ 154 h 157"/>
              <a:gd name="T52" fmla="*/ 291 w 798"/>
              <a:gd name="T53" fmla="*/ 98 h 157"/>
              <a:gd name="T54" fmla="*/ 320 w 798"/>
              <a:gd name="T55" fmla="*/ 16 h 157"/>
              <a:gd name="T56" fmla="*/ 322 w 798"/>
              <a:gd name="T57" fmla="*/ 21 h 157"/>
              <a:gd name="T58" fmla="*/ 350 w 798"/>
              <a:gd name="T59" fmla="*/ 98 h 157"/>
              <a:gd name="T60" fmla="*/ 504 w 798"/>
              <a:gd name="T61" fmla="*/ 149 h 157"/>
              <a:gd name="T62" fmla="*/ 415 w 798"/>
              <a:gd name="T63" fmla="*/ 136 h 157"/>
              <a:gd name="T64" fmla="*/ 417 w 798"/>
              <a:gd name="T65" fmla="*/ 23 h 157"/>
              <a:gd name="T66" fmla="*/ 504 w 798"/>
              <a:gd name="T67" fmla="*/ 6 h 157"/>
              <a:gd name="T68" fmla="*/ 471 w 798"/>
              <a:gd name="T69" fmla="*/ 10 h 157"/>
              <a:gd name="T70" fmla="*/ 407 w 798"/>
              <a:gd name="T71" fmla="*/ 81 h 157"/>
              <a:gd name="T72" fmla="*/ 467 w 798"/>
              <a:gd name="T73" fmla="*/ 147 h 157"/>
              <a:gd name="T74" fmla="*/ 504 w 798"/>
              <a:gd name="T75" fmla="*/ 149 h 157"/>
              <a:gd name="T76" fmla="*/ 538 w 798"/>
              <a:gd name="T77" fmla="*/ 3 h 157"/>
              <a:gd name="T78" fmla="*/ 548 w 798"/>
              <a:gd name="T79" fmla="*/ 154 h 157"/>
              <a:gd name="T80" fmla="*/ 641 w 798"/>
              <a:gd name="T81" fmla="*/ 3 h 157"/>
              <a:gd name="T82" fmla="*/ 574 w 798"/>
              <a:gd name="T83" fmla="*/ 154 h 157"/>
              <a:gd name="T84" fmla="*/ 603 w 798"/>
              <a:gd name="T85" fmla="*/ 107 h 157"/>
              <a:gd name="T86" fmla="*/ 686 w 798"/>
              <a:gd name="T87" fmla="*/ 154 h 157"/>
              <a:gd name="T88" fmla="*/ 641 w 798"/>
              <a:gd name="T89" fmla="*/ 3 h 157"/>
              <a:gd name="T90" fmla="*/ 632 w 798"/>
              <a:gd name="T91" fmla="*/ 27 h 157"/>
              <a:gd name="T92" fmla="*/ 636 w 798"/>
              <a:gd name="T93" fmla="*/ 16 h 157"/>
              <a:gd name="T94" fmla="*/ 639 w 798"/>
              <a:gd name="T95" fmla="*/ 28 h 157"/>
              <a:gd name="T96" fmla="*/ 607 w 798"/>
              <a:gd name="T97" fmla="*/ 98 h 157"/>
              <a:gd name="T98" fmla="*/ 719 w 798"/>
              <a:gd name="T99" fmla="*/ 137 h 157"/>
              <a:gd name="T100" fmla="*/ 778 w 798"/>
              <a:gd name="T101" fmla="*/ 140 h 157"/>
              <a:gd name="T102" fmla="*/ 781 w 798"/>
              <a:gd name="T103" fmla="*/ 101 h 157"/>
              <a:gd name="T104" fmla="*/ 725 w 798"/>
              <a:gd name="T105" fmla="*/ 60 h 157"/>
              <a:gd name="T106" fmla="*/ 732 w 798"/>
              <a:gd name="T107" fmla="*/ 12 h 157"/>
              <a:gd name="T108" fmla="*/ 792 w 798"/>
              <a:gd name="T109" fmla="*/ 5 h 157"/>
              <a:gd name="T110" fmla="*/ 764 w 798"/>
              <a:gd name="T111" fmla="*/ 10 h 157"/>
              <a:gd name="T112" fmla="*/ 730 w 798"/>
              <a:gd name="T113" fmla="*/ 38 h 157"/>
              <a:gd name="T114" fmla="*/ 763 w 798"/>
              <a:gd name="T115" fmla="*/ 75 h 157"/>
              <a:gd name="T116" fmla="*/ 798 w 798"/>
              <a:gd name="T117" fmla="*/ 118 h 157"/>
              <a:gd name="T118" fmla="*/ 752 w 798"/>
              <a:gd name="T119" fmla="*/ 157 h 157"/>
              <a:gd name="T120" fmla="*/ 719 w 798"/>
              <a:gd name="T121"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157">
                <a:moveTo>
                  <a:pt x="117" y="144"/>
                </a:moveTo>
                <a:cubicBezTo>
                  <a:pt x="101" y="153"/>
                  <a:pt x="85" y="157"/>
                  <a:pt x="69" y="157"/>
                </a:cubicBezTo>
                <a:cubicBezTo>
                  <a:pt x="48" y="157"/>
                  <a:pt x="32" y="150"/>
                  <a:pt x="19" y="136"/>
                </a:cubicBezTo>
                <a:cubicBezTo>
                  <a:pt x="6" y="122"/>
                  <a:pt x="0" y="104"/>
                  <a:pt x="0" y="81"/>
                </a:cubicBezTo>
                <a:cubicBezTo>
                  <a:pt x="0" y="58"/>
                  <a:pt x="7" y="39"/>
                  <a:pt x="20" y="23"/>
                </a:cubicBezTo>
                <a:cubicBezTo>
                  <a:pt x="34" y="8"/>
                  <a:pt x="52" y="0"/>
                  <a:pt x="75" y="0"/>
                </a:cubicBezTo>
                <a:cubicBezTo>
                  <a:pt x="89" y="0"/>
                  <a:pt x="101" y="3"/>
                  <a:pt x="114" y="8"/>
                </a:cubicBezTo>
                <a:cubicBezTo>
                  <a:pt x="114" y="20"/>
                  <a:pt x="114" y="20"/>
                  <a:pt x="114" y="20"/>
                </a:cubicBezTo>
                <a:cubicBezTo>
                  <a:pt x="100" y="13"/>
                  <a:pt x="87" y="10"/>
                  <a:pt x="74" y="10"/>
                </a:cubicBezTo>
                <a:cubicBezTo>
                  <a:pt x="55" y="10"/>
                  <a:pt x="39" y="16"/>
                  <a:pt x="28" y="29"/>
                </a:cubicBezTo>
                <a:cubicBezTo>
                  <a:pt x="16" y="43"/>
                  <a:pt x="10" y="59"/>
                  <a:pt x="10" y="79"/>
                </a:cubicBezTo>
                <a:cubicBezTo>
                  <a:pt x="10" y="101"/>
                  <a:pt x="16" y="117"/>
                  <a:pt x="27" y="129"/>
                </a:cubicBezTo>
                <a:cubicBezTo>
                  <a:pt x="38" y="141"/>
                  <a:pt x="52" y="147"/>
                  <a:pt x="71" y="147"/>
                </a:cubicBezTo>
                <a:cubicBezTo>
                  <a:pt x="84" y="147"/>
                  <a:pt x="96" y="144"/>
                  <a:pt x="107" y="139"/>
                </a:cubicBezTo>
                <a:cubicBezTo>
                  <a:pt x="107" y="89"/>
                  <a:pt x="107" y="89"/>
                  <a:pt x="107" y="89"/>
                </a:cubicBezTo>
                <a:cubicBezTo>
                  <a:pt x="71" y="89"/>
                  <a:pt x="71" y="89"/>
                  <a:pt x="71" y="89"/>
                </a:cubicBezTo>
                <a:cubicBezTo>
                  <a:pt x="71" y="79"/>
                  <a:pt x="71" y="79"/>
                  <a:pt x="71" y="79"/>
                </a:cubicBezTo>
                <a:cubicBezTo>
                  <a:pt x="117" y="79"/>
                  <a:pt x="117" y="79"/>
                  <a:pt x="117" y="79"/>
                </a:cubicBezTo>
                <a:lnTo>
                  <a:pt x="117" y="144"/>
                </a:lnTo>
                <a:close/>
                <a:moveTo>
                  <a:pt x="219" y="106"/>
                </a:moveTo>
                <a:cubicBezTo>
                  <a:pt x="213" y="94"/>
                  <a:pt x="207" y="87"/>
                  <a:pt x="201" y="84"/>
                </a:cubicBezTo>
                <a:cubicBezTo>
                  <a:pt x="201" y="84"/>
                  <a:pt x="201" y="84"/>
                  <a:pt x="201" y="84"/>
                </a:cubicBezTo>
                <a:cubicBezTo>
                  <a:pt x="213" y="82"/>
                  <a:pt x="221" y="77"/>
                  <a:pt x="228" y="70"/>
                </a:cubicBezTo>
                <a:cubicBezTo>
                  <a:pt x="234" y="62"/>
                  <a:pt x="237" y="53"/>
                  <a:pt x="237" y="42"/>
                </a:cubicBezTo>
                <a:cubicBezTo>
                  <a:pt x="237" y="31"/>
                  <a:pt x="233" y="21"/>
                  <a:pt x="226" y="14"/>
                </a:cubicBezTo>
                <a:cubicBezTo>
                  <a:pt x="218" y="7"/>
                  <a:pt x="207" y="3"/>
                  <a:pt x="194" y="3"/>
                </a:cubicBezTo>
                <a:cubicBezTo>
                  <a:pt x="152" y="3"/>
                  <a:pt x="152" y="3"/>
                  <a:pt x="152" y="3"/>
                </a:cubicBezTo>
                <a:cubicBezTo>
                  <a:pt x="152" y="154"/>
                  <a:pt x="152" y="154"/>
                  <a:pt x="152" y="154"/>
                </a:cubicBezTo>
                <a:cubicBezTo>
                  <a:pt x="162" y="154"/>
                  <a:pt x="162" y="154"/>
                  <a:pt x="162" y="154"/>
                </a:cubicBezTo>
                <a:cubicBezTo>
                  <a:pt x="162" y="87"/>
                  <a:pt x="162" y="87"/>
                  <a:pt x="162" y="87"/>
                </a:cubicBezTo>
                <a:cubicBezTo>
                  <a:pt x="181" y="87"/>
                  <a:pt x="181" y="87"/>
                  <a:pt x="181" y="87"/>
                </a:cubicBezTo>
                <a:cubicBezTo>
                  <a:pt x="188" y="87"/>
                  <a:pt x="193" y="88"/>
                  <a:pt x="197" y="92"/>
                </a:cubicBezTo>
                <a:cubicBezTo>
                  <a:pt x="201" y="95"/>
                  <a:pt x="205" y="101"/>
                  <a:pt x="209" y="110"/>
                </a:cubicBezTo>
                <a:cubicBezTo>
                  <a:pt x="230" y="154"/>
                  <a:pt x="230" y="154"/>
                  <a:pt x="230" y="154"/>
                </a:cubicBezTo>
                <a:cubicBezTo>
                  <a:pt x="241" y="154"/>
                  <a:pt x="241" y="154"/>
                  <a:pt x="241" y="154"/>
                </a:cubicBezTo>
                <a:lnTo>
                  <a:pt x="219" y="106"/>
                </a:lnTo>
                <a:close/>
                <a:moveTo>
                  <a:pt x="189" y="77"/>
                </a:moveTo>
                <a:cubicBezTo>
                  <a:pt x="162" y="77"/>
                  <a:pt x="162" y="77"/>
                  <a:pt x="162" y="77"/>
                </a:cubicBezTo>
                <a:cubicBezTo>
                  <a:pt x="162" y="13"/>
                  <a:pt x="162" y="13"/>
                  <a:pt x="162" y="13"/>
                </a:cubicBezTo>
                <a:cubicBezTo>
                  <a:pt x="191" y="13"/>
                  <a:pt x="191" y="13"/>
                  <a:pt x="191" y="13"/>
                </a:cubicBezTo>
                <a:cubicBezTo>
                  <a:pt x="202" y="13"/>
                  <a:pt x="211" y="15"/>
                  <a:pt x="217" y="21"/>
                </a:cubicBezTo>
                <a:cubicBezTo>
                  <a:pt x="223" y="26"/>
                  <a:pt x="226" y="34"/>
                  <a:pt x="226" y="43"/>
                </a:cubicBezTo>
                <a:cubicBezTo>
                  <a:pt x="226" y="54"/>
                  <a:pt x="223" y="62"/>
                  <a:pt x="216" y="68"/>
                </a:cubicBezTo>
                <a:cubicBezTo>
                  <a:pt x="209" y="74"/>
                  <a:pt x="200" y="77"/>
                  <a:pt x="189" y="77"/>
                </a:cubicBezTo>
                <a:close/>
                <a:moveTo>
                  <a:pt x="326" y="3"/>
                </a:moveTo>
                <a:cubicBezTo>
                  <a:pt x="316" y="3"/>
                  <a:pt x="316" y="3"/>
                  <a:pt x="316" y="3"/>
                </a:cubicBezTo>
                <a:cubicBezTo>
                  <a:pt x="259" y="154"/>
                  <a:pt x="259" y="154"/>
                  <a:pt x="259" y="154"/>
                </a:cubicBezTo>
                <a:cubicBezTo>
                  <a:pt x="270" y="154"/>
                  <a:pt x="270" y="154"/>
                  <a:pt x="270" y="154"/>
                </a:cubicBezTo>
                <a:cubicBezTo>
                  <a:pt x="288" y="107"/>
                  <a:pt x="288" y="107"/>
                  <a:pt x="288" y="107"/>
                </a:cubicBezTo>
                <a:cubicBezTo>
                  <a:pt x="353" y="107"/>
                  <a:pt x="353" y="107"/>
                  <a:pt x="353" y="107"/>
                </a:cubicBezTo>
                <a:cubicBezTo>
                  <a:pt x="371" y="154"/>
                  <a:pt x="371" y="154"/>
                  <a:pt x="371" y="154"/>
                </a:cubicBezTo>
                <a:cubicBezTo>
                  <a:pt x="382" y="154"/>
                  <a:pt x="382" y="154"/>
                  <a:pt x="382" y="154"/>
                </a:cubicBezTo>
                <a:lnTo>
                  <a:pt x="326" y="3"/>
                </a:lnTo>
                <a:close/>
                <a:moveTo>
                  <a:pt x="291" y="98"/>
                </a:moveTo>
                <a:cubicBezTo>
                  <a:pt x="317" y="27"/>
                  <a:pt x="317" y="27"/>
                  <a:pt x="317" y="27"/>
                </a:cubicBezTo>
                <a:cubicBezTo>
                  <a:pt x="318" y="25"/>
                  <a:pt x="319" y="21"/>
                  <a:pt x="320" y="16"/>
                </a:cubicBezTo>
                <a:cubicBezTo>
                  <a:pt x="321" y="16"/>
                  <a:pt x="321" y="16"/>
                  <a:pt x="321" y="16"/>
                </a:cubicBezTo>
                <a:cubicBezTo>
                  <a:pt x="321" y="18"/>
                  <a:pt x="322" y="20"/>
                  <a:pt x="322" y="21"/>
                </a:cubicBezTo>
                <a:cubicBezTo>
                  <a:pt x="323" y="23"/>
                  <a:pt x="323" y="26"/>
                  <a:pt x="324" y="28"/>
                </a:cubicBezTo>
                <a:cubicBezTo>
                  <a:pt x="350" y="98"/>
                  <a:pt x="350" y="98"/>
                  <a:pt x="350" y="98"/>
                </a:cubicBezTo>
                <a:lnTo>
                  <a:pt x="291" y="98"/>
                </a:lnTo>
                <a:close/>
                <a:moveTo>
                  <a:pt x="504" y="149"/>
                </a:moveTo>
                <a:cubicBezTo>
                  <a:pt x="492" y="154"/>
                  <a:pt x="479" y="157"/>
                  <a:pt x="466" y="157"/>
                </a:cubicBezTo>
                <a:cubicBezTo>
                  <a:pt x="445" y="157"/>
                  <a:pt x="428" y="150"/>
                  <a:pt x="415" y="136"/>
                </a:cubicBezTo>
                <a:cubicBezTo>
                  <a:pt x="402" y="122"/>
                  <a:pt x="396" y="104"/>
                  <a:pt x="396" y="82"/>
                </a:cubicBezTo>
                <a:cubicBezTo>
                  <a:pt x="396" y="57"/>
                  <a:pt x="403" y="37"/>
                  <a:pt x="417" y="23"/>
                </a:cubicBezTo>
                <a:cubicBezTo>
                  <a:pt x="431" y="8"/>
                  <a:pt x="449" y="0"/>
                  <a:pt x="471" y="0"/>
                </a:cubicBezTo>
                <a:cubicBezTo>
                  <a:pt x="483" y="0"/>
                  <a:pt x="494" y="2"/>
                  <a:pt x="504" y="6"/>
                </a:cubicBezTo>
                <a:cubicBezTo>
                  <a:pt x="504" y="17"/>
                  <a:pt x="504" y="17"/>
                  <a:pt x="504" y="17"/>
                </a:cubicBezTo>
                <a:cubicBezTo>
                  <a:pt x="494" y="12"/>
                  <a:pt x="482" y="10"/>
                  <a:pt x="471" y="10"/>
                </a:cubicBezTo>
                <a:cubicBezTo>
                  <a:pt x="452" y="10"/>
                  <a:pt x="436" y="16"/>
                  <a:pt x="424" y="29"/>
                </a:cubicBezTo>
                <a:cubicBezTo>
                  <a:pt x="412" y="42"/>
                  <a:pt x="407" y="59"/>
                  <a:pt x="407" y="81"/>
                </a:cubicBezTo>
                <a:cubicBezTo>
                  <a:pt x="407" y="101"/>
                  <a:pt x="412" y="118"/>
                  <a:pt x="424" y="130"/>
                </a:cubicBezTo>
                <a:cubicBezTo>
                  <a:pt x="435" y="141"/>
                  <a:pt x="449" y="147"/>
                  <a:pt x="467" y="147"/>
                </a:cubicBezTo>
                <a:cubicBezTo>
                  <a:pt x="481" y="147"/>
                  <a:pt x="493" y="145"/>
                  <a:pt x="504" y="139"/>
                </a:cubicBezTo>
                <a:lnTo>
                  <a:pt x="504" y="149"/>
                </a:lnTo>
                <a:close/>
                <a:moveTo>
                  <a:pt x="538" y="154"/>
                </a:moveTo>
                <a:cubicBezTo>
                  <a:pt x="538" y="3"/>
                  <a:pt x="538" y="3"/>
                  <a:pt x="538" y="3"/>
                </a:cubicBezTo>
                <a:cubicBezTo>
                  <a:pt x="548" y="3"/>
                  <a:pt x="548" y="3"/>
                  <a:pt x="548" y="3"/>
                </a:cubicBezTo>
                <a:cubicBezTo>
                  <a:pt x="548" y="154"/>
                  <a:pt x="548" y="154"/>
                  <a:pt x="548" y="154"/>
                </a:cubicBezTo>
                <a:lnTo>
                  <a:pt x="538" y="154"/>
                </a:lnTo>
                <a:close/>
                <a:moveTo>
                  <a:pt x="641" y="3"/>
                </a:moveTo>
                <a:cubicBezTo>
                  <a:pt x="631" y="3"/>
                  <a:pt x="631" y="3"/>
                  <a:pt x="631" y="3"/>
                </a:cubicBezTo>
                <a:cubicBezTo>
                  <a:pt x="574" y="154"/>
                  <a:pt x="574" y="154"/>
                  <a:pt x="574" y="154"/>
                </a:cubicBezTo>
                <a:cubicBezTo>
                  <a:pt x="586" y="154"/>
                  <a:pt x="586" y="154"/>
                  <a:pt x="586" y="154"/>
                </a:cubicBezTo>
                <a:cubicBezTo>
                  <a:pt x="603" y="107"/>
                  <a:pt x="603" y="107"/>
                  <a:pt x="603" y="107"/>
                </a:cubicBezTo>
                <a:cubicBezTo>
                  <a:pt x="669" y="107"/>
                  <a:pt x="669" y="107"/>
                  <a:pt x="669" y="107"/>
                </a:cubicBezTo>
                <a:cubicBezTo>
                  <a:pt x="686" y="154"/>
                  <a:pt x="686" y="154"/>
                  <a:pt x="686" y="154"/>
                </a:cubicBezTo>
                <a:cubicBezTo>
                  <a:pt x="698" y="154"/>
                  <a:pt x="698" y="154"/>
                  <a:pt x="698" y="154"/>
                </a:cubicBezTo>
                <a:lnTo>
                  <a:pt x="641" y="3"/>
                </a:lnTo>
                <a:close/>
                <a:moveTo>
                  <a:pt x="607" y="98"/>
                </a:moveTo>
                <a:cubicBezTo>
                  <a:pt x="632" y="27"/>
                  <a:pt x="632" y="27"/>
                  <a:pt x="632" y="27"/>
                </a:cubicBezTo>
                <a:cubicBezTo>
                  <a:pt x="633" y="25"/>
                  <a:pt x="634" y="21"/>
                  <a:pt x="636" y="16"/>
                </a:cubicBezTo>
                <a:cubicBezTo>
                  <a:pt x="636" y="16"/>
                  <a:pt x="636" y="16"/>
                  <a:pt x="636" y="16"/>
                </a:cubicBezTo>
                <a:cubicBezTo>
                  <a:pt x="637" y="18"/>
                  <a:pt x="637" y="20"/>
                  <a:pt x="638" y="21"/>
                </a:cubicBezTo>
                <a:cubicBezTo>
                  <a:pt x="638" y="23"/>
                  <a:pt x="639" y="26"/>
                  <a:pt x="639" y="28"/>
                </a:cubicBezTo>
                <a:cubicBezTo>
                  <a:pt x="665" y="98"/>
                  <a:pt x="665" y="98"/>
                  <a:pt x="665" y="98"/>
                </a:cubicBezTo>
                <a:lnTo>
                  <a:pt x="607" y="98"/>
                </a:lnTo>
                <a:close/>
                <a:moveTo>
                  <a:pt x="719" y="149"/>
                </a:moveTo>
                <a:cubicBezTo>
                  <a:pt x="719" y="137"/>
                  <a:pt x="719" y="137"/>
                  <a:pt x="719" y="137"/>
                </a:cubicBezTo>
                <a:cubicBezTo>
                  <a:pt x="729" y="144"/>
                  <a:pt x="740" y="147"/>
                  <a:pt x="751" y="147"/>
                </a:cubicBezTo>
                <a:cubicBezTo>
                  <a:pt x="763" y="147"/>
                  <a:pt x="772" y="145"/>
                  <a:pt x="778" y="140"/>
                </a:cubicBezTo>
                <a:cubicBezTo>
                  <a:pt x="785" y="135"/>
                  <a:pt x="788" y="128"/>
                  <a:pt x="788" y="120"/>
                </a:cubicBezTo>
                <a:cubicBezTo>
                  <a:pt x="788" y="112"/>
                  <a:pt x="786" y="106"/>
                  <a:pt x="781" y="101"/>
                </a:cubicBezTo>
                <a:cubicBezTo>
                  <a:pt x="777" y="96"/>
                  <a:pt x="768" y="90"/>
                  <a:pt x="755" y="82"/>
                </a:cubicBezTo>
                <a:cubicBezTo>
                  <a:pt x="739" y="73"/>
                  <a:pt x="730" y="66"/>
                  <a:pt x="725" y="60"/>
                </a:cubicBezTo>
                <a:cubicBezTo>
                  <a:pt x="721" y="54"/>
                  <a:pt x="719" y="47"/>
                  <a:pt x="719" y="39"/>
                </a:cubicBezTo>
                <a:cubicBezTo>
                  <a:pt x="719" y="28"/>
                  <a:pt x="724" y="19"/>
                  <a:pt x="732" y="12"/>
                </a:cubicBezTo>
                <a:cubicBezTo>
                  <a:pt x="740" y="4"/>
                  <a:pt x="751" y="0"/>
                  <a:pt x="765" y="0"/>
                </a:cubicBezTo>
                <a:cubicBezTo>
                  <a:pt x="774" y="0"/>
                  <a:pt x="783" y="2"/>
                  <a:pt x="792" y="5"/>
                </a:cubicBezTo>
                <a:cubicBezTo>
                  <a:pt x="792" y="16"/>
                  <a:pt x="792" y="16"/>
                  <a:pt x="792" y="16"/>
                </a:cubicBezTo>
                <a:cubicBezTo>
                  <a:pt x="783" y="12"/>
                  <a:pt x="774" y="10"/>
                  <a:pt x="764" y="10"/>
                </a:cubicBezTo>
                <a:cubicBezTo>
                  <a:pt x="753" y="10"/>
                  <a:pt x="745" y="13"/>
                  <a:pt x="739" y="18"/>
                </a:cubicBezTo>
                <a:cubicBezTo>
                  <a:pt x="733" y="23"/>
                  <a:pt x="730" y="30"/>
                  <a:pt x="730" y="38"/>
                </a:cubicBezTo>
                <a:cubicBezTo>
                  <a:pt x="730" y="45"/>
                  <a:pt x="732" y="52"/>
                  <a:pt x="736" y="56"/>
                </a:cubicBezTo>
                <a:cubicBezTo>
                  <a:pt x="741" y="61"/>
                  <a:pt x="749" y="67"/>
                  <a:pt x="763" y="75"/>
                </a:cubicBezTo>
                <a:cubicBezTo>
                  <a:pt x="777" y="83"/>
                  <a:pt x="787" y="90"/>
                  <a:pt x="791" y="96"/>
                </a:cubicBezTo>
                <a:cubicBezTo>
                  <a:pt x="796" y="102"/>
                  <a:pt x="798" y="110"/>
                  <a:pt x="798" y="118"/>
                </a:cubicBezTo>
                <a:cubicBezTo>
                  <a:pt x="798" y="129"/>
                  <a:pt x="794" y="139"/>
                  <a:pt x="786" y="146"/>
                </a:cubicBezTo>
                <a:cubicBezTo>
                  <a:pt x="778" y="153"/>
                  <a:pt x="767" y="157"/>
                  <a:pt x="752" y="157"/>
                </a:cubicBezTo>
                <a:cubicBezTo>
                  <a:pt x="747" y="157"/>
                  <a:pt x="741" y="156"/>
                  <a:pt x="734" y="155"/>
                </a:cubicBezTo>
                <a:cubicBezTo>
                  <a:pt x="727" y="153"/>
                  <a:pt x="722" y="151"/>
                  <a:pt x="719" y="149"/>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90000"/>
                  <a:lumOff val="10000"/>
                </a:schemeClr>
              </a:solidFill>
              <a:effectLst/>
              <a:uLnTx/>
              <a:uFillTx/>
              <a:latin typeface="Segoe UI Semilight"/>
              <a:ea typeface="+mn-ea"/>
              <a:cs typeface="Segoe UI Semilight"/>
            </a:endParaRPr>
          </a:p>
        </p:txBody>
      </p:sp>
      <p:sp>
        <p:nvSpPr>
          <p:cNvPr id="14" name="Freeform 224">
            <a:extLst>
              <a:ext uri="{FF2B5EF4-FFF2-40B4-BE49-F238E27FC236}">
                <a16:creationId xmlns:a16="http://schemas.microsoft.com/office/drawing/2014/main" id="{F030F6DB-E568-D8FE-1192-3D662D4F8006}"/>
              </a:ext>
              <a:ext uri="{C183D7F6-B498-43B3-948B-1728B52AA6E4}">
                <adec:decorative xmlns:adec="http://schemas.microsoft.com/office/drawing/2017/decorative" val="1"/>
              </a:ext>
            </a:extLst>
          </p:cNvPr>
          <p:cNvSpPr>
            <a:spLocks noEditPoints="1"/>
          </p:cNvSpPr>
          <p:nvPr userDrawn="1"/>
        </p:nvSpPr>
        <p:spPr bwMode="auto">
          <a:xfrm>
            <a:off x="2076655" y="2719697"/>
            <a:ext cx="990269" cy="282567"/>
          </a:xfrm>
          <a:custGeom>
            <a:avLst/>
            <a:gdLst>
              <a:gd name="T0" fmla="*/ 8 w 326"/>
              <a:gd name="T1" fmla="*/ 48 h 93"/>
              <a:gd name="T2" fmla="*/ 6 w 326"/>
              <a:gd name="T3" fmla="*/ 46 h 93"/>
              <a:gd name="T4" fmla="*/ 0 w 326"/>
              <a:gd name="T5" fmla="*/ 91 h 93"/>
              <a:gd name="T6" fmla="*/ 6 w 326"/>
              <a:gd name="T7" fmla="*/ 1 h 93"/>
              <a:gd name="T8" fmla="*/ 6 w 326"/>
              <a:gd name="T9" fmla="*/ 43 h 93"/>
              <a:gd name="T10" fmla="*/ 44 w 326"/>
              <a:gd name="T11" fmla="*/ 1 h 93"/>
              <a:gd name="T12" fmla="*/ 13 w 326"/>
              <a:gd name="T13" fmla="*/ 45 h 93"/>
              <a:gd name="T14" fmla="*/ 46 w 326"/>
              <a:gd name="T15" fmla="*/ 91 h 93"/>
              <a:gd name="T16" fmla="*/ 68 w 326"/>
              <a:gd name="T17" fmla="*/ 1 h 93"/>
              <a:gd name="T18" fmla="*/ 74 w 326"/>
              <a:gd name="T19" fmla="*/ 91 h 93"/>
              <a:gd name="T20" fmla="*/ 97 w 326"/>
              <a:gd name="T21" fmla="*/ 91 h 93"/>
              <a:gd name="T22" fmla="*/ 103 w 326"/>
              <a:gd name="T23" fmla="*/ 1 h 93"/>
              <a:gd name="T24" fmla="*/ 97 w 326"/>
              <a:gd name="T25" fmla="*/ 91 h 93"/>
              <a:gd name="T26" fmla="*/ 151 w 326"/>
              <a:gd name="T27" fmla="*/ 91 h 93"/>
              <a:gd name="T28" fmla="*/ 144 w 326"/>
              <a:gd name="T29" fmla="*/ 7 h 93"/>
              <a:gd name="T30" fmla="*/ 119 w 326"/>
              <a:gd name="T31" fmla="*/ 1 h 93"/>
              <a:gd name="T32" fmla="*/ 177 w 326"/>
              <a:gd name="T33" fmla="*/ 7 h 93"/>
              <a:gd name="T34" fmla="*/ 251 w 326"/>
              <a:gd name="T35" fmla="*/ 12 h 93"/>
              <a:gd name="T36" fmla="*/ 190 w 326"/>
              <a:gd name="T37" fmla="*/ 12 h 93"/>
              <a:gd name="T38" fmla="*/ 190 w 326"/>
              <a:gd name="T39" fmla="*/ 80 h 93"/>
              <a:gd name="T40" fmla="*/ 251 w 326"/>
              <a:gd name="T41" fmla="*/ 80 h 93"/>
              <a:gd name="T42" fmla="*/ 251 w 326"/>
              <a:gd name="T43" fmla="*/ 12 h 93"/>
              <a:gd name="T44" fmla="*/ 220 w 326"/>
              <a:gd name="T45" fmla="*/ 87 h 93"/>
              <a:gd name="T46" fmla="*/ 185 w 326"/>
              <a:gd name="T47" fmla="*/ 46 h 93"/>
              <a:gd name="T48" fmla="*/ 221 w 326"/>
              <a:gd name="T49" fmla="*/ 5 h 93"/>
              <a:gd name="T50" fmla="*/ 256 w 326"/>
              <a:gd name="T51" fmla="*/ 46 h 93"/>
              <a:gd name="T52" fmla="*/ 278 w 326"/>
              <a:gd name="T53" fmla="*/ 88 h 93"/>
              <a:gd name="T54" fmla="*/ 298 w 326"/>
              <a:gd name="T55" fmla="*/ 87 h 93"/>
              <a:gd name="T56" fmla="*/ 319 w 326"/>
              <a:gd name="T57" fmla="*/ 70 h 93"/>
              <a:gd name="T58" fmla="*/ 300 w 326"/>
              <a:gd name="T59" fmla="*/ 48 h 93"/>
              <a:gd name="T60" fmla="*/ 279 w 326"/>
              <a:gd name="T61" fmla="*/ 22 h 93"/>
              <a:gd name="T62" fmla="*/ 306 w 326"/>
              <a:gd name="T63" fmla="*/ 0 h 93"/>
              <a:gd name="T64" fmla="*/ 322 w 326"/>
              <a:gd name="T65" fmla="*/ 9 h 93"/>
              <a:gd name="T66" fmla="*/ 291 w 326"/>
              <a:gd name="T67" fmla="*/ 10 h 93"/>
              <a:gd name="T68" fmla="*/ 289 w 326"/>
              <a:gd name="T69" fmla="*/ 33 h 93"/>
              <a:gd name="T70" fmla="*/ 321 w 326"/>
              <a:gd name="T71" fmla="*/ 56 h 93"/>
              <a:gd name="T72" fmla="*/ 318 w 326"/>
              <a:gd name="T73" fmla="*/ 86 h 93"/>
              <a:gd name="T74" fmla="*/ 287 w 326"/>
              <a:gd name="T75"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93">
                <a:moveTo>
                  <a:pt x="46" y="91"/>
                </a:moveTo>
                <a:cubicBezTo>
                  <a:pt x="8" y="48"/>
                  <a:pt x="8" y="48"/>
                  <a:pt x="8" y="48"/>
                </a:cubicBezTo>
                <a:cubicBezTo>
                  <a:pt x="7" y="47"/>
                  <a:pt x="7" y="46"/>
                  <a:pt x="6" y="46"/>
                </a:cubicBezTo>
                <a:cubicBezTo>
                  <a:pt x="6" y="46"/>
                  <a:pt x="6" y="46"/>
                  <a:pt x="6" y="46"/>
                </a:cubicBezTo>
                <a:cubicBezTo>
                  <a:pt x="6" y="91"/>
                  <a:pt x="6" y="91"/>
                  <a:pt x="6" y="91"/>
                </a:cubicBezTo>
                <a:cubicBezTo>
                  <a:pt x="0" y="91"/>
                  <a:pt x="0" y="91"/>
                  <a:pt x="0" y="91"/>
                </a:cubicBezTo>
                <a:cubicBezTo>
                  <a:pt x="0" y="1"/>
                  <a:pt x="0" y="1"/>
                  <a:pt x="0" y="1"/>
                </a:cubicBezTo>
                <a:cubicBezTo>
                  <a:pt x="6" y="1"/>
                  <a:pt x="6" y="1"/>
                  <a:pt x="6" y="1"/>
                </a:cubicBezTo>
                <a:cubicBezTo>
                  <a:pt x="6" y="43"/>
                  <a:pt x="6" y="43"/>
                  <a:pt x="6" y="43"/>
                </a:cubicBezTo>
                <a:cubicBezTo>
                  <a:pt x="6" y="43"/>
                  <a:pt x="6" y="43"/>
                  <a:pt x="6" y="43"/>
                </a:cubicBezTo>
                <a:cubicBezTo>
                  <a:pt x="7" y="43"/>
                  <a:pt x="7" y="42"/>
                  <a:pt x="8" y="41"/>
                </a:cubicBezTo>
                <a:cubicBezTo>
                  <a:pt x="44" y="1"/>
                  <a:pt x="44" y="1"/>
                  <a:pt x="44" y="1"/>
                </a:cubicBezTo>
                <a:cubicBezTo>
                  <a:pt x="53" y="1"/>
                  <a:pt x="53" y="1"/>
                  <a:pt x="53" y="1"/>
                </a:cubicBezTo>
                <a:cubicBezTo>
                  <a:pt x="13" y="45"/>
                  <a:pt x="13" y="45"/>
                  <a:pt x="13" y="45"/>
                </a:cubicBezTo>
                <a:cubicBezTo>
                  <a:pt x="55" y="91"/>
                  <a:pt x="55" y="91"/>
                  <a:pt x="55" y="91"/>
                </a:cubicBezTo>
                <a:lnTo>
                  <a:pt x="46" y="91"/>
                </a:lnTo>
                <a:close/>
                <a:moveTo>
                  <a:pt x="68" y="91"/>
                </a:moveTo>
                <a:cubicBezTo>
                  <a:pt x="68" y="1"/>
                  <a:pt x="68" y="1"/>
                  <a:pt x="68" y="1"/>
                </a:cubicBezTo>
                <a:cubicBezTo>
                  <a:pt x="74" y="1"/>
                  <a:pt x="74" y="1"/>
                  <a:pt x="74" y="1"/>
                </a:cubicBezTo>
                <a:cubicBezTo>
                  <a:pt x="74" y="91"/>
                  <a:pt x="74" y="91"/>
                  <a:pt x="74" y="91"/>
                </a:cubicBezTo>
                <a:lnTo>
                  <a:pt x="68" y="91"/>
                </a:lnTo>
                <a:close/>
                <a:moveTo>
                  <a:pt x="97" y="91"/>
                </a:moveTo>
                <a:cubicBezTo>
                  <a:pt x="97" y="1"/>
                  <a:pt x="97" y="1"/>
                  <a:pt x="97" y="1"/>
                </a:cubicBezTo>
                <a:cubicBezTo>
                  <a:pt x="103" y="1"/>
                  <a:pt x="103" y="1"/>
                  <a:pt x="103" y="1"/>
                </a:cubicBezTo>
                <a:cubicBezTo>
                  <a:pt x="103" y="91"/>
                  <a:pt x="103" y="91"/>
                  <a:pt x="103" y="91"/>
                </a:cubicBezTo>
                <a:lnTo>
                  <a:pt x="97" y="91"/>
                </a:lnTo>
                <a:close/>
                <a:moveTo>
                  <a:pt x="151" y="7"/>
                </a:moveTo>
                <a:cubicBezTo>
                  <a:pt x="151" y="91"/>
                  <a:pt x="151" y="91"/>
                  <a:pt x="151" y="91"/>
                </a:cubicBezTo>
                <a:cubicBezTo>
                  <a:pt x="144" y="91"/>
                  <a:pt x="144" y="91"/>
                  <a:pt x="144" y="91"/>
                </a:cubicBezTo>
                <a:cubicBezTo>
                  <a:pt x="144" y="7"/>
                  <a:pt x="144" y="7"/>
                  <a:pt x="144" y="7"/>
                </a:cubicBezTo>
                <a:cubicBezTo>
                  <a:pt x="119" y="7"/>
                  <a:pt x="119" y="7"/>
                  <a:pt x="119" y="7"/>
                </a:cubicBezTo>
                <a:cubicBezTo>
                  <a:pt x="119" y="1"/>
                  <a:pt x="119" y="1"/>
                  <a:pt x="119" y="1"/>
                </a:cubicBezTo>
                <a:cubicBezTo>
                  <a:pt x="177" y="1"/>
                  <a:pt x="177" y="1"/>
                  <a:pt x="177" y="1"/>
                </a:cubicBezTo>
                <a:cubicBezTo>
                  <a:pt x="177" y="7"/>
                  <a:pt x="177" y="7"/>
                  <a:pt x="177" y="7"/>
                </a:cubicBezTo>
                <a:lnTo>
                  <a:pt x="151" y="7"/>
                </a:lnTo>
                <a:close/>
                <a:moveTo>
                  <a:pt x="251" y="12"/>
                </a:moveTo>
                <a:cubicBezTo>
                  <a:pt x="244" y="4"/>
                  <a:pt x="234" y="0"/>
                  <a:pt x="222" y="0"/>
                </a:cubicBezTo>
                <a:cubicBezTo>
                  <a:pt x="208" y="0"/>
                  <a:pt x="198" y="4"/>
                  <a:pt x="190" y="12"/>
                </a:cubicBezTo>
                <a:cubicBezTo>
                  <a:pt x="182" y="21"/>
                  <a:pt x="178" y="33"/>
                  <a:pt x="178" y="47"/>
                </a:cubicBezTo>
                <a:cubicBezTo>
                  <a:pt x="178" y="60"/>
                  <a:pt x="182" y="71"/>
                  <a:pt x="190" y="80"/>
                </a:cubicBezTo>
                <a:cubicBezTo>
                  <a:pt x="197" y="88"/>
                  <a:pt x="207" y="93"/>
                  <a:pt x="220" y="93"/>
                </a:cubicBezTo>
                <a:cubicBezTo>
                  <a:pt x="233" y="93"/>
                  <a:pt x="243" y="88"/>
                  <a:pt x="251" y="80"/>
                </a:cubicBezTo>
                <a:cubicBezTo>
                  <a:pt x="259" y="71"/>
                  <a:pt x="263" y="60"/>
                  <a:pt x="263" y="45"/>
                </a:cubicBezTo>
                <a:cubicBezTo>
                  <a:pt x="263" y="31"/>
                  <a:pt x="259" y="20"/>
                  <a:pt x="251" y="12"/>
                </a:cubicBezTo>
                <a:close/>
                <a:moveTo>
                  <a:pt x="246" y="76"/>
                </a:moveTo>
                <a:cubicBezTo>
                  <a:pt x="240" y="83"/>
                  <a:pt x="231" y="87"/>
                  <a:pt x="220" y="87"/>
                </a:cubicBezTo>
                <a:cubicBezTo>
                  <a:pt x="209" y="87"/>
                  <a:pt x="201" y="83"/>
                  <a:pt x="194" y="76"/>
                </a:cubicBezTo>
                <a:cubicBezTo>
                  <a:pt x="188" y="69"/>
                  <a:pt x="185" y="59"/>
                  <a:pt x="185" y="46"/>
                </a:cubicBezTo>
                <a:cubicBezTo>
                  <a:pt x="185" y="34"/>
                  <a:pt x="188" y="24"/>
                  <a:pt x="195" y="17"/>
                </a:cubicBezTo>
                <a:cubicBezTo>
                  <a:pt x="202" y="9"/>
                  <a:pt x="210" y="5"/>
                  <a:pt x="221" y="5"/>
                </a:cubicBezTo>
                <a:cubicBezTo>
                  <a:pt x="232" y="5"/>
                  <a:pt x="240" y="9"/>
                  <a:pt x="247" y="16"/>
                </a:cubicBezTo>
                <a:cubicBezTo>
                  <a:pt x="253" y="23"/>
                  <a:pt x="256" y="33"/>
                  <a:pt x="256" y="46"/>
                </a:cubicBezTo>
                <a:cubicBezTo>
                  <a:pt x="256" y="59"/>
                  <a:pt x="253" y="69"/>
                  <a:pt x="246" y="76"/>
                </a:cubicBezTo>
                <a:close/>
                <a:moveTo>
                  <a:pt x="278" y="88"/>
                </a:moveTo>
                <a:cubicBezTo>
                  <a:pt x="278" y="81"/>
                  <a:pt x="278" y="81"/>
                  <a:pt x="278" y="81"/>
                </a:cubicBezTo>
                <a:cubicBezTo>
                  <a:pt x="285" y="85"/>
                  <a:pt x="291" y="87"/>
                  <a:pt x="298" y="87"/>
                </a:cubicBezTo>
                <a:cubicBezTo>
                  <a:pt x="305" y="87"/>
                  <a:pt x="310" y="85"/>
                  <a:pt x="314" y="83"/>
                </a:cubicBezTo>
                <a:cubicBezTo>
                  <a:pt x="317" y="80"/>
                  <a:pt x="319" y="76"/>
                  <a:pt x="319" y="70"/>
                </a:cubicBezTo>
                <a:cubicBezTo>
                  <a:pt x="319" y="66"/>
                  <a:pt x="318" y="62"/>
                  <a:pt x="316" y="59"/>
                </a:cubicBezTo>
                <a:cubicBezTo>
                  <a:pt x="313" y="57"/>
                  <a:pt x="308" y="53"/>
                  <a:pt x="300" y="48"/>
                </a:cubicBezTo>
                <a:cubicBezTo>
                  <a:pt x="291" y="43"/>
                  <a:pt x="285" y="38"/>
                  <a:pt x="282" y="35"/>
                </a:cubicBezTo>
                <a:cubicBezTo>
                  <a:pt x="280" y="31"/>
                  <a:pt x="279" y="27"/>
                  <a:pt x="279" y="22"/>
                </a:cubicBezTo>
                <a:cubicBezTo>
                  <a:pt x="279" y="16"/>
                  <a:pt x="281" y="11"/>
                  <a:pt x="286" y="6"/>
                </a:cubicBezTo>
                <a:cubicBezTo>
                  <a:pt x="291" y="2"/>
                  <a:pt x="298" y="0"/>
                  <a:pt x="306" y="0"/>
                </a:cubicBezTo>
                <a:cubicBezTo>
                  <a:pt x="311" y="0"/>
                  <a:pt x="317" y="0"/>
                  <a:pt x="322" y="2"/>
                </a:cubicBezTo>
                <a:cubicBezTo>
                  <a:pt x="322" y="9"/>
                  <a:pt x="322" y="9"/>
                  <a:pt x="322" y="9"/>
                </a:cubicBezTo>
                <a:cubicBezTo>
                  <a:pt x="317" y="6"/>
                  <a:pt x="311" y="5"/>
                  <a:pt x="305" y="5"/>
                </a:cubicBezTo>
                <a:cubicBezTo>
                  <a:pt x="299" y="5"/>
                  <a:pt x="294" y="7"/>
                  <a:pt x="291" y="10"/>
                </a:cubicBezTo>
                <a:cubicBezTo>
                  <a:pt x="287" y="13"/>
                  <a:pt x="285" y="17"/>
                  <a:pt x="285" y="22"/>
                </a:cubicBezTo>
                <a:cubicBezTo>
                  <a:pt x="285" y="26"/>
                  <a:pt x="286" y="30"/>
                  <a:pt x="289" y="33"/>
                </a:cubicBezTo>
                <a:cubicBezTo>
                  <a:pt x="291" y="35"/>
                  <a:pt x="297" y="39"/>
                  <a:pt x="305" y="44"/>
                </a:cubicBezTo>
                <a:cubicBezTo>
                  <a:pt x="313" y="48"/>
                  <a:pt x="319" y="53"/>
                  <a:pt x="321" y="56"/>
                </a:cubicBezTo>
                <a:cubicBezTo>
                  <a:pt x="324" y="60"/>
                  <a:pt x="326" y="64"/>
                  <a:pt x="326" y="69"/>
                </a:cubicBezTo>
                <a:cubicBezTo>
                  <a:pt x="326" y="76"/>
                  <a:pt x="323" y="82"/>
                  <a:pt x="318" y="86"/>
                </a:cubicBezTo>
                <a:cubicBezTo>
                  <a:pt x="314" y="90"/>
                  <a:pt x="307" y="93"/>
                  <a:pt x="298" y="93"/>
                </a:cubicBezTo>
                <a:cubicBezTo>
                  <a:pt x="295" y="93"/>
                  <a:pt x="291" y="92"/>
                  <a:pt x="287" y="91"/>
                </a:cubicBezTo>
                <a:cubicBezTo>
                  <a:pt x="283" y="90"/>
                  <a:pt x="280" y="89"/>
                  <a:pt x="278" y="88"/>
                </a:cubicBez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5" name="Freeform 225">
            <a:extLst>
              <a:ext uri="{FF2B5EF4-FFF2-40B4-BE49-F238E27FC236}">
                <a16:creationId xmlns:a16="http://schemas.microsoft.com/office/drawing/2014/main" id="{080C5C30-CADF-28D7-886C-BFB550471525}"/>
              </a:ext>
              <a:ext uri="{C183D7F6-B498-43B3-948B-1728B52AA6E4}">
                <adec:decorative xmlns:adec="http://schemas.microsoft.com/office/drawing/2017/decorative" val="1"/>
              </a:ext>
            </a:extLst>
          </p:cNvPr>
          <p:cNvSpPr>
            <a:spLocks noEditPoints="1"/>
          </p:cNvSpPr>
          <p:nvPr userDrawn="1"/>
        </p:nvSpPr>
        <p:spPr bwMode="auto">
          <a:xfrm>
            <a:off x="7708982" y="4214803"/>
            <a:ext cx="1408983" cy="371217"/>
          </a:xfrm>
          <a:custGeom>
            <a:avLst/>
            <a:gdLst>
              <a:gd name="T0" fmla="*/ 39 w 581"/>
              <a:gd name="T1" fmla="*/ 0 h 153"/>
              <a:gd name="T2" fmla="*/ 0 w 581"/>
              <a:gd name="T3" fmla="*/ 153 h 153"/>
              <a:gd name="T4" fmla="*/ 95 w 581"/>
              <a:gd name="T5" fmla="*/ 131 h 153"/>
              <a:gd name="T6" fmla="*/ 96 w 581"/>
              <a:gd name="T7" fmla="*/ 19 h 153"/>
              <a:gd name="T8" fmla="*/ 35 w 581"/>
              <a:gd name="T9" fmla="*/ 143 h 153"/>
              <a:gd name="T10" fmla="*/ 11 w 581"/>
              <a:gd name="T11" fmla="*/ 9 h 153"/>
              <a:gd name="T12" fmla="*/ 105 w 581"/>
              <a:gd name="T13" fmla="*/ 75 h 153"/>
              <a:gd name="T14" fmla="*/ 184 w 581"/>
              <a:gd name="T15" fmla="*/ 0 h 153"/>
              <a:gd name="T16" fmla="*/ 116 w 581"/>
              <a:gd name="T17" fmla="*/ 153 h 153"/>
              <a:gd name="T18" fmla="*/ 145 w 581"/>
              <a:gd name="T19" fmla="*/ 105 h 153"/>
              <a:gd name="T20" fmla="*/ 229 w 581"/>
              <a:gd name="T21" fmla="*/ 153 h 153"/>
              <a:gd name="T22" fmla="*/ 184 w 581"/>
              <a:gd name="T23" fmla="*/ 0 h 153"/>
              <a:gd name="T24" fmla="*/ 174 w 581"/>
              <a:gd name="T25" fmla="*/ 24 h 153"/>
              <a:gd name="T26" fmla="*/ 178 w 581"/>
              <a:gd name="T27" fmla="*/ 13 h 153"/>
              <a:gd name="T28" fmla="*/ 182 w 581"/>
              <a:gd name="T29" fmla="*/ 25 h 153"/>
              <a:gd name="T30" fmla="*/ 149 w 581"/>
              <a:gd name="T31" fmla="*/ 95 h 153"/>
              <a:gd name="T32" fmla="*/ 271 w 581"/>
              <a:gd name="T33" fmla="*/ 29 h 153"/>
              <a:gd name="T34" fmla="*/ 264 w 581"/>
              <a:gd name="T35" fmla="*/ 19 h 153"/>
              <a:gd name="T36" fmla="*/ 264 w 581"/>
              <a:gd name="T37" fmla="*/ 26 h 153"/>
              <a:gd name="T38" fmla="*/ 254 w 581"/>
              <a:gd name="T39" fmla="*/ 153 h 153"/>
              <a:gd name="T40" fmla="*/ 262 w 581"/>
              <a:gd name="T41" fmla="*/ 0 h 153"/>
              <a:gd name="T42" fmla="*/ 359 w 581"/>
              <a:gd name="T43" fmla="*/ 132 h 153"/>
              <a:gd name="T44" fmla="*/ 359 w 581"/>
              <a:gd name="T45" fmla="*/ 119 h 153"/>
              <a:gd name="T46" fmla="*/ 369 w 581"/>
              <a:gd name="T47" fmla="*/ 0 h 153"/>
              <a:gd name="T48" fmla="*/ 362 w 581"/>
              <a:gd name="T49" fmla="*/ 153 h 153"/>
              <a:gd name="T50" fmla="*/ 409 w 581"/>
              <a:gd name="T51" fmla="*/ 80 h 153"/>
              <a:gd name="T52" fmla="*/ 406 w 581"/>
              <a:gd name="T53" fmla="*/ 76 h 153"/>
              <a:gd name="T54" fmla="*/ 395 w 581"/>
              <a:gd name="T55" fmla="*/ 153 h 153"/>
              <a:gd name="T56" fmla="*/ 406 w 581"/>
              <a:gd name="T57" fmla="*/ 0 h 153"/>
              <a:gd name="T58" fmla="*/ 406 w 581"/>
              <a:gd name="T59" fmla="*/ 72 h 153"/>
              <a:gd name="T60" fmla="*/ 471 w 581"/>
              <a:gd name="T61" fmla="*/ 0 h 153"/>
              <a:gd name="T62" fmla="*/ 418 w 581"/>
              <a:gd name="T63" fmla="*/ 74 h 153"/>
              <a:gd name="T64" fmla="*/ 474 w 581"/>
              <a:gd name="T65" fmla="*/ 153 h 153"/>
              <a:gd name="T66" fmla="*/ 506 w 581"/>
              <a:gd name="T67" fmla="*/ 0 h 153"/>
              <a:gd name="T68" fmla="*/ 578 w 581"/>
              <a:gd name="T69" fmla="*/ 9 h 153"/>
              <a:gd name="T70" fmla="*/ 517 w 581"/>
              <a:gd name="T71" fmla="*/ 71 h 153"/>
              <a:gd name="T72" fmla="*/ 573 w 581"/>
              <a:gd name="T73" fmla="*/ 80 h 153"/>
              <a:gd name="T74" fmla="*/ 517 w 581"/>
              <a:gd name="T75" fmla="*/ 143 h 153"/>
              <a:gd name="T76" fmla="*/ 581 w 581"/>
              <a:gd name="T7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1" h="153">
                <a:moveTo>
                  <a:pt x="96" y="19"/>
                </a:moveTo>
                <a:cubicBezTo>
                  <a:pt x="83" y="6"/>
                  <a:pt x="64" y="0"/>
                  <a:pt x="39" y="0"/>
                </a:cubicBezTo>
                <a:cubicBezTo>
                  <a:pt x="0" y="0"/>
                  <a:pt x="0" y="0"/>
                  <a:pt x="0" y="0"/>
                </a:cubicBezTo>
                <a:cubicBezTo>
                  <a:pt x="0" y="153"/>
                  <a:pt x="0" y="153"/>
                  <a:pt x="0" y="153"/>
                </a:cubicBezTo>
                <a:cubicBezTo>
                  <a:pt x="36" y="153"/>
                  <a:pt x="36" y="153"/>
                  <a:pt x="36" y="153"/>
                </a:cubicBezTo>
                <a:cubicBezTo>
                  <a:pt x="61" y="153"/>
                  <a:pt x="81" y="146"/>
                  <a:pt x="95" y="131"/>
                </a:cubicBezTo>
                <a:cubicBezTo>
                  <a:pt x="109" y="116"/>
                  <a:pt x="116" y="97"/>
                  <a:pt x="116" y="74"/>
                </a:cubicBezTo>
                <a:cubicBezTo>
                  <a:pt x="116" y="50"/>
                  <a:pt x="110" y="31"/>
                  <a:pt x="96" y="19"/>
                </a:cubicBezTo>
                <a:close/>
                <a:moveTo>
                  <a:pt x="87" y="126"/>
                </a:moveTo>
                <a:cubicBezTo>
                  <a:pt x="75" y="137"/>
                  <a:pt x="57" y="143"/>
                  <a:pt x="35" y="143"/>
                </a:cubicBezTo>
                <a:cubicBezTo>
                  <a:pt x="11" y="143"/>
                  <a:pt x="11" y="143"/>
                  <a:pt x="11" y="143"/>
                </a:cubicBezTo>
                <a:cubicBezTo>
                  <a:pt x="11" y="9"/>
                  <a:pt x="11" y="9"/>
                  <a:pt x="11" y="9"/>
                </a:cubicBezTo>
                <a:cubicBezTo>
                  <a:pt x="37" y="9"/>
                  <a:pt x="37" y="9"/>
                  <a:pt x="37" y="9"/>
                </a:cubicBezTo>
                <a:cubicBezTo>
                  <a:pt x="83" y="9"/>
                  <a:pt x="105" y="31"/>
                  <a:pt x="105" y="75"/>
                </a:cubicBezTo>
                <a:cubicBezTo>
                  <a:pt x="105" y="97"/>
                  <a:pt x="99" y="114"/>
                  <a:pt x="87" y="126"/>
                </a:cubicBezTo>
                <a:close/>
                <a:moveTo>
                  <a:pt x="184" y="0"/>
                </a:moveTo>
                <a:cubicBezTo>
                  <a:pt x="174" y="0"/>
                  <a:pt x="174" y="0"/>
                  <a:pt x="174" y="0"/>
                </a:cubicBezTo>
                <a:cubicBezTo>
                  <a:pt x="116" y="153"/>
                  <a:pt x="116" y="153"/>
                  <a:pt x="116" y="153"/>
                </a:cubicBezTo>
                <a:cubicBezTo>
                  <a:pt x="127" y="153"/>
                  <a:pt x="127" y="153"/>
                  <a:pt x="127" y="153"/>
                </a:cubicBezTo>
                <a:cubicBezTo>
                  <a:pt x="145" y="105"/>
                  <a:pt x="145" y="105"/>
                  <a:pt x="145" y="105"/>
                </a:cubicBezTo>
                <a:cubicBezTo>
                  <a:pt x="211" y="105"/>
                  <a:pt x="211" y="105"/>
                  <a:pt x="211" y="105"/>
                </a:cubicBezTo>
                <a:cubicBezTo>
                  <a:pt x="229" y="153"/>
                  <a:pt x="229" y="153"/>
                  <a:pt x="229" y="153"/>
                </a:cubicBezTo>
                <a:cubicBezTo>
                  <a:pt x="241" y="153"/>
                  <a:pt x="241" y="153"/>
                  <a:pt x="241" y="153"/>
                </a:cubicBezTo>
                <a:lnTo>
                  <a:pt x="184" y="0"/>
                </a:lnTo>
                <a:close/>
                <a:moveTo>
                  <a:pt x="149" y="95"/>
                </a:moveTo>
                <a:cubicBezTo>
                  <a:pt x="174" y="24"/>
                  <a:pt x="174" y="24"/>
                  <a:pt x="174" y="24"/>
                </a:cubicBezTo>
                <a:cubicBezTo>
                  <a:pt x="176" y="22"/>
                  <a:pt x="177" y="18"/>
                  <a:pt x="178" y="13"/>
                </a:cubicBezTo>
                <a:cubicBezTo>
                  <a:pt x="178" y="13"/>
                  <a:pt x="178" y="13"/>
                  <a:pt x="178" y="13"/>
                </a:cubicBezTo>
                <a:cubicBezTo>
                  <a:pt x="179" y="15"/>
                  <a:pt x="179" y="17"/>
                  <a:pt x="180" y="18"/>
                </a:cubicBezTo>
                <a:cubicBezTo>
                  <a:pt x="180" y="20"/>
                  <a:pt x="181" y="23"/>
                  <a:pt x="182" y="25"/>
                </a:cubicBezTo>
                <a:cubicBezTo>
                  <a:pt x="208" y="95"/>
                  <a:pt x="208" y="95"/>
                  <a:pt x="208" y="95"/>
                </a:cubicBezTo>
                <a:lnTo>
                  <a:pt x="149" y="95"/>
                </a:lnTo>
                <a:close/>
                <a:moveTo>
                  <a:pt x="362" y="153"/>
                </a:moveTo>
                <a:cubicBezTo>
                  <a:pt x="271" y="29"/>
                  <a:pt x="271" y="29"/>
                  <a:pt x="271" y="29"/>
                </a:cubicBezTo>
                <a:cubicBezTo>
                  <a:pt x="269" y="27"/>
                  <a:pt x="267" y="24"/>
                  <a:pt x="266" y="22"/>
                </a:cubicBezTo>
                <a:cubicBezTo>
                  <a:pt x="264" y="19"/>
                  <a:pt x="264" y="19"/>
                  <a:pt x="264" y="19"/>
                </a:cubicBezTo>
                <a:cubicBezTo>
                  <a:pt x="264" y="19"/>
                  <a:pt x="264" y="19"/>
                  <a:pt x="264" y="19"/>
                </a:cubicBezTo>
                <a:cubicBezTo>
                  <a:pt x="264" y="21"/>
                  <a:pt x="264" y="24"/>
                  <a:pt x="264" y="26"/>
                </a:cubicBezTo>
                <a:cubicBezTo>
                  <a:pt x="264" y="153"/>
                  <a:pt x="264" y="153"/>
                  <a:pt x="264" y="153"/>
                </a:cubicBezTo>
                <a:cubicBezTo>
                  <a:pt x="254" y="153"/>
                  <a:pt x="254" y="153"/>
                  <a:pt x="254" y="153"/>
                </a:cubicBezTo>
                <a:cubicBezTo>
                  <a:pt x="254" y="0"/>
                  <a:pt x="254" y="0"/>
                  <a:pt x="254" y="0"/>
                </a:cubicBezTo>
                <a:cubicBezTo>
                  <a:pt x="262" y="0"/>
                  <a:pt x="262" y="0"/>
                  <a:pt x="262" y="0"/>
                </a:cubicBezTo>
                <a:cubicBezTo>
                  <a:pt x="352" y="122"/>
                  <a:pt x="352" y="122"/>
                  <a:pt x="352" y="122"/>
                </a:cubicBezTo>
                <a:cubicBezTo>
                  <a:pt x="354" y="125"/>
                  <a:pt x="356" y="128"/>
                  <a:pt x="359" y="132"/>
                </a:cubicBezTo>
                <a:cubicBezTo>
                  <a:pt x="359" y="132"/>
                  <a:pt x="359" y="132"/>
                  <a:pt x="359" y="132"/>
                </a:cubicBezTo>
                <a:cubicBezTo>
                  <a:pt x="359" y="127"/>
                  <a:pt x="359" y="123"/>
                  <a:pt x="359" y="119"/>
                </a:cubicBezTo>
                <a:cubicBezTo>
                  <a:pt x="359" y="0"/>
                  <a:pt x="359" y="0"/>
                  <a:pt x="359" y="0"/>
                </a:cubicBezTo>
                <a:cubicBezTo>
                  <a:pt x="369" y="0"/>
                  <a:pt x="369" y="0"/>
                  <a:pt x="369" y="0"/>
                </a:cubicBezTo>
                <a:cubicBezTo>
                  <a:pt x="369" y="153"/>
                  <a:pt x="369" y="153"/>
                  <a:pt x="369" y="153"/>
                </a:cubicBezTo>
                <a:lnTo>
                  <a:pt x="362" y="153"/>
                </a:lnTo>
                <a:close/>
                <a:moveTo>
                  <a:pt x="474" y="153"/>
                </a:moveTo>
                <a:cubicBezTo>
                  <a:pt x="409" y="80"/>
                  <a:pt x="409" y="80"/>
                  <a:pt x="409" y="80"/>
                </a:cubicBezTo>
                <a:cubicBezTo>
                  <a:pt x="408" y="78"/>
                  <a:pt x="407" y="77"/>
                  <a:pt x="406" y="76"/>
                </a:cubicBezTo>
                <a:cubicBezTo>
                  <a:pt x="406" y="76"/>
                  <a:pt x="406" y="76"/>
                  <a:pt x="406" y="76"/>
                </a:cubicBezTo>
                <a:cubicBezTo>
                  <a:pt x="406" y="153"/>
                  <a:pt x="406" y="153"/>
                  <a:pt x="406" y="153"/>
                </a:cubicBezTo>
                <a:cubicBezTo>
                  <a:pt x="395" y="153"/>
                  <a:pt x="395" y="153"/>
                  <a:pt x="395" y="153"/>
                </a:cubicBezTo>
                <a:cubicBezTo>
                  <a:pt x="395" y="0"/>
                  <a:pt x="395" y="0"/>
                  <a:pt x="395" y="0"/>
                </a:cubicBezTo>
                <a:cubicBezTo>
                  <a:pt x="406" y="0"/>
                  <a:pt x="406" y="0"/>
                  <a:pt x="406" y="0"/>
                </a:cubicBezTo>
                <a:cubicBezTo>
                  <a:pt x="406" y="72"/>
                  <a:pt x="406" y="72"/>
                  <a:pt x="406" y="72"/>
                </a:cubicBezTo>
                <a:cubicBezTo>
                  <a:pt x="406" y="72"/>
                  <a:pt x="406" y="72"/>
                  <a:pt x="406" y="72"/>
                </a:cubicBezTo>
                <a:cubicBezTo>
                  <a:pt x="407" y="70"/>
                  <a:pt x="408" y="69"/>
                  <a:pt x="409" y="68"/>
                </a:cubicBezTo>
                <a:cubicBezTo>
                  <a:pt x="471" y="0"/>
                  <a:pt x="471" y="0"/>
                  <a:pt x="471" y="0"/>
                </a:cubicBezTo>
                <a:cubicBezTo>
                  <a:pt x="485" y="0"/>
                  <a:pt x="485" y="0"/>
                  <a:pt x="485" y="0"/>
                </a:cubicBezTo>
                <a:cubicBezTo>
                  <a:pt x="418" y="74"/>
                  <a:pt x="418" y="74"/>
                  <a:pt x="418" y="74"/>
                </a:cubicBezTo>
                <a:cubicBezTo>
                  <a:pt x="489" y="153"/>
                  <a:pt x="489" y="153"/>
                  <a:pt x="489" y="153"/>
                </a:cubicBezTo>
                <a:lnTo>
                  <a:pt x="474" y="153"/>
                </a:lnTo>
                <a:close/>
                <a:moveTo>
                  <a:pt x="506" y="153"/>
                </a:moveTo>
                <a:cubicBezTo>
                  <a:pt x="506" y="0"/>
                  <a:pt x="506" y="0"/>
                  <a:pt x="506" y="0"/>
                </a:cubicBezTo>
                <a:cubicBezTo>
                  <a:pt x="578" y="0"/>
                  <a:pt x="578" y="0"/>
                  <a:pt x="578" y="0"/>
                </a:cubicBezTo>
                <a:cubicBezTo>
                  <a:pt x="578" y="9"/>
                  <a:pt x="578" y="9"/>
                  <a:pt x="578" y="9"/>
                </a:cubicBezTo>
                <a:cubicBezTo>
                  <a:pt x="517" y="9"/>
                  <a:pt x="517" y="9"/>
                  <a:pt x="517" y="9"/>
                </a:cubicBezTo>
                <a:cubicBezTo>
                  <a:pt x="517" y="71"/>
                  <a:pt x="517" y="71"/>
                  <a:pt x="517" y="71"/>
                </a:cubicBezTo>
                <a:cubicBezTo>
                  <a:pt x="573" y="71"/>
                  <a:pt x="573" y="71"/>
                  <a:pt x="573" y="71"/>
                </a:cubicBezTo>
                <a:cubicBezTo>
                  <a:pt x="573" y="80"/>
                  <a:pt x="573" y="80"/>
                  <a:pt x="573" y="80"/>
                </a:cubicBezTo>
                <a:cubicBezTo>
                  <a:pt x="517" y="80"/>
                  <a:pt x="517" y="80"/>
                  <a:pt x="517" y="80"/>
                </a:cubicBezTo>
                <a:cubicBezTo>
                  <a:pt x="517" y="143"/>
                  <a:pt x="517" y="143"/>
                  <a:pt x="517" y="143"/>
                </a:cubicBezTo>
                <a:cubicBezTo>
                  <a:pt x="581" y="143"/>
                  <a:pt x="581" y="143"/>
                  <a:pt x="581" y="143"/>
                </a:cubicBezTo>
                <a:cubicBezTo>
                  <a:pt x="581" y="153"/>
                  <a:pt x="581" y="153"/>
                  <a:pt x="581" y="153"/>
                </a:cubicBezTo>
                <a:lnTo>
                  <a:pt x="506" y="153"/>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 name="Freeform 226">
            <a:extLst>
              <a:ext uri="{FF2B5EF4-FFF2-40B4-BE49-F238E27FC236}">
                <a16:creationId xmlns:a16="http://schemas.microsoft.com/office/drawing/2014/main" id="{F2869861-00E9-AB3B-5066-D4919BE7B355}"/>
              </a:ext>
              <a:ext uri="{C183D7F6-B498-43B3-948B-1728B52AA6E4}">
                <adec:decorative xmlns:adec="http://schemas.microsoft.com/office/drawing/2017/decorative" val="1"/>
              </a:ext>
            </a:extLst>
          </p:cNvPr>
          <p:cNvSpPr>
            <a:spLocks noEditPoints="1"/>
          </p:cNvSpPr>
          <p:nvPr userDrawn="1"/>
        </p:nvSpPr>
        <p:spPr bwMode="auto">
          <a:xfrm>
            <a:off x="5951530" y="2362867"/>
            <a:ext cx="629355" cy="292843"/>
          </a:xfrm>
          <a:custGeom>
            <a:avLst/>
            <a:gdLst>
              <a:gd name="T0" fmla="*/ 34 w 207"/>
              <a:gd name="T1" fmla="*/ 6 h 96"/>
              <a:gd name="T2" fmla="*/ 34 w 207"/>
              <a:gd name="T3" fmla="*/ 96 h 96"/>
              <a:gd name="T4" fmla="*/ 27 w 207"/>
              <a:gd name="T5" fmla="*/ 96 h 96"/>
              <a:gd name="T6" fmla="*/ 27 w 207"/>
              <a:gd name="T7" fmla="*/ 6 h 96"/>
              <a:gd name="T8" fmla="*/ 0 w 207"/>
              <a:gd name="T9" fmla="*/ 6 h 96"/>
              <a:gd name="T10" fmla="*/ 0 w 207"/>
              <a:gd name="T11" fmla="*/ 0 h 96"/>
              <a:gd name="T12" fmla="*/ 62 w 207"/>
              <a:gd name="T13" fmla="*/ 0 h 96"/>
              <a:gd name="T14" fmla="*/ 62 w 207"/>
              <a:gd name="T15" fmla="*/ 6 h 96"/>
              <a:gd name="T16" fmla="*/ 34 w 207"/>
              <a:gd name="T17" fmla="*/ 6 h 96"/>
              <a:gd name="T18" fmla="*/ 97 w 207"/>
              <a:gd name="T19" fmla="*/ 0 h 96"/>
              <a:gd name="T20" fmla="*/ 90 w 207"/>
              <a:gd name="T21" fmla="*/ 0 h 96"/>
              <a:gd name="T22" fmla="*/ 54 w 207"/>
              <a:gd name="T23" fmla="*/ 96 h 96"/>
              <a:gd name="T24" fmla="*/ 61 w 207"/>
              <a:gd name="T25" fmla="*/ 96 h 96"/>
              <a:gd name="T26" fmla="*/ 72 w 207"/>
              <a:gd name="T27" fmla="*/ 66 h 96"/>
              <a:gd name="T28" fmla="*/ 114 w 207"/>
              <a:gd name="T29" fmla="*/ 66 h 96"/>
              <a:gd name="T30" fmla="*/ 125 w 207"/>
              <a:gd name="T31" fmla="*/ 96 h 96"/>
              <a:gd name="T32" fmla="*/ 132 w 207"/>
              <a:gd name="T33" fmla="*/ 96 h 96"/>
              <a:gd name="T34" fmla="*/ 97 w 207"/>
              <a:gd name="T35" fmla="*/ 0 h 96"/>
              <a:gd name="T36" fmla="*/ 75 w 207"/>
              <a:gd name="T37" fmla="*/ 60 h 96"/>
              <a:gd name="T38" fmla="*/ 91 w 207"/>
              <a:gd name="T39" fmla="*/ 16 h 96"/>
              <a:gd name="T40" fmla="*/ 93 w 207"/>
              <a:gd name="T41" fmla="*/ 9 h 96"/>
              <a:gd name="T42" fmla="*/ 93 w 207"/>
              <a:gd name="T43" fmla="*/ 9 h 96"/>
              <a:gd name="T44" fmla="*/ 94 w 207"/>
              <a:gd name="T45" fmla="*/ 12 h 96"/>
              <a:gd name="T46" fmla="*/ 95 w 207"/>
              <a:gd name="T47" fmla="*/ 16 h 96"/>
              <a:gd name="T48" fmla="*/ 112 w 207"/>
              <a:gd name="T49" fmla="*/ 60 h 96"/>
              <a:gd name="T50" fmla="*/ 75 w 207"/>
              <a:gd name="T51" fmla="*/ 60 h 96"/>
              <a:gd name="T52" fmla="*/ 198 w 207"/>
              <a:gd name="T53" fmla="*/ 96 h 96"/>
              <a:gd name="T54" fmla="*/ 157 w 207"/>
              <a:gd name="T55" fmla="*/ 50 h 96"/>
              <a:gd name="T56" fmla="*/ 156 w 207"/>
              <a:gd name="T57" fmla="*/ 48 h 96"/>
              <a:gd name="T58" fmla="*/ 155 w 207"/>
              <a:gd name="T59" fmla="*/ 48 h 96"/>
              <a:gd name="T60" fmla="*/ 155 w 207"/>
              <a:gd name="T61" fmla="*/ 96 h 96"/>
              <a:gd name="T62" fmla="*/ 149 w 207"/>
              <a:gd name="T63" fmla="*/ 96 h 96"/>
              <a:gd name="T64" fmla="*/ 149 w 207"/>
              <a:gd name="T65" fmla="*/ 0 h 96"/>
              <a:gd name="T66" fmla="*/ 155 w 207"/>
              <a:gd name="T67" fmla="*/ 0 h 96"/>
              <a:gd name="T68" fmla="*/ 155 w 207"/>
              <a:gd name="T69" fmla="*/ 45 h 96"/>
              <a:gd name="T70" fmla="*/ 156 w 207"/>
              <a:gd name="T71" fmla="*/ 45 h 96"/>
              <a:gd name="T72" fmla="*/ 157 w 207"/>
              <a:gd name="T73" fmla="*/ 43 h 96"/>
              <a:gd name="T74" fmla="*/ 196 w 207"/>
              <a:gd name="T75" fmla="*/ 0 h 96"/>
              <a:gd name="T76" fmla="*/ 205 w 207"/>
              <a:gd name="T77" fmla="*/ 0 h 96"/>
              <a:gd name="T78" fmla="*/ 163 w 207"/>
              <a:gd name="T79" fmla="*/ 47 h 96"/>
              <a:gd name="T80" fmla="*/ 207 w 207"/>
              <a:gd name="T81" fmla="*/ 96 h 96"/>
              <a:gd name="T82" fmla="*/ 198 w 207"/>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7" h="96">
                <a:moveTo>
                  <a:pt x="34" y="6"/>
                </a:moveTo>
                <a:cubicBezTo>
                  <a:pt x="34" y="96"/>
                  <a:pt x="34" y="96"/>
                  <a:pt x="34" y="96"/>
                </a:cubicBezTo>
                <a:cubicBezTo>
                  <a:pt x="27" y="96"/>
                  <a:pt x="27" y="96"/>
                  <a:pt x="27" y="96"/>
                </a:cubicBezTo>
                <a:cubicBezTo>
                  <a:pt x="27" y="6"/>
                  <a:pt x="27" y="6"/>
                  <a:pt x="27" y="6"/>
                </a:cubicBezTo>
                <a:cubicBezTo>
                  <a:pt x="0" y="6"/>
                  <a:pt x="0" y="6"/>
                  <a:pt x="0" y="6"/>
                </a:cubicBezTo>
                <a:cubicBezTo>
                  <a:pt x="0" y="0"/>
                  <a:pt x="0" y="0"/>
                  <a:pt x="0" y="0"/>
                </a:cubicBezTo>
                <a:cubicBezTo>
                  <a:pt x="62" y="0"/>
                  <a:pt x="62" y="0"/>
                  <a:pt x="62" y="0"/>
                </a:cubicBezTo>
                <a:cubicBezTo>
                  <a:pt x="62" y="6"/>
                  <a:pt x="62" y="6"/>
                  <a:pt x="62" y="6"/>
                </a:cubicBezTo>
                <a:lnTo>
                  <a:pt x="34" y="6"/>
                </a:lnTo>
                <a:close/>
                <a:moveTo>
                  <a:pt x="97" y="0"/>
                </a:moveTo>
                <a:cubicBezTo>
                  <a:pt x="90" y="0"/>
                  <a:pt x="90" y="0"/>
                  <a:pt x="90" y="0"/>
                </a:cubicBezTo>
                <a:cubicBezTo>
                  <a:pt x="54" y="96"/>
                  <a:pt x="54" y="96"/>
                  <a:pt x="54" y="96"/>
                </a:cubicBezTo>
                <a:cubicBezTo>
                  <a:pt x="61" y="96"/>
                  <a:pt x="61" y="96"/>
                  <a:pt x="61" y="96"/>
                </a:cubicBezTo>
                <a:cubicBezTo>
                  <a:pt x="72" y="66"/>
                  <a:pt x="72" y="66"/>
                  <a:pt x="72" y="66"/>
                </a:cubicBezTo>
                <a:cubicBezTo>
                  <a:pt x="114" y="66"/>
                  <a:pt x="114" y="66"/>
                  <a:pt x="114" y="66"/>
                </a:cubicBezTo>
                <a:cubicBezTo>
                  <a:pt x="125" y="96"/>
                  <a:pt x="125" y="96"/>
                  <a:pt x="125" y="96"/>
                </a:cubicBezTo>
                <a:cubicBezTo>
                  <a:pt x="132" y="96"/>
                  <a:pt x="132" y="96"/>
                  <a:pt x="132" y="96"/>
                </a:cubicBezTo>
                <a:lnTo>
                  <a:pt x="97" y="0"/>
                </a:lnTo>
                <a:close/>
                <a:moveTo>
                  <a:pt x="75" y="60"/>
                </a:moveTo>
                <a:cubicBezTo>
                  <a:pt x="91" y="16"/>
                  <a:pt x="91" y="16"/>
                  <a:pt x="91" y="16"/>
                </a:cubicBezTo>
                <a:cubicBezTo>
                  <a:pt x="92" y="14"/>
                  <a:pt x="92" y="12"/>
                  <a:pt x="93" y="9"/>
                </a:cubicBezTo>
                <a:cubicBezTo>
                  <a:pt x="93" y="9"/>
                  <a:pt x="93" y="9"/>
                  <a:pt x="93" y="9"/>
                </a:cubicBezTo>
                <a:cubicBezTo>
                  <a:pt x="94" y="10"/>
                  <a:pt x="94" y="11"/>
                  <a:pt x="94" y="12"/>
                </a:cubicBezTo>
                <a:cubicBezTo>
                  <a:pt x="95" y="13"/>
                  <a:pt x="95" y="15"/>
                  <a:pt x="95" y="16"/>
                </a:cubicBezTo>
                <a:cubicBezTo>
                  <a:pt x="112" y="60"/>
                  <a:pt x="112" y="60"/>
                  <a:pt x="112" y="60"/>
                </a:cubicBezTo>
                <a:lnTo>
                  <a:pt x="75" y="60"/>
                </a:lnTo>
                <a:close/>
                <a:moveTo>
                  <a:pt x="198" y="96"/>
                </a:moveTo>
                <a:cubicBezTo>
                  <a:pt x="157" y="50"/>
                  <a:pt x="157" y="50"/>
                  <a:pt x="157" y="50"/>
                </a:cubicBezTo>
                <a:cubicBezTo>
                  <a:pt x="156" y="49"/>
                  <a:pt x="156" y="49"/>
                  <a:pt x="156" y="48"/>
                </a:cubicBezTo>
                <a:cubicBezTo>
                  <a:pt x="155" y="48"/>
                  <a:pt x="155" y="48"/>
                  <a:pt x="155" y="48"/>
                </a:cubicBezTo>
                <a:cubicBezTo>
                  <a:pt x="155" y="96"/>
                  <a:pt x="155" y="96"/>
                  <a:pt x="155" y="96"/>
                </a:cubicBezTo>
                <a:cubicBezTo>
                  <a:pt x="149" y="96"/>
                  <a:pt x="149" y="96"/>
                  <a:pt x="149" y="96"/>
                </a:cubicBezTo>
                <a:cubicBezTo>
                  <a:pt x="149" y="0"/>
                  <a:pt x="149" y="0"/>
                  <a:pt x="149" y="0"/>
                </a:cubicBezTo>
                <a:cubicBezTo>
                  <a:pt x="155" y="0"/>
                  <a:pt x="155" y="0"/>
                  <a:pt x="155" y="0"/>
                </a:cubicBezTo>
                <a:cubicBezTo>
                  <a:pt x="155" y="45"/>
                  <a:pt x="155" y="45"/>
                  <a:pt x="155" y="45"/>
                </a:cubicBezTo>
                <a:cubicBezTo>
                  <a:pt x="156" y="45"/>
                  <a:pt x="156" y="45"/>
                  <a:pt x="156" y="45"/>
                </a:cubicBezTo>
                <a:cubicBezTo>
                  <a:pt x="156" y="45"/>
                  <a:pt x="157" y="44"/>
                  <a:pt x="157" y="43"/>
                </a:cubicBezTo>
                <a:cubicBezTo>
                  <a:pt x="196" y="0"/>
                  <a:pt x="196" y="0"/>
                  <a:pt x="196" y="0"/>
                </a:cubicBezTo>
                <a:cubicBezTo>
                  <a:pt x="205" y="0"/>
                  <a:pt x="205" y="0"/>
                  <a:pt x="205" y="0"/>
                </a:cubicBezTo>
                <a:cubicBezTo>
                  <a:pt x="163" y="47"/>
                  <a:pt x="163" y="47"/>
                  <a:pt x="163" y="47"/>
                </a:cubicBezTo>
                <a:cubicBezTo>
                  <a:pt x="207" y="96"/>
                  <a:pt x="207" y="96"/>
                  <a:pt x="207" y="96"/>
                </a:cubicBezTo>
                <a:lnTo>
                  <a:pt x="198" y="9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 name="Freeform 227">
            <a:extLst>
              <a:ext uri="{FF2B5EF4-FFF2-40B4-BE49-F238E27FC236}">
                <a16:creationId xmlns:a16="http://schemas.microsoft.com/office/drawing/2014/main" id="{EF039967-70B7-F8BA-AAA2-3D613EC84A96}"/>
              </a:ext>
              <a:ext uri="{C183D7F6-B498-43B3-948B-1728B52AA6E4}">
                <adec:decorative xmlns:adec="http://schemas.microsoft.com/office/drawing/2017/decorative" val="1"/>
              </a:ext>
            </a:extLst>
          </p:cNvPr>
          <p:cNvSpPr>
            <a:spLocks noEditPoints="1"/>
          </p:cNvSpPr>
          <p:nvPr userDrawn="1"/>
        </p:nvSpPr>
        <p:spPr bwMode="auto">
          <a:xfrm>
            <a:off x="6514730" y="1804137"/>
            <a:ext cx="1557973" cy="222200"/>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solidFill>
            <a:schemeClr val="accent5">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18" name="Freeform 229">
            <a:extLst>
              <a:ext uri="{FF2B5EF4-FFF2-40B4-BE49-F238E27FC236}">
                <a16:creationId xmlns:a16="http://schemas.microsoft.com/office/drawing/2014/main" id="{A9F37BF9-F26F-CB23-D3CC-EAC985742D19}"/>
              </a:ext>
              <a:ext uri="{C183D7F6-B498-43B3-948B-1728B52AA6E4}">
                <adec:decorative xmlns:adec="http://schemas.microsoft.com/office/drawing/2017/decorative" val="1"/>
              </a:ext>
            </a:extLst>
          </p:cNvPr>
          <p:cNvSpPr>
            <a:spLocks noEditPoints="1"/>
          </p:cNvSpPr>
          <p:nvPr userDrawn="1"/>
        </p:nvSpPr>
        <p:spPr bwMode="auto">
          <a:xfrm rot="16200000">
            <a:off x="9594955" y="3334053"/>
            <a:ext cx="162367" cy="1082779"/>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9" name="Freeform 230">
            <a:extLst>
              <a:ext uri="{FF2B5EF4-FFF2-40B4-BE49-F238E27FC236}">
                <a16:creationId xmlns:a16="http://schemas.microsoft.com/office/drawing/2014/main" id="{45998403-4116-3773-6B86-79DA5D7300F2}"/>
              </a:ext>
              <a:ext uri="{C183D7F6-B498-43B3-948B-1728B52AA6E4}">
                <adec:decorative xmlns:adec="http://schemas.microsoft.com/office/drawing/2017/decorative" val="1"/>
              </a:ext>
            </a:extLst>
          </p:cNvPr>
          <p:cNvSpPr>
            <a:spLocks noEditPoints="1"/>
          </p:cNvSpPr>
          <p:nvPr userDrawn="1"/>
        </p:nvSpPr>
        <p:spPr bwMode="auto">
          <a:xfrm>
            <a:off x="9116212" y="1833507"/>
            <a:ext cx="1045498" cy="495776"/>
          </a:xfrm>
          <a:custGeom>
            <a:avLst/>
            <a:gdLst>
              <a:gd name="T0" fmla="*/ 38 w 344"/>
              <a:gd name="T1" fmla="*/ 56 h 163"/>
              <a:gd name="T2" fmla="*/ 50 w 344"/>
              <a:gd name="T3" fmla="*/ 114 h 163"/>
              <a:gd name="T4" fmla="*/ 20 w 344"/>
              <a:gd name="T5" fmla="*/ 136 h 163"/>
              <a:gd name="T6" fmla="*/ 0 w 344"/>
              <a:gd name="T7" fmla="*/ 54 h 163"/>
              <a:gd name="T8" fmla="*/ 38 w 344"/>
              <a:gd name="T9" fmla="*/ 29 h 163"/>
              <a:gd name="T10" fmla="*/ 16 w 344"/>
              <a:gd name="T11" fmla="*/ 7 h 163"/>
              <a:gd name="T12" fmla="*/ 93 w 344"/>
              <a:gd name="T13" fmla="*/ 23 h 163"/>
              <a:gd name="T14" fmla="*/ 76 w 344"/>
              <a:gd name="T15" fmla="*/ 14 h 163"/>
              <a:gd name="T16" fmla="*/ 45 w 344"/>
              <a:gd name="T17" fmla="*/ 97 h 163"/>
              <a:gd name="T18" fmla="*/ 61 w 344"/>
              <a:gd name="T19" fmla="*/ 136 h 163"/>
              <a:gd name="T20" fmla="*/ 94 w 344"/>
              <a:gd name="T21" fmla="*/ 107 h 163"/>
              <a:gd name="T22" fmla="*/ 71 w 344"/>
              <a:gd name="T23" fmla="*/ 150 h 163"/>
              <a:gd name="T24" fmla="*/ 94 w 344"/>
              <a:gd name="T25" fmla="*/ 161 h 163"/>
              <a:gd name="T26" fmla="*/ 107 w 344"/>
              <a:gd name="T27" fmla="*/ 23 h 163"/>
              <a:gd name="T28" fmla="*/ 94 w 344"/>
              <a:gd name="T29" fmla="*/ 98 h 163"/>
              <a:gd name="T30" fmla="*/ 94 w 344"/>
              <a:gd name="T31" fmla="*/ 73 h 163"/>
              <a:gd name="T32" fmla="*/ 94 w 344"/>
              <a:gd name="T33" fmla="*/ 47 h 163"/>
              <a:gd name="T34" fmla="*/ 137 w 344"/>
              <a:gd name="T35" fmla="*/ 2 h 163"/>
              <a:gd name="T36" fmla="*/ 146 w 344"/>
              <a:gd name="T37" fmla="*/ 46 h 163"/>
              <a:gd name="T38" fmla="*/ 163 w 344"/>
              <a:gd name="T39" fmla="*/ 52 h 163"/>
              <a:gd name="T40" fmla="*/ 132 w 344"/>
              <a:gd name="T41" fmla="*/ 162 h 163"/>
              <a:gd name="T42" fmla="*/ 113 w 344"/>
              <a:gd name="T43" fmla="*/ 145 h 163"/>
              <a:gd name="T44" fmla="*/ 126 w 344"/>
              <a:gd name="T45" fmla="*/ 52 h 163"/>
              <a:gd name="T46" fmla="*/ 123 w 344"/>
              <a:gd name="T47" fmla="*/ 85 h 163"/>
              <a:gd name="T48" fmla="*/ 122 w 344"/>
              <a:gd name="T49" fmla="*/ 110 h 163"/>
              <a:gd name="T50" fmla="*/ 113 w 344"/>
              <a:gd name="T51" fmla="*/ 70 h 163"/>
              <a:gd name="T52" fmla="*/ 217 w 344"/>
              <a:gd name="T53" fmla="*/ 56 h 163"/>
              <a:gd name="T54" fmla="*/ 229 w 344"/>
              <a:gd name="T55" fmla="*/ 114 h 163"/>
              <a:gd name="T56" fmla="*/ 199 w 344"/>
              <a:gd name="T57" fmla="*/ 136 h 163"/>
              <a:gd name="T58" fmla="*/ 179 w 344"/>
              <a:gd name="T59" fmla="*/ 54 h 163"/>
              <a:gd name="T60" fmla="*/ 217 w 344"/>
              <a:gd name="T61" fmla="*/ 29 h 163"/>
              <a:gd name="T62" fmla="*/ 195 w 344"/>
              <a:gd name="T63" fmla="*/ 7 h 163"/>
              <a:gd name="T64" fmla="*/ 272 w 344"/>
              <a:gd name="T65" fmla="*/ 23 h 163"/>
              <a:gd name="T66" fmla="*/ 255 w 344"/>
              <a:gd name="T67" fmla="*/ 14 h 163"/>
              <a:gd name="T68" fmla="*/ 224 w 344"/>
              <a:gd name="T69" fmla="*/ 97 h 163"/>
              <a:gd name="T70" fmla="*/ 240 w 344"/>
              <a:gd name="T71" fmla="*/ 136 h 163"/>
              <a:gd name="T72" fmla="*/ 273 w 344"/>
              <a:gd name="T73" fmla="*/ 107 h 163"/>
              <a:gd name="T74" fmla="*/ 250 w 344"/>
              <a:gd name="T75" fmla="*/ 150 h 163"/>
              <a:gd name="T76" fmla="*/ 273 w 344"/>
              <a:gd name="T77" fmla="*/ 161 h 163"/>
              <a:gd name="T78" fmla="*/ 286 w 344"/>
              <a:gd name="T79" fmla="*/ 23 h 163"/>
              <a:gd name="T80" fmla="*/ 273 w 344"/>
              <a:gd name="T81" fmla="*/ 98 h 163"/>
              <a:gd name="T82" fmla="*/ 273 w 344"/>
              <a:gd name="T83" fmla="*/ 73 h 163"/>
              <a:gd name="T84" fmla="*/ 273 w 344"/>
              <a:gd name="T85" fmla="*/ 47 h 163"/>
              <a:gd name="T86" fmla="*/ 316 w 344"/>
              <a:gd name="T87" fmla="*/ 2 h 163"/>
              <a:gd name="T88" fmla="*/ 325 w 344"/>
              <a:gd name="T89" fmla="*/ 46 h 163"/>
              <a:gd name="T90" fmla="*/ 342 w 344"/>
              <a:gd name="T91" fmla="*/ 52 h 163"/>
              <a:gd name="T92" fmla="*/ 311 w 344"/>
              <a:gd name="T93" fmla="*/ 162 h 163"/>
              <a:gd name="T94" fmla="*/ 292 w 344"/>
              <a:gd name="T95" fmla="*/ 145 h 163"/>
              <a:gd name="T96" fmla="*/ 305 w 344"/>
              <a:gd name="T97" fmla="*/ 52 h 163"/>
              <a:gd name="T98" fmla="*/ 302 w 344"/>
              <a:gd name="T99" fmla="*/ 85 h 163"/>
              <a:gd name="T100" fmla="*/ 301 w 344"/>
              <a:gd name="T101" fmla="*/ 110 h 163"/>
              <a:gd name="T102" fmla="*/ 292 w 344"/>
              <a:gd name="T103" fmla="*/ 7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4" h="163">
                <a:moveTo>
                  <a:pt x="0" y="54"/>
                </a:moveTo>
                <a:cubicBezTo>
                  <a:pt x="5" y="56"/>
                  <a:pt x="11" y="56"/>
                  <a:pt x="20" y="56"/>
                </a:cubicBezTo>
                <a:cubicBezTo>
                  <a:pt x="22" y="56"/>
                  <a:pt x="22" y="56"/>
                  <a:pt x="22" y="56"/>
                </a:cubicBezTo>
                <a:cubicBezTo>
                  <a:pt x="29" y="48"/>
                  <a:pt x="29" y="48"/>
                  <a:pt x="29" y="48"/>
                </a:cubicBezTo>
                <a:cubicBezTo>
                  <a:pt x="33" y="51"/>
                  <a:pt x="36" y="54"/>
                  <a:pt x="38" y="56"/>
                </a:cubicBezTo>
                <a:cubicBezTo>
                  <a:pt x="38" y="57"/>
                  <a:pt x="39" y="58"/>
                  <a:pt x="39" y="58"/>
                </a:cubicBezTo>
                <a:cubicBezTo>
                  <a:pt x="39" y="59"/>
                  <a:pt x="36" y="61"/>
                  <a:pt x="31" y="64"/>
                </a:cubicBezTo>
                <a:cubicBezTo>
                  <a:pt x="31" y="130"/>
                  <a:pt x="31" y="130"/>
                  <a:pt x="31" y="130"/>
                </a:cubicBezTo>
                <a:cubicBezTo>
                  <a:pt x="33" y="128"/>
                  <a:pt x="35" y="127"/>
                  <a:pt x="37" y="126"/>
                </a:cubicBezTo>
                <a:cubicBezTo>
                  <a:pt x="42" y="121"/>
                  <a:pt x="47" y="118"/>
                  <a:pt x="50" y="114"/>
                </a:cubicBezTo>
                <a:cubicBezTo>
                  <a:pt x="51" y="117"/>
                  <a:pt x="51" y="117"/>
                  <a:pt x="51" y="117"/>
                </a:cubicBezTo>
                <a:cubicBezTo>
                  <a:pt x="49" y="121"/>
                  <a:pt x="46" y="125"/>
                  <a:pt x="43" y="128"/>
                </a:cubicBezTo>
                <a:cubicBezTo>
                  <a:pt x="40" y="133"/>
                  <a:pt x="37" y="137"/>
                  <a:pt x="33" y="141"/>
                </a:cubicBezTo>
                <a:cubicBezTo>
                  <a:pt x="33" y="146"/>
                  <a:pt x="32" y="149"/>
                  <a:pt x="31" y="149"/>
                </a:cubicBezTo>
                <a:cubicBezTo>
                  <a:pt x="30" y="149"/>
                  <a:pt x="27" y="145"/>
                  <a:pt x="20" y="136"/>
                </a:cubicBezTo>
                <a:cubicBezTo>
                  <a:pt x="22" y="136"/>
                  <a:pt x="23" y="135"/>
                  <a:pt x="24" y="134"/>
                </a:cubicBezTo>
                <a:cubicBezTo>
                  <a:pt x="24" y="61"/>
                  <a:pt x="24" y="61"/>
                  <a:pt x="24" y="61"/>
                </a:cubicBezTo>
                <a:cubicBezTo>
                  <a:pt x="20" y="61"/>
                  <a:pt x="20" y="61"/>
                  <a:pt x="20" y="61"/>
                </a:cubicBezTo>
                <a:cubicBezTo>
                  <a:pt x="11" y="61"/>
                  <a:pt x="5" y="61"/>
                  <a:pt x="3" y="62"/>
                </a:cubicBezTo>
                <a:cubicBezTo>
                  <a:pt x="0" y="54"/>
                  <a:pt x="0" y="54"/>
                  <a:pt x="0" y="54"/>
                </a:cubicBezTo>
                <a:cubicBezTo>
                  <a:pt x="0" y="54"/>
                  <a:pt x="0" y="54"/>
                  <a:pt x="0" y="54"/>
                </a:cubicBezTo>
                <a:close/>
                <a:moveTo>
                  <a:pt x="18" y="5"/>
                </a:moveTo>
                <a:cubicBezTo>
                  <a:pt x="23" y="7"/>
                  <a:pt x="27" y="11"/>
                  <a:pt x="30" y="15"/>
                </a:cubicBezTo>
                <a:cubicBezTo>
                  <a:pt x="33" y="18"/>
                  <a:pt x="35" y="20"/>
                  <a:pt x="36" y="23"/>
                </a:cubicBezTo>
                <a:cubicBezTo>
                  <a:pt x="37" y="25"/>
                  <a:pt x="38" y="27"/>
                  <a:pt x="38" y="29"/>
                </a:cubicBezTo>
                <a:cubicBezTo>
                  <a:pt x="38" y="33"/>
                  <a:pt x="36" y="34"/>
                  <a:pt x="33" y="34"/>
                </a:cubicBezTo>
                <a:cubicBezTo>
                  <a:pt x="32" y="34"/>
                  <a:pt x="31" y="34"/>
                  <a:pt x="31" y="34"/>
                </a:cubicBezTo>
                <a:cubicBezTo>
                  <a:pt x="31" y="33"/>
                  <a:pt x="30" y="32"/>
                  <a:pt x="29" y="29"/>
                </a:cubicBezTo>
                <a:cubicBezTo>
                  <a:pt x="27" y="25"/>
                  <a:pt x="26" y="20"/>
                  <a:pt x="24" y="17"/>
                </a:cubicBezTo>
                <a:cubicBezTo>
                  <a:pt x="22" y="14"/>
                  <a:pt x="19" y="11"/>
                  <a:pt x="16" y="7"/>
                </a:cubicBezTo>
                <a:cubicBezTo>
                  <a:pt x="18" y="5"/>
                  <a:pt x="18" y="5"/>
                  <a:pt x="18" y="5"/>
                </a:cubicBezTo>
                <a:cubicBezTo>
                  <a:pt x="18" y="5"/>
                  <a:pt x="18" y="5"/>
                  <a:pt x="18" y="5"/>
                </a:cubicBezTo>
                <a:close/>
                <a:moveTo>
                  <a:pt x="107" y="23"/>
                </a:moveTo>
                <a:cubicBezTo>
                  <a:pt x="106" y="20"/>
                  <a:pt x="103" y="18"/>
                  <a:pt x="98" y="16"/>
                </a:cubicBezTo>
                <a:cubicBezTo>
                  <a:pt x="98" y="16"/>
                  <a:pt x="98" y="16"/>
                  <a:pt x="93" y="23"/>
                </a:cubicBezTo>
                <a:cubicBezTo>
                  <a:pt x="93" y="23"/>
                  <a:pt x="93" y="23"/>
                  <a:pt x="76" y="23"/>
                </a:cubicBezTo>
                <a:cubicBezTo>
                  <a:pt x="80" y="19"/>
                  <a:pt x="83" y="14"/>
                  <a:pt x="85" y="9"/>
                </a:cubicBezTo>
                <a:cubicBezTo>
                  <a:pt x="90" y="9"/>
                  <a:pt x="94" y="9"/>
                  <a:pt x="94" y="7"/>
                </a:cubicBezTo>
                <a:cubicBezTo>
                  <a:pt x="94" y="5"/>
                  <a:pt x="88" y="3"/>
                  <a:pt x="77" y="0"/>
                </a:cubicBezTo>
                <a:cubicBezTo>
                  <a:pt x="77" y="6"/>
                  <a:pt x="76" y="10"/>
                  <a:pt x="76" y="14"/>
                </a:cubicBezTo>
                <a:cubicBezTo>
                  <a:pt x="75" y="16"/>
                  <a:pt x="74" y="20"/>
                  <a:pt x="73" y="23"/>
                </a:cubicBezTo>
                <a:cubicBezTo>
                  <a:pt x="73" y="23"/>
                  <a:pt x="73" y="23"/>
                  <a:pt x="70" y="23"/>
                </a:cubicBezTo>
                <a:cubicBezTo>
                  <a:pt x="70" y="23"/>
                  <a:pt x="70" y="23"/>
                  <a:pt x="60" y="18"/>
                </a:cubicBezTo>
                <a:cubicBezTo>
                  <a:pt x="60" y="18"/>
                  <a:pt x="60" y="18"/>
                  <a:pt x="60" y="98"/>
                </a:cubicBezTo>
                <a:cubicBezTo>
                  <a:pt x="54" y="98"/>
                  <a:pt x="49" y="98"/>
                  <a:pt x="45" y="97"/>
                </a:cubicBezTo>
                <a:cubicBezTo>
                  <a:pt x="45" y="97"/>
                  <a:pt x="45" y="97"/>
                  <a:pt x="48" y="105"/>
                </a:cubicBezTo>
                <a:cubicBezTo>
                  <a:pt x="50" y="104"/>
                  <a:pt x="56" y="104"/>
                  <a:pt x="65" y="104"/>
                </a:cubicBezTo>
                <a:cubicBezTo>
                  <a:pt x="65" y="104"/>
                  <a:pt x="65" y="104"/>
                  <a:pt x="87" y="104"/>
                </a:cubicBezTo>
                <a:cubicBezTo>
                  <a:pt x="83" y="111"/>
                  <a:pt x="79" y="116"/>
                  <a:pt x="75" y="122"/>
                </a:cubicBezTo>
                <a:cubicBezTo>
                  <a:pt x="71" y="127"/>
                  <a:pt x="66" y="132"/>
                  <a:pt x="61" y="136"/>
                </a:cubicBezTo>
                <a:cubicBezTo>
                  <a:pt x="56" y="142"/>
                  <a:pt x="49" y="148"/>
                  <a:pt x="40" y="154"/>
                </a:cubicBezTo>
                <a:cubicBezTo>
                  <a:pt x="40" y="154"/>
                  <a:pt x="40" y="154"/>
                  <a:pt x="42" y="156"/>
                </a:cubicBezTo>
                <a:cubicBezTo>
                  <a:pt x="51" y="151"/>
                  <a:pt x="60" y="145"/>
                  <a:pt x="66" y="141"/>
                </a:cubicBezTo>
                <a:cubicBezTo>
                  <a:pt x="72" y="135"/>
                  <a:pt x="78" y="129"/>
                  <a:pt x="84" y="123"/>
                </a:cubicBezTo>
                <a:cubicBezTo>
                  <a:pt x="87" y="119"/>
                  <a:pt x="91" y="113"/>
                  <a:pt x="94" y="107"/>
                </a:cubicBezTo>
                <a:cubicBezTo>
                  <a:pt x="94" y="107"/>
                  <a:pt x="94" y="107"/>
                  <a:pt x="94" y="143"/>
                </a:cubicBezTo>
                <a:cubicBezTo>
                  <a:pt x="94" y="145"/>
                  <a:pt x="94" y="148"/>
                  <a:pt x="92" y="148"/>
                </a:cubicBezTo>
                <a:cubicBezTo>
                  <a:pt x="92" y="149"/>
                  <a:pt x="89" y="149"/>
                  <a:pt x="87" y="149"/>
                </a:cubicBezTo>
                <a:cubicBezTo>
                  <a:pt x="82" y="149"/>
                  <a:pt x="77" y="148"/>
                  <a:pt x="71" y="146"/>
                </a:cubicBezTo>
                <a:cubicBezTo>
                  <a:pt x="71" y="146"/>
                  <a:pt x="71" y="146"/>
                  <a:pt x="71" y="150"/>
                </a:cubicBezTo>
                <a:cubicBezTo>
                  <a:pt x="75" y="151"/>
                  <a:pt x="78" y="152"/>
                  <a:pt x="81" y="153"/>
                </a:cubicBezTo>
                <a:cubicBezTo>
                  <a:pt x="83" y="154"/>
                  <a:pt x="85" y="155"/>
                  <a:pt x="87" y="156"/>
                </a:cubicBezTo>
                <a:cubicBezTo>
                  <a:pt x="87" y="157"/>
                  <a:pt x="87" y="158"/>
                  <a:pt x="87" y="159"/>
                </a:cubicBezTo>
                <a:cubicBezTo>
                  <a:pt x="87" y="159"/>
                  <a:pt x="87" y="159"/>
                  <a:pt x="88" y="163"/>
                </a:cubicBezTo>
                <a:cubicBezTo>
                  <a:pt x="89" y="163"/>
                  <a:pt x="92" y="162"/>
                  <a:pt x="94" y="161"/>
                </a:cubicBezTo>
                <a:cubicBezTo>
                  <a:pt x="96" y="159"/>
                  <a:pt x="98" y="158"/>
                  <a:pt x="99" y="156"/>
                </a:cubicBezTo>
                <a:cubicBezTo>
                  <a:pt x="101" y="154"/>
                  <a:pt x="102" y="151"/>
                  <a:pt x="102" y="147"/>
                </a:cubicBezTo>
                <a:cubicBezTo>
                  <a:pt x="102" y="147"/>
                  <a:pt x="102" y="147"/>
                  <a:pt x="102" y="31"/>
                </a:cubicBezTo>
                <a:cubicBezTo>
                  <a:pt x="107" y="28"/>
                  <a:pt x="109" y="26"/>
                  <a:pt x="109" y="25"/>
                </a:cubicBezTo>
                <a:cubicBezTo>
                  <a:pt x="109" y="25"/>
                  <a:pt x="109" y="24"/>
                  <a:pt x="107" y="23"/>
                </a:cubicBezTo>
                <a:close/>
                <a:moveTo>
                  <a:pt x="94" y="98"/>
                </a:moveTo>
                <a:cubicBezTo>
                  <a:pt x="94" y="98"/>
                  <a:pt x="94" y="98"/>
                  <a:pt x="68" y="98"/>
                </a:cubicBezTo>
                <a:cubicBezTo>
                  <a:pt x="68" y="78"/>
                  <a:pt x="68" y="78"/>
                  <a:pt x="68" y="78"/>
                </a:cubicBezTo>
                <a:cubicBezTo>
                  <a:pt x="68" y="78"/>
                  <a:pt x="68" y="78"/>
                  <a:pt x="94" y="78"/>
                </a:cubicBezTo>
                <a:cubicBezTo>
                  <a:pt x="94" y="78"/>
                  <a:pt x="94" y="78"/>
                  <a:pt x="94" y="98"/>
                </a:cubicBezTo>
                <a:close/>
                <a:moveTo>
                  <a:pt x="94" y="73"/>
                </a:moveTo>
                <a:cubicBezTo>
                  <a:pt x="94" y="73"/>
                  <a:pt x="94" y="73"/>
                  <a:pt x="68" y="73"/>
                </a:cubicBezTo>
                <a:cubicBezTo>
                  <a:pt x="68" y="52"/>
                  <a:pt x="68" y="52"/>
                  <a:pt x="68" y="52"/>
                </a:cubicBezTo>
                <a:cubicBezTo>
                  <a:pt x="68" y="52"/>
                  <a:pt x="68" y="52"/>
                  <a:pt x="94" y="52"/>
                </a:cubicBezTo>
                <a:cubicBezTo>
                  <a:pt x="94" y="52"/>
                  <a:pt x="94" y="52"/>
                  <a:pt x="94" y="73"/>
                </a:cubicBezTo>
                <a:close/>
                <a:moveTo>
                  <a:pt x="94" y="47"/>
                </a:moveTo>
                <a:cubicBezTo>
                  <a:pt x="94" y="47"/>
                  <a:pt x="94" y="47"/>
                  <a:pt x="68" y="47"/>
                </a:cubicBezTo>
                <a:cubicBezTo>
                  <a:pt x="68" y="28"/>
                  <a:pt x="68" y="28"/>
                  <a:pt x="68" y="28"/>
                </a:cubicBezTo>
                <a:cubicBezTo>
                  <a:pt x="68" y="28"/>
                  <a:pt x="68" y="28"/>
                  <a:pt x="94" y="28"/>
                </a:cubicBezTo>
                <a:cubicBezTo>
                  <a:pt x="94" y="28"/>
                  <a:pt x="94" y="28"/>
                  <a:pt x="94" y="47"/>
                </a:cubicBezTo>
                <a:close/>
                <a:moveTo>
                  <a:pt x="105" y="44"/>
                </a:moveTo>
                <a:cubicBezTo>
                  <a:pt x="110" y="45"/>
                  <a:pt x="117" y="46"/>
                  <a:pt x="126" y="46"/>
                </a:cubicBezTo>
                <a:cubicBezTo>
                  <a:pt x="138" y="46"/>
                  <a:pt x="138" y="46"/>
                  <a:pt x="138" y="46"/>
                </a:cubicBezTo>
                <a:cubicBezTo>
                  <a:pt x="138" y="16"/>
                  <a:pt x="138" y="16"/>
                  <a:pt x="138" y="16"/>
                </a:cubicBezTo>
                <a:cubicBezTo>
                  <a:pt x="138" y="9"/>
                  <a:pt x="137" y="5"/>
                  <a:pt x="137" y="2"/>
                </a:cubicBezTo>
                <a:cubicBezTo>
                  <a:pt x="143" y="3"/>
                  <a:pt x="149" y="5"/>
                  <a:pt x="154" y="7"/>
                </a:cubicBezTo>
                <a:cubicBezTo>
                  <a:pt x="155" y="7"/>
                  <a:pt x="156" y="7"/>
                  <a:pt x="156" y="8"/>
                </a:cubicBezTo>
                <a:cubicBezTo>
                  <a:pt x="156" y="9"/>
                  <a:pt x="155" y="10"/>
                  <a:pt x="154" y="11"/>
                </a:cubicBezTo>
                <a:cubicBezTo>
                  <a:pt x="151" y="12"/>
                  <a:pt x="149" y="12"/>
                  <a:pt x="146" y="13"/>
                </a:cubicBezTo>
                <a:cubicBezTo>
                  <a:pt x="146" y="46"/>
                  <a:pt x="146" y="46"/>
                  <a:pt x="146" y="46"/>
                </a:cubicBezTo>
                <a:cubicBezTo>
                  <a:pt x="147" y="46"/>
                  <a:pt x="147" y="46"/>
                  <a:pt x="147" y="46"/>
                </a:cubicBezTo>
                <a:cubicBezTo>
                  <a:pt x="154" y="38"/>
                  <a:pt x="154" y="38"/>
                  <a:pt x="154" y="38"/>
                </a:cubicBezTo>
                <a:cubicBezTo>
                  <a:pt x="158" y="41"/>
                  <a:pt x="161" y="44"/>
                  <a:pt x="164" y="47"/>
                </a:cubicBezTo>
                <a:cubicBezTo>
                  <a:pt x="165" y="47"/>
                  <a:pt x="165" y="47"/>
                  <a:pt x="165" y="48"/>
                </a:cubicBezTo>
                <a:cubicBezTo>
                  <a:pt x="165" y="50"/>
                  <a:pt x="165" y="52"/>
                  <a:pt x="163" y="52"/>
                </a:cubicBezTo>
                <a:cubicBezTo>
                  <a:pt x="146" y="52"/>
                  <a:pt x="146" y="52"/>
                  <a:pt x="146" y="52"/>
                </a:cubicBezTo>
                <a:cubicBezTo>
                  <a:pt x="146" y="146"/>
                  <a:pt x="146" y="146"/>
                  <a:pt x="146" y="146"/>
                </a:cubicBezTo>
                <a:cubicBezTo>
                  <a:pt x="146" y="150"/>
                  <a:pt x="145" y="153"/>
                  <a:pt x="143" y="155"/>
                </a:cubicBezTo>
                <a:cubicBezTo>
                  <a:pt x="142" y="157"/>
                  <a:pt x="141" y="159"/>
                  <a:pt x="138" y="160"/>
                </a:cubicBezTo>
                <a:cubicBezTo>
                  <a:pt x="136" y="161"/>
                  <a:pt x="134" y="162"/>
                  <a:pt x="132" y="162"/>
                </a:cubicBezTo>
                <a:cubicBezTo>
                  <a:pt x="132" y="159"/>
                  <a:pt x="132" y="159"/>
                  <a:pt x="132" y="159"/>
                </a:cubicBezTo>
                <a:cubicBezTo>
                  <a:pt x="132" y="157"/>
                  <a:pt x="131" y="156"/>
                  <a:pt x="130" y="156"/>
                </a:cubicBezTo>
                <a:cubicBezTo>
                  <a:pt x="130" y="154"/>
                  <a:pt x="127" y="153"/>
                  <a:pt x="124" y="152"/>
                </a:cubicBezTo>
                <a:cubicBezTo>
                  <a:pt x="121" y="151"/>
                  <a:pt x="117" y="150"/>
                  <a:pt x="113" y="150"/>
                </a:cubicBezTo>
                <a:cubicBezTo>
                  <a:pt x="113" y="145"/>
                  <a:pt x="113" y="145"/>
                  <a:pt x="113" y="145"/>
                </a:cubicBezTo>
                <a:cubicBezTo>
                  <a:pt x="119" y="148"/>
                  <a:pt x="125" y="148"/>
                  <a:pt x="131" y="148"/>
                </a:cubicBezTo>
                <a:cubicBezTo>
                  <a:pt x="134" y="148"/>
                  <a:pt x="135" y="148"/>
                  <a:pt x="136" y="148"/>
                </a:cubicBezTo>
                <a:cubicBezTo>
                  <a:pt x="137" y="147"/>
                  <a:pt x="138" y="145"/>
                  <a:pt x="138" y="142"/>
                </a:cubicBezTo>
                <a:cubicBezTo>
                  <a:pt x="138" y="52"/>
                  <a:pt x="138" y="52"/>
                  <a:pt x="138" y="52"/>
                </a:cubicBezTo>
                <a:cubicBezTo>
                  <a:pt x="126" y="52"/>
                  <a:pt x="126" y="52"/>
                  <a:pt x="126" y="52"/>
                </a:cubicBezTo>
                <a:cubicBezTo>
                  <a:pt x="118" y="52"/>
                  <a:pt x="112" y="52"/>
                  <a:pt x="109" y="52"/>
                </a:cubicBezTo>
                <a:cubicBezTo>
                  <a:pt x="105" y="44"/>
                  <a:pt x="105" y="44"/>
                  <a:pt x="105" y="44"/>
                </a:cubicBezTo>
                <a:cubicBezTo>
                  <a:pt x="105" y="44"/>
                  <a:pt x="105" y="44"/>
                  <a:pt x="105" y="44"/>
                </a:cubicBezTo>
                <a:close/>
                <a:moveTo>
                  <a:pt x="113" y="70"/>
                </a:moveTo>
                <a:cubicBezTo>
                  <a:pt x="117" y="75"/>
                  <a:pt x="121" y="80"/>
                  <a:pt x="123" y="85"/>
                </a:cubicBezTo>
                <a:cubicBezTo>
                  <a:pt x="125" y="88"/>
                  <a:pt x="127" y="92"/>
                  <a:pt x="127" y="96"/>
                </a:cubicBezTo>
                <a:cubicBezTo>
                  <a:pt x="129" y="99"/>
                  <a:pt x="130" y="101"/>
                  <a:pt x="130" y="104"/>
                </a:cubicBezTo>
                <a:cubicBezTo>
                  <a:pt x="130" y="105"/>
                  <a:pt x="129" y="107"/>
                  <a:pt x="128" y="108"/>
                </a:cubicBezTo>
                <a:cubicBezTo>
                  <a:pt x="127" y="110"/>
                  <a:pt x="126" y="110"/>
                  <a:pt x="125" y="110"/>
                </a:cubicBezTo>
                <a:cubicBezTo>
                  <a:pt x="124" y="110"/>
                  <a:pt x="123" y="110"/>
                  <a:pt x="122" y="110"/>
                </a:cubicBezTo>
                <a:cubicBezTo>
                  <a:pt x="121" y="108"/>
                  <a:pt x="121" y="107"/>
                  <a:pt x="121" y="105"/>
                </a:cubicBezTo>
                <a:cubicBezTo>
                  <a:pt x="120" y="97"/>
                  <a:pt x="119" y="91"/>
                  <a:pt x="118" y="87"/>
                </a:cubicBezTo>
                <a:cubicBezTo>
                  <a:pt x="116" y="83"/>
                  <a:pt x="114" y="78"/>
                  <a:pt x="111" y="72"/>
                </a:cubicBezTo>
                <a:cubicBezTo>
                  <a:pt x="113" y="70"/>
                  <a:pt x="113" y="70"/>
                  <a:pt x="113" y="70"/>
                </a:cubicBezTo>
                <a:cubicBezTo>
                  <a:pt x="113" y="70"/>
                  <a:pt x="113" y="70"/>
                  <a:pt x="113" y="70"/>
                </a:cubicBezTo>
                <a:close/>
                <a:moveTo>
                  <a:pt x="179" y="54"/>
                </a:moveTo>
                <a:cubicBezTo>
                  <a:pt x="184" y="56"/>
                  <a:pt x="190" y="56"/>
                  <a:pt x="199" y="56"/>
                </a:cubicBezTo>
                <a:cubicBezTo>
                  <a:pt x="201" y="56"/>
                  <a:pt x="201" y="56"/>
                  <a:pt x="201" y="56"/>
                </a:cubicBezTo>
                <a:cubicBezTo>
                  <a:pt x="208" y="48"/>
                  <a:pt x="208" y="48"/>
                  <a:pt x="208" y="48"/>
                </a:cubicBezTo>
                <a:cubicBezTo>
                  <a:pt x="212" y="51"/>
                  <a:pt x="215" y="54"/>
                  <a:pt x="217" y="56"/>
                </a:cubicBezTo>
                <a:cubicBezTo>
                  <a:pt x="217" y="57"/>
                  <a:pt x="218" y="58"/>
                  <a:pt x="218" y="58"/>
                </a:cubicBezTo>
                <a:cubicBezTo>
                  <a:pt x="218" y="59"/>
                  <a:pt x="215" y="61"/>
                  <a:pt x="210" y="64"/>
                </a:cubicBezTo>
                <a:cubicBezTo>
                  <a:pt x="210" y="130"/>
                  <a:pt x="210" y="130"/>
                  <a:pt x="210" y="130"/>
                </a:cubicBezTo>
                <a:cubicBezTo>
                  <a:pt x="213" y="128"/>
                  <a:pt x="214" y="127"/>
                  <a:pt x="215" y="126"/>
                </a:cubicBezTo>
                <a:cubicBezTo>
                  <a:pt x="222" y="121"/>
                  <a:pt x="226" y="118"/>
                  <a:pt x="229" y="114"/>
                </a:cubicBezTo>
                <a:cubicBezTo>
                  <a:pt x="230" y="117"/>
                  <a:pt x="230" y="117"/>
                  <a:pt x="230" y="117"/>
                </a:cubicBezTo>
                <a:cubicBezTo>
                  <a:pt x="228" y="121"/>
                  <a:pt x="225" y="125"/>
                  <a:pt x="222" y="128"/>
                </a:cubicBezTo>
                <a:cubicBezTo>
                  <a:pt x="219" y="133"/>
                  <a:pt x="215" y="137"/>
                  <a:pt x="212" y="141"/>
                </a:cubicBezTo>
                <a:cubicBezTo>
                  <a:pt x="212" y="146"/>
                  <a:pt x="211" y="149"/>
                  <a:pt x="210" y="149"/>
                </a:cubicBezTo>
                <a:cubicBezTo>
                  <a:pt x="209" y="149"/>
                  <a:pt x="206" y="145"/>
                  <a:pt x="199" y="136"/>
                </a:cubicBezTo>
                <a:cubicBezTo>
                  <a:pt x="201" y="136"/>
                  <a:pt x="202" y="135"/>
                  <a:pt x="203" y="134"/>
                </a:cubicBezTo>
                <a:cubicBezTo>
                  <a:pt x="203" y="61"/>
                  <a:pt x="203" y="61"/>
                  <a:pt x="203" y="61"/>
                </a:cubicBezTo>
                <a:cubicBezTo>
                  <a:pt x="199" y="61"/>
                  <a:pt x="199" y="61"/>
                  <a:pt x="199" y="61"/>
                </a:cubicBezTo>
                <a:cubicBezTo>
                  <a:pt x="190" y="61"/>
                  <a:pt x="184" y="61"/>
                  <a:pt x="182" y="62"/>
                </a:cubicBezTo>
                <a:cubicBezTo>
                  <a:pt x="179" y="54"/>
                  <a:pt x="179" y="54"/>
                  <a:pt x="179" y="54"/>
                </a:cubicBezTo>
                <a:cubicBezTo>
                  <a:pt x="179" y="54"/>
                  <a:pt x="179" y="54"/>
                  <a:pt x="179" y="54"/>
                </a:cubicBezTo>
                <a:close/>
                <a:moveTo>
                  <a:pt x="197" y="5"/>
                </a:moveTo>
                <a:cubicBezTo>
                  <a:pt x="202" y="7"/>
                  <a:pt x="206" y="11"/>
                  <a:pt x="209" y="15"/>
                </a:cubicBezTo>
                <a:cubicBezTo>
                  <a:pt x="212" y="18"/>
                  <a:pt x="214" y="20"/>
                  <a:pt x="215" y="23"/>
                </a:cubicBezTo>
                <a:cubicBezTo>
                  <a:pt x="216" y="25"/>
                  <a:pt x="217" y="27"/>
                  <a:pt x="217" y="29"/>
                </a:cubicBezTo>
                <a:cubicBezTo>
                  <a:pt x="217" y="33"/>
                  <a:pt x="215" y="34"/>
                  <a:pt x="212" y="34"/>
                </a:cubicBezTo>
                <a:cubicBezTo>
                  <a:pt x="211" y="34"/>
                  <a:pt x="210" y="34"/>
                  <a:pt x="210" y="34"/>
                </a:cubicBezTo>
                <a:cubicBezTo>
                  <a:pt x="209" y="33"/>
                  <a:pt x="209" y="32"/>
                  <a:pt x="208" y="29"/>
                </a:cubicBezTo>
                <a:cubicBezTo>
                  <a:pt x="206" y="25"/>
                  <a:pt x="205" y="20"/>
                  <a:pt x="203" y="17"/>
                </a:cubicBezTo>
                <a:cubicBezTo>
                  <a:pt x="201" y="14"/>
                  <a:pt x="198" y="11"/>
                  <a:pt x="195" y="7"/>
                </a:cubicBezTo>
                <a:cubicBezTo>
                  <a:pt x="197" y="5"/>
                  <a:pt x="197" y="5"/>
                  <a:pt x="197" y="5"/>
                </a:cubicBezTo>
                <a:cubicBezTo>
                  <a:pt x="197" y="5"/>
                  <a:pt x="197" y="5"/>
                  <a:pt x="197" y="5"/>
                </a:cubicBezTo>
                <a:close/>
                <a:moveTo>
                  <a:pt x="286" y="23"/>
                </a:moveTo>
                <a:cubicBezTo>
                  <a:pt x="285" y="20"/>
                  <a:pt x="282" y="18"/>
                  <a:pt x="277" y="16"/>
                </a:cubicBezTo>
                <a:cubicBezTo>
                  <a:pt x="277" y="16"/>
                  <a:pt x="277" y="16"/>
                  <a:pt x="272" y="23"/>
                </a:cubicBezTo>
                <a:cubicBezTo>
                  <a:pt x="272" y="23"/>
                  <a:pt x="272" y="23"/>
                  <a:pt x="255" y="23"/>
                </a:cubicBezTo>
                <a:cubicBezTo>
                  <a:pt x="259" y="19"/>
                  <a:pt x="261" y="14"/>
                  <a:pt x="263" y="9"/>
                </a:cubicBezTo>
                <a:cubicBezTo>
                  <a:pt x="269" y="9"/>
                  <a:pt x="273" y="9"/>
                  <a:pt x="273" y="7"/>
                </a:cubicBezTo>
                <a:cubicBezTo>
                  <a:pt x="273" y="5"/>
                  <a:pt x="267" y="3"/>
                  <a:pt x="256" y="0"/>
                </a:cubicBezTo>
                <a:cubicBezTo>
                  <a:pt x="256" y="6"/>
                  <a:pt x="255" y="10"/>
                  <a:pt x="255" y="14"/>
                </a:cubicBezTo>
                <a:cubicBezTo>
                  <a:pt x="254" y="16"/>
                  <a:pt x="253" y="20"/>
                  <a:pt x="251" y="23"/>
                </a:cubicBezTo>
                <a:cubicBezTo>
                  <a:pt x="251" y="23"/>
                  <a:pt x="251" y="23"/>
                  <a:pt x="249" y="23"/>
                </a:cubicBezTo>
                <a:cubicBezTo>
                  <a:pt x="249" y="23"/>
                  <a:pt x="249" y="23"/>
                  <a:pt x="239" y="18"/>
                </a:cubicBezTo>
                <a:cubicBezTo>
                  <a:pt x="239" y="18"/>
                  <a:pt x="239" y="18"/>
                  <a:pt x="239" y="98"/>
                </a:cubicBezTo>
                <a:cubicBezTo>
                  <a:pt x="233" y="98"/>
                  <a:pt x="228" y="98"/>
                  <a:pt x="224" y="97"/>
                </a:cubicBezTo>
                <a:cubicBezTo>
                  <a:pt x="224" y="97"/>
                  <a:pt x="224" y="97"/>
                  <a:pt x="227" y="105"/>
                </a:cubicBezTo>
                <a:cubicBezTo>
                  <a:pt x="229" y="104"/>
                  <a:pt x="235" y="104"/>
                  <a:pt x="244" y="104"/>
                </a:cubicBezTo>
                <a:cubicBezTo>
                  <a:pt x="244" y="104"/>
                  <a:pt x="244" y="104"/>
                  <a:pt x="266" y="104"/>
                </a:cubicBezTo>
                <a:cubicBezTo>
                  <a:pt x="262" y="111"/>
                  <a:pt x="258" y="116"/>
                  <a:pt x="254" y="122"/>
                </a:cubicBezTo>
                <a:cubicBezTo>
                  <a:pt x="250" y="127"/>
                  <a:pt x="245" y="132"/>
                  <a:pt x="240" y="136"/>
                </a:cubicBezTo>
                <a:cubicBezTo>
                  <a:pt x="235" y="142"/>
                  <a:pt x="228" y="148"/>
                  <a:pt x="219" y="154"/>
                </a:cubicBezTo>
                <a:cubicBezTo>
                  <a:pt x="219" y="154"/>
                  <a:pt x="219" y="154"/>
                  <a:pt x="221" y="156"/>
                </a:cubicBezTo>
                <a:cubicBezTo>
                  <a:pt x="230" y="151"/>
                  <a:pt x="239" y="145"/>
                  <a:pt x="245" y="141"/>
                </a:cubicBezTo>
                <a:cubicBezTo>
                  <a:pt x="251" y="135"/>
                  <a:pt x="257" y="129"/>
                  <a:pt x="262" y="123"/>
                </a:cubicBezTo>
                <a:cubicBezTo>
                  <a:pt x="266" y="119"/>
                  <a:pt x="270" y="113"/>
                  <a:pt x="273" y="107"/>
                </a:cubicBezTo>
                <a:cubicBezTo>
                  <a:pt x="273" y="107"/>
                  <a:pt x="273" y="107"/>
                  <a:pt x="273" y="143"/>
                </a:cubicBezTo>
                <a:cubicBezTo>
                  <a:pt x="273" y="145"/>
                  <a:pt x="273" y="148"/>
                  <a:pt x="271" y="148"/>
                </a:cubicBezTo>
                <a:cubicBezTo>
                  <a:pt x="271" y="149"/>
                  <a:pt x="268" y="149"/>
                  <a:pt x="266" y="149"/>
                </a:cubicBezTo>
                <a:cubicBezTo>
                  <a:pt x="261" y="149"/>
                  <a:pt x="255" y="148"/>
                  <a:pt x="250" y="146"/>
                </a:cubicBezTo>
                <a:cubicBezTo>
                  <a:pt x="250" y="146"/>
                  <a:pt x="250" y="146"/>
                  <a:pt x="250" y="150"/>
                </a:cubicBezTo>
                <a:cubicBezTo>
                  <a:pt x="254" y="151"/>
                  <a:pt x="257" y="152"/>
                  <a:pt x="260" y="153"/>
                </a:cubicBezTo>
                <a:cubicBezTo>
                  <a:pt x="262" y="154"/>
                  <a:pt x="264" y="155"/>
                  <a:pt x="266" y="156"/>
                </a:cubicBezTo>
                <a:cubicBezTo>
                  <a:pt x="266" y="157"/>
                  <a:pt x="266" y="158"/>
                  <a:pt x="266" y="159"/>
                </a:cubicBezTo>
                <a:cubicBezTo>
                  <a:pt x="266" y="159"/>
                  <a:pt x="266" y="159"/>
                  <a:pt x="267" y="163"/>
                </a:cubicBezTo>
                <a:cubicBezTo>
                  <a:pt x="268" y="163"/>
                  <a:pt x="271" y="162"/>
                  <a:pt x="273" y="161"/>
                </a:cubicBezTo>
                <a:cubicBezTo>
                  <a:pt x="275" y="159"/>
                  <a:pt x="277" y="158"/>
                  <a:pt x="278" y="156"/>
                </a:cubicBezTo>
                <a:cubicBezTo>
                  <a:pt x="280" y="154"/>
                  <a:pt x="281" y="151"/>
                  <a:pt x="281" y="147"/>
                </a:cubicBezTo>
                <a:cubicBezTo>
                  <a:pt x="281" y="147"/>
                  <a:pt x="281" y="147"/>
                  <a:pt x="281" y="31"/>
                </a:cubicBezTo>
                <a:cubicBezTo>
                  <a:pt x="286" y="28"/>
                  <a:pt x="288" y="26"/>
                  <a:pt x="288" y="25"/>
                </a:cubicBezTo>
                <a:cubicBezTo>
                  <a:pt x="288" y="25"/>
                  <a:pt x="288" y="24"/>
                  <a:pt x="286" y="23"/>
                </a:cubicBezTo>
                <a:close/>
                <a:moveTo>
                  <a:pt x="273" y="98"/>
                </a:moveTo>
                <a:cubicBezTo>
                  <a:pt x="273" y="98"/>
                  <a:pt x="273" y="98"/>
                  <a:pt x="247" y="98"/>
                </a:cubicBezTo>
                <a:cubicBezTo>
                  <a:pt x="247" y="78"/>
                  <a:pt x="247" y="78"/>
                  <a:pt x="247" y="78"/>
                </a:cubicBezTo>
                <a:cubicBezTo>
                  <a:pt x="247" y="78"/>
                  <a:pt x="247" y="78"/>
                  <a:pt x="273" y="78"/>
                </a:cubicBezTo>
                <a:cubicBezTo>
                  <a:pt x="273" y="78"/>
                  <a:pt x="273" y="78"/>
                  <a:pt x="273" y="98"/>
                </a:cubicBezTo>
                <a:close/>
                <a:moveTo>
                  <a:pt x="273" y="73"/>
                </a:moveTo>
                <a:cubicBezTo>
                  <a:pt x="273" y="73"/>
                  <a:pt x="273" y="73"/>
                  <a:pt x="247" y="73"/>
                </a:cubicBezTo>
                <a:cubicBezTo>
                  <a:pt x="247" y="52"/>
                  <a:pt x="247" y="52"/>
                  <a:pt x="247" y="52"/>
                </a:cubicBezTo>
                <a:cubicBezTo>
                  <a:pt x="247" y="52"/>
                  <a:pt x="247" y="52"/>
                  <a:pt x="273" y="52"/>
                </a:cubicBezTo>
                <a:cubicBezTo>
                  <a:pt x="273" y="52"/>
                  <a:pt x="273" y="52"/>
                  <a:pt x="273" y="73"/>
                </a:cubicBezTo>
                <a:close/>
                <a:moveTo>
                  <a:pt x="273" y="47"/>
                </a:moveTo>
                <a:cubicBezTo>
                  <a:pt x="273" y="47"/>
                  <a:pt x="273" y="47"/>
                  <a:pt x="247" y="47"/>
                </a:cubicBezTo>
                <a:cubicBezTo>
                  <a:pt x="247" y="28"/>
                  <a:pt x="247" y="28"/>
                  <a:pt x="247" y="28"/>
                </a:cubicBezTo>
                <a:cubicBezTo>
                  <a:pt x="247" y="28"/>
                  <a:pt x="247" y="28"/>
                  <a:pt x="273" y="28"/>
                </a:cubicBezTo>
                <a:cubicBezTo>
                  <a:pt x="273" y="28"/>
                  <a:pt x="273" y="28"/>
                  <a:pt x="273" y="47"/>
                </a:cubicBezTo>
                <a:close/>
                <a:moveTo>
                  <a:pt x="284" y="44"/>
                </a:moveTo>
                <a:cubicBezTo>
                  <a:pt x="289" y="45"/>
                  <a:pt x="296" y="46"/>
                  <a:pt x="305" y="46"/>
                </a:cubicBezTo>
                <a:cubicBezTo>
                  <a:pt x="317" y="46"/>
                  <a:pt x="317" y="46"/>
                  <a:pt x="317" y="46"/>
                </a:cubicBezTo>
                <a:cubicBezTo>
                  <a:pt x="317" y="16"/>
                  <a:pt x="317" y="16"/>
                  <a:pt x="317" y="16"/>
                </a:cubicBezTo>
                <a:cubicBezTo>
                  <a:pt x="317" y="9"/>
                  <a:pt x="316" y="5"/>
                  <a:pt x="316" y="2"/>
                </a:cubicBezTo>
                <a:cubicBezTo>
                  <a:pt x="322" y="3"/>
                  <a:pt x="328" y="5"/>
                  <a:pt x="333" y="7"/>
                </a:cubicBezTo>
                <a:cubicBezTo>
                  <a:pt x="334" y="7"/>
                  <a:pt x="335" y="7"/>
                  <a:pt x="335" y="8"/>
                </a:cubicBezTo>
                <a:cubicBezTo>
                  <a:pt x="335" y="9"/>
                  <a:pt x="334" y="10"/>
                  <a:pt x="333" y="11"/>
                </a:cubicBezTo>
                <a:cubicBezTo>
                  <a:pt x="330" y="12"/>
                  <a:pt x="328" y="12"/>
                  <a:pt x="325" y="13"/>
                </a:cubicBezTo>
                <a:cubicBezTo>
                  <a:pt x="325" y="46"/>
                  <a:pt x="325" y="46"/>
                  <a:pt x="325" y="46"/>
                </a:cubicBezTo>
                <a:cubicBezTo>
                  <a:pt x="326" y="46"/>
                  <a:pt x="326" y="46"/>
                  <a:pt x="326" y="46"/>
                </a:cubicBezTo>
                <a:cubicBezTo>
                  <a:pt x="333" y="38"/>
                  <a:pt x="333" y="38"/>
                  <a:pt x="333" y="38"/>
                </a:cubicBezTo>
                <a:cubicBezTo>
                  <a:pt x="336" y="41"/>
                  <a:pt x="340" y="44"/>
                  <a:pt x="343" y="47"/>
                </a:cubicBezTo>
                <a:cubicBezTo>
                  <a:pt x="344" y="47"/>
                  <a:pt x="344" y="47"/>
                  <a:pt x="344" y="48"/>
                </a:cubicBezTo>
                <a:cubicBezTo>
                  <a:pt x="344" y="50"/>
                  <a:pt x="344" y="52"/>
                  <a:pt x="342" y="52"/>
                </a:cubicBezTo>
                <a:cubicBezTo>
                  <a:pt x="325" y="52"/>
                  <a:pt x="325" y="52"/>
                  <a:pt x="325" y="52"/>
                </a:cubicBezTo>
                <a:cubicBezTo>
                  <a:pt x="325" y="146"/>
                  <a:pt x="325" y="146"/>
                  <a:pt x="325" y="146"/>
                </a:cubicBezTo>
                <a:cubicBezTo>
                  <a:pt x="325" y="150"/>
                  <a:pt x="324" y="153"/>
                  <a:pt x="322" y="155"/>
                </a:cubicBezTo>
                <a:cubicBezTo>
                  <a:pt x="321" y="157"/>
                  <a:pt x="320" y="159"/>
                  <a:pt x="317" y="160"/>
                </a:cubicBezTo>
                <a:cubicBezTo>
                  <a:pt x="315" y="161"/>
                  <a:pt x="313" y="162"/>
                  <a:pt x="311" y="162"/>
                </a:cubicBezTo>
                <a:cubicBezTo>
                  <a:pt x="311" y="159"/>
                  <a:pt x="311" y="159"/>
                  <a:pt x="311" y="159"/>
                </a:cubicBezTo>
                <a:cubicBezTo>
                  <a:pt x="311" y="157"/>
                  <a:pt x="310" y="156"/>
                  <a:pt x="309" y="156"/>
                </a:cubicBezTo>
                <a:cubicBezTo>
                  <a:pt x="308" y="154"/>
                  <a:pt x="306" y="153"/>
                  <a:pt x="303" y="152"/>
                </a:cubicBezTo>
                <a:cubicBezTo>
                  <a:pt x="300" y="151"/>
                  <a:pt x="296" y="150"/>
                  <a:pt x="292" y="150"/>
                </a:cubicBezTo>
                <a:cubicBezTo>
                  <a:pt x="292" y="145"/>
                  <a:pt x="292" y="145"/>
                  <a:pt x="292" y="145"/>
                </a:cubicBezTo>
                <a:cubicBezTo>
                  <a:pt x="298" y="148"/>
                  <a:pt x="304" y="148"/>
                  <a:pt x="309" y="148"/>
                </a:cubicBezTo>
                <a:cubicBezTo>
                  <a:pt x="313" y="148"/>
                  <a:pt x="314" y="148"/>
                  <a:pt x="315" y="148"/>
                </a:cubicBezTo>
                <a:cubicBezTo>
                  <a:pt x="316" y="147"/>
                  <a:pt x="317" y="145"/>
                  <a:pt x="317" y="142"/>
                </a:cubicBezTo>
                <a:cubicBezTo>
                  <a:pt x="317" y="52"/>
                  <a:pt x="317" y="52"/>
                  <a:pt x="317" y="52"/>
                </a:cubicBezTo>
                <a:cubicBezTo>
                  <a:pt x="305" y="52"/>
                  <a:pt x="305" y="52"/>
                  <a:pt x="305" y="52"/>
                </a:cubicBezTo>
                <a:cubicBezTo>
                  <a:pt x="297" y="52"/>
                  <a:pt x="291" y="52"/>
                  <a:pt x="288" y="52"/>
                </a:cubicBezTo>
                <a:cubicBezTo>
                  <a:pt x="284" y="44"/>
                  <a:pt x="284" y="44"/>
                  <a:pt x="284" y="44"/>
                </a:cubicBezTo>
                <a:cubicBezTo>
                  <a:pt x="284" y="44"/>
                  <a:pt x="284" y="44"/>
                  <a:pt x="284" y="44"/>
                </a:cubicBezTo>
                <a:close/>
                <a:moveTo>
                  <a:pt x="292" y="70"/>
                </a:moveTo>
                <a:cubicBezTo>
                  <a:pt x="296" y="75"/>
                  <a:pt x="300" y="80"/>
                  <a:pt x="302" y="85"/>
                </a:cubicBezTo>
                <a:cubicBezTo>
                  <a:pt x="304" y="88"/>
                  <a:pt x="306" y="92"/>
                  <a:pt x="306" y="96"/>
                </a:cubicBezTo>
                <a:cubicBezTo>
                  <a:pt x="308" y="99"/>
                  <a:pt x="308" y="101"/>
                  <a:pt x="308" y="104"/>
                </a:cubicBezTo>
                <a:cubicBezTo>
                  <a:pt x="308" y="105"/>
                  <a:pt x="308" y="107"/>
                  <a:pt x="307" y="108"/>
                </a:cubicBezTo>
                <a:cubicBezTo>
                  <a:pt x="306" y="110"/>
                  <a:pt x="305" y="110"/>
                  <a:pt x="304" y="110"/>
                </a:cubicBezTo>
                <a:cubicBezTo>
                  <a:pt x="303" y="110"/>
                  <a:pt x="302" y="110"/>
                  <a:pt x="301" y="110"/>
                </a:cubicBezTo>
                <a:cubicBezTo>
                  <a:pt x="300" y="108"/>
                  <a:pt x="300" y="107"/>
                  <a:pt x="300" y="105"/>
                </a:cubicBezTo>
                <a:cubicBezTo>
                  <a:pt x="299" y="97"/>
                  <a:pt x="298" y="91"/>
                  <a:pt x="297" y="87"/>
                </a:cubicBezTo>
                <a:cubicBezTo>
                  <a:pt x="295" y="83"/>
                  <a:pt x="293" y="78"/>
                  <a:pt x="290" y="72"/>
                </a:cubicBezTo>
                <a:cubicBezTo>
                  <a:pt x="292" y="70"/>
                  <a:pt x="292" y="70"/>
                  <a:pt x="292" y="70"/>
                </a:cubicBezTo>
                <a:cubicBezTo>
                  <a:pt x="292" y="70"/>
                  <a:pt x="292" y="70"/>
                  <a:pt x="292" y="7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0" name="Freeform 231">
            <a:extLst>
              <a:ext uri="{FF2B5EF4-FFF2-40B4-BE49-F238E27FC236}">
                <a16:creationId xmlns:a16="http://schemas.microsoft.com/office/drawing/2014/main" id="{4ED1D945-1CE5-0481-01F4-6935969EE8FC}"/>
              </a:ext>
              <a:ext uri="{C183D7F6-B498-43B3-948B-1728B52AA6E4}">
                <adec:decorative xmlns:adec="http://schemas.microsoft.com/office/drawing/2017/decorative" val="1"/>
              </a:ext>
            </a:extLst>
          </p:cNvPr>
          <p:cNvSpPr>
            <a:spLocks noEditPoints="1"/>
          </p:cNvSpPr>
          <p:nvPr userDrawn="1"/>
        </p:nvSpPr>
        <p:spPr bwMode="auto">
          <a:xfrm>
            <a:off x="9134749" y="2706701"/>
            <a:ext cx="1791752" cy="319999"/>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1" name="Freeform 232">
            <a:extLst>
              <a:ext uri="{FF2B5EF4-FFF2-40B4-BE49-F238E27FC236}">
                <a16:creationId xmlns:a16="http://schemas.microsoft.com/office/drawing/2014/main" id="{4BF1E11E-F659-2C2B-407F-37E96EA5508A}"/>
              </a:ext>
              <a:ext uri="{C183D7F6-B498-43B3-948B-1728B52AA6E4}">
                <adec:decorative xmlns:adec="http://schemas.microsoft.com/office/drawing/2017/decorative" val="1"/>
              </a:ext>
            </a:extLst>
          </p:cNvPr>
          <p:cNvSpPr>
            <a:spLocks noEditPoints="1"/>
          </p:cNvSpPr>
          <p:nvPr userDrawn="1"/>
        </p:nvSpPr>
        <p:spPr bwMode="auto">
          <a:xfrm>
            <a:off x="6815645" y="2421951"/>
            <a:ext cx="1950999" cy="233759"/>
          </a:xfrm>
          <a:custGeom>
            <a:avLst/>
            <a:gdLst>
              <a:gd name="T0" fmla="*/ 21 w 642"/>
              <a:gd name="T1" fmla="*/ 76 h 77"/>
              <a:gd name="T2" fmla="*/ 0 w 642"/>
              <a:gd name="T3" fmla="*/ 1 h 77"/>
              <a:gd name="T4" fmla="*/ 27 w 642"/>
              <a:gd name="T5" fmla="*/ 6 h 77"/>
              <a:gd name="T6" fmla="*/ 96 w 642"/>
              <a:gd name="T7" fmla="*/ 1 h 77"/>
              <a:gd name="T8" fmla="*/ 66 w 642"/>
              <a:gd name="T9" fmla="*/ 36 h 77"/>
              <a:gd name="T10" fmla="*/ 66 w 642"/>
              <a:gd name="T11" fmla="*/ 40 h 77"/>
              <a:gd name="T12" fmla="*/ 98 w 642"/>
              <a:gd name="T13" fmla="*/ 76 h 77"/>
              <a:gd name="T14" fmla="*/ 139 w 642"/>
              <a:gd name="T15" fmla="*/ 41 h 77"/>
              <a:gd name="T16" fmla="*/ 157 w 642"/>
              <a:gd name="T17" fmla="*/ 20 h 77"/>
              <a:gd name="T18" fmla="*/ 115 w 642"/>
              <a:gd name="T19" fmla="*/ 1 h 77"/>
              <a:gd name="T20" fmla="*/ 120 w 642"/>
              <a:gd name="T21" fmla="*/ 43 h 77"/>
              <a:gd name="T22" fmla="*/ 143 w 642"/>
              <a:gd name="T23" fmla="*/ 54 h 77"/>
              <a:gd name="T24" fmla="*/ 148 w 642"/>
              <a:gd name="T25" fmla="*/ 52 h 77"/>
              <a:gd name="T26" fmla="*/ 120 w 642"/>
              <a:gd name="T27" fmla="*/ 6 h 77"/>
              <a:gd name="T28" fmla="*/ 152 w 642"/>
              <a:gd name="T29" fmla="*/ 21 h 77"/>
              <a:gd name="T30" fmla="*/ 175 w 642"/>
              <a:gd name="T31" fmla="*/ 76 h 77"/>
              <a:gd name="T32" fmla="*/ 180 w 642"/>
              <a:gd name="T33" fmla="*/ 76 h 77"/>
              <a:gd name="T34" fmla="*/ 264 w 642"/>
              <a:gd name="T35" fmla="*/ 23 h 77"/>
              <a:gd name="T36" fmla="*/ 262 w 642"/>
              <a:gd name="T37" fmla="*/ 18 h 77"/>
              <a:gd name="T38" fmla="*/ 207 w 642"/>
              <a:gd name="T39" fmla="*/ 18 h 77"/>
              <a:gd name="T40" fmla="*/ 204 w 642"/>
              <a:gd name="T41" fmla="*/ 21 h 77"/>
              <a:gd name="T42" fmla="*/ 199 w 642"/>
              <a:gd name="T43" fmla="*/ 1 h 77"/>
              <a:gd name="T44" fmla="*/ 233 w 642"/>
              <a:gd name="T45" fmla="*/ 63 h 77"/>
              <a:gd name="T46" fmla="*/ 235 w 642"/>
              <a:gd name="T47" fmla="*/ 68 h 77"/>
              <a:gd name="T48" fmla="*/ 265 w 642"/>
              <a:gd name="T49" fmla="*/ 1 h 77"/>
              <a:gd name="T50" fmla="*/ 264 w 642"/>
              <a:gd name="T51" fmla="*/ 76 h 77"/>
              <a:gd name="T52" fmla="*/ 282 w 642"/>
              <a:gd name="T53" fmla="*/ 76 h 77"/>
              <a:gd name="T54" fmla="*/ 329 w 642"/>
              <a:gd name="T55" fmla="*/ 53 h 77"/>
              <a:gd name="T56" fmla="*/ 316 w 642"/>
              <a:gd name="T57" fmla="*/ 1 h 77"/>
              <a:gd name="T58" fmla="*/ 313 w 642"/>
              <a:gd name="T59" fmla="*/ 7 h 77"/>
              <a:gd name="T60" fmla="*/ 315 w 642"/>
              <a:gd name="T61" fmla="*/ 13 h 77"/>
              <a:gd name="T62" fmla="*/ 425 w 642"/>
              <a:gd name="T63" fmla="*/ 76 h 77"/>
              <a:gd name="T64" fmla="*/ 391 w 642"/>
              <a:gd name="T65" fmla="*/ 38 h 77"/>
              <a:gd name="T66" fmla="*/ 386 w 642"/>
              <a:gd name="T67" fmla="*/ 1 h 77"/>
              <a:gd name="T68" fmla="*/ 391 w 642"/>
              <a:gd name="T69" fmla="*/ 36 h 77"/>
              <a:gd name="T70" fmla="*/ 430 w 642"/>
              <a:gd name="T71" fmla="*/ 1 h 77"/>
              <a:gd name="T72" fmla="*/ 425 w 642"/>
              <a:gd name="T73" fmla="*/ 76 h 77"/>
              <a:gd name="T74" fmla="*/ 436 w 642"/>
              <a:gd name="T75" fmla="*/ 76 h 77"/>
              <a:gd name="T76" fmla="*/ 483 w 642"/>
              <a:gd name="T77" fmla="*/ 53 h 77"/>
              <a:gd name="T78" fmla="*/ 469 w 642"/>
              <a:gd name="T79" fmla="*/ 1 h 77"/>
              <a:gd name="T80" fmla="*/ 467 w 642"/>
              <a:gd name="T81" fmla="*/ 7 h 77"/>
              <a:gd name="T82" fmla="*/ 468 w 642"/>
              <a:gd name="T83" fmla="*/ 13 h 77"/>
              <a:gd name="T84" fmla="*/ 508 w 642"/>
              <a:gd name="T85" fmla="*/ 73 h 77"/>
              <a:gd name="T86" fmla="*/ 538 w 642"/>
              <a:gd name="T87" fmla="*/ 69 h 77"/>
              <a:gd name="T88" fmla="*/ 526 w 642"/>
              <a:gd name="T89" fmla="*/ 40 h 77"/>
              <a:gd name="T90" fmla="*/ 514 w 642"/>
              <a:gd name="T91" fmla="*/ 5 h 77"/>
              <a:gd name="T92" fmla="*/ 544 w 642"/>
              <a:gd name="T93" fmla="*/ 7 h 77"/>
              <a:gd name="T94" fmla="*/ 514 w 642"/>
              <a:gd name="T95" fmla="*/ 18 h 77"/>
              <a:gd name="T96" fmla="*/ 544 w 642"/>
              <a:gd name="T97" fmla="*/ 47 h 77"/>
              <a:gd name="T98" fmla="*/ 524 w 642"/>
              <a:gd name="T99" fmla="*/ 77 h 77"/>
              <a:gd name="T100" fmla="*/ 564 w 642"/>
              <a:gd name="T101" fmla="*/ 76 h 77"/>
              <a:gd name="T102" fmla="*/ 569 w 642"/>
              <a:gd name="T103" fmla="*/ 76 h 77"/>
              <a:gd name="T104" fmla="*/ 636 w 642"/>
              <a:gd name="T105" fmla="*/ 40 h 77"/>
              <a:gd name="T106" fmla="*/ 588 w 642"/>
              <a:gd name="T107" fmla="*/ 76 h 77"/>
              <a:gd name="T108" fmla="*/ 593 w 642"/>
              <a:gd name="T109" fmla="*/ 35 h 77"/>
              <a:gd name="T110" fmla="*/ 642 w 642"/>
              <a:gd name="T111"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2" h="77">
                <a:moveTo>
                  <a:pt x="27" y="6"/>
                </a:moveTo>
                <a:cubicBezTo>
                  <a:pt x="27" y="76"/>
                  <a:pt x="27" y="76"/>
                  <a:pt x="27" y="76"/>
                </a:cubicBezTo>
                <a:cubicBezTo>
                  <a:pt x="21" y="76"/>
                  <a:pt x="21" y="76"/>
                  <a:pt x="21" y="76"/>
                </a:cubicBezTo>
                <a:cubicBezTo>
                  <a:pt x="21" y="6"/>
                  <a:pt x="21" y="6"/>
                  <a:pt x="21" y="6"/>
                </a:cubicBezTo>
                <a:cubicBezTo>
                  <a:pt x="0" y="6"/>
                  <a:pt x="0" y="6"/>
                  <a:pt x="0" y="6"/>
                </a:cubicBezTo>
                <a:cubicBezTo>
                  <a:pt x="0" y="1"/>
                  <a:pt x="0" y="1"/>
                  <a:pt x="0" y="1"/>
                </a:cubicBezTo>
                <a:cubicBezTo>
                  <a:pt x="48" y="1"/>
                  <a:pt x="48" y="1"/>
                  <a:pt x="48" y="1"/>
                </a:cubicBezTo>
                <a:cubicBezTo>
                  <a:pt x="48" y="6"/>
                  <a:pt x="48" y="6"/>
                  <a:pt x="48" y="6"/>
                </a:cubicBezTo>
                <a:lnTo>
                  <a:pt x="27" y="6"/>
                </a:lnTo>
                <a:close/>
                <a:moveTo>
                  <a:pt x="61" y="76"/>
                </a:moveTo>
                <a:cubicBezTo>
                  <a:pt x="61" y="1"/>
                  <a:pt x="61" y="1"/>
                  <a:pt x="61" y="1"/>
                </a:cubicBezTo>
                <a:cubicBezTo>
                  <a:pt x="96" y="1"/>
                  <a:pt x="96" y="1"/>
                  <a:pt x="96" y="1"/>
                </a:cubicBezTo>
                <a:cubicBezTo>
                  <a:pt x="96" y="6"/>
                  <a:pt x="96" y="6"/>
                  <a:pt x="96" y="6"/>
                </a:cubicBezTo>
                <a:cubicBezTo>
                  <a:pt x="66" y="6"/>
                  <a:pt x="66" y="6"/>
                  <a:pt x="66" y="6"/>
                </a:cubicBezTo>
                <a:cubicBezTo>
                  <a:pt x="66" y="36"/>
                  <a:pt x="66" y="36"/>
                  <a:pt x="66" y="36"/>
                </a:cubicBezTo>
                <a:cubicBezTo>
                  <a:pt x="94" y="36"/>
                  <a:pt x="94" y="36"/>
                  <a:pt x="94" y="36"/>
                </a:cubicBezTo>
                <a:cubicBezTo>
                  <a:pt x="94" y="40"/>
                  <a:pt x="94" y="40"/>
                  <a:pt x="94" y="40"/>
                </a:cubicBezTo>
                <a:cubicBezTo>
                  <a:pt x="66" y="40"/>
                  <a:pt x="66" y="40"/>
                  <a:pt x="66" y="40"/>
                </a:cubicBezTo>
                <a:cubicBezTo>
                  <a:pt x="66" y="71"/>
                  <a:pt x="66" y="71"/>
                  <a:pt x="66" y="71"/>
                </a:cubicBezTo>
                <a:cubicBezTo>
                  <a:pt x="98" y="71"/>
                  <a:pt x="98" y="71"/>
                  <a:pt x="98" y="71"/>
                </a:cubicBezTo>
                <a:cubicBezTo>
                  <a:pt x="98" y="76"/>
                  <a:pt x="98" y="76"/>
                  <a:pt x="98" y="76"/>
                </a:cubicBezTo>
                <a:lnTo>
                  <a:pt x="61" y="76"/>
                </a:lnTo>
                <a:close/>
                <a:moveTo>
                  <a:pt x="148" y="52"/>
                </a:moveTo>
                <a:cubicBezTo>
                  <a:pt x="145" y="46"/>
                  <a:pt x="142" y="42"/>
                  <a:pt x="139" y="41"/>
                </a:cubicBezTo>
                <a:cubicBezTo>
                  <a:pt x="139" y="41"/>
                  <a:pt x="139" y="41"/>
                  <a:pt x="139" y="41"/>
                </a:cubicBezTo>
                <a:cubicBezTo>
                  <a:pt x="145" y="40"/>
                  <a:pt x="149" y="38"/>
                  <a:pt x="152" y="34"/>
                </a:cubicBezTo>
                <a:cubicBezTo>
                  <a:pt x="156" y="30"/>
                  <a:pt x="157" y="26"/>
                  <a:pt x="157" y="20"/>
                </a:cubicBezTo>
                <a:cubicBezTo>
                  <a:pt x="157" y="14"/>
                  <a:pt x="155" y="10"/>
                  <a:pt x="151" y="6"/>
                </a:cubicBezTo>
                <a:cubicBezTo>
                  <a:pt x="148" y="3"/>
                  <a:pt x="142" y="1"/>
                  <a:pt x="136" y="1"/>
                </a:cubicBezTo>
                <a:cubicBezTo>
                  <a:pt x="115" y="1"/>
                  <a:pt x="115" y="1"/>
                  <a:pt x="115" y="1"/>
                </a:cubicBezTo>
                <a:cubicBezTo>
                  <a:pt x="115" y="76"/>
                  <a:pt x="115" y="76"/>
                  <a:pt x="115" y="76"/>
                </a:cubicBezTo>
                <a:cubicBezTo>
                  <a:pt x="120" y="76"/>
                  <a:pt x="120" y="76"/>
                  <a:pt x="120" y="76"/>
                </a:cubicBezTo>
                <a:cubicBezTo>
                  <a:pt x="120" y="43"/>
                  <a:pt x="120" y="43"/>
                  <a:pt x="120" y="43"/>
                </a:cubicBezTo>
                <a:cubicBezTo>
                  <a:pt x="129" y="43"/>
                  <a:pt x="129" y="43"/>
                  <a:pt x="129" y="43"/>
                </a:cubicBezTo>
                <a:cubicBezTo>
                  <a:pt x="133" y="43"/>
                  <a:pt x="135" y="43"/>
                  <a:pt x="137" y="45"/>
                </a:cubicBezTo>
                <a:cubicBezTo>
                  <a:pt x="139" y="46"/>
                  <a:pt x="141" y="49"/>
                  <a:pt x="143" y="54"/>
                </a:cubicBezTo>
                <a:cubicBezTo>
                  <a:pt x="153" y="76"/>
                  <a:pt x="153" y="76"/>
                  <a:pt x="153" y="76"/>
                </a:cubicBezTo>
                <a:cubicBezTo>
                  <a:pt x="159" y="76"/>
                  <a:pt x="159" y="76"/>
                  <a:pt x="159" y="76"/>
                </a:cubicBezTo>
                <a:lnTo>
                  <a:pt x="148" y="52"/>
                </a:lnTo>
                <a:close/>
                <a:moveTo>
                  <a:pt x="133" y="38"/>
                </a:moveTo>
                <a:cubicBezTo>
                  <a:pt x="120" y="38"/>
                  <a:pt x="120" y="38"/>
                  <a:pt x="120" y="38"/>
                </a:cubicBezTo>
                <a:cubicBezTo>
                  <a:pt x="120" y="6"/>
                  <a:pt x="120" y="6"/>
                  <a:pt x="120" y="6"/>
                </a:cubicBezTo>
                <a:cubicBezTo>
                  <a:pt x="134" y="6"/>
                  <a:pt x="134" y="6"/>
                  <a:pt x="134" y="6"/>
                </a:cubicBezTo>
                <a:cubicBezTo>
                  <a:pt x="140" y="6"/>
                  <a:pt x="144" y="7"/>
                  <a:pt x="147" y="10"/>
                </a:cubicBezTo>
                <a:cubicBezTo>
                  <a:pt x="150" y="12"/>
                  <a:pt x="152" y="16"/>
                  <a:pt x="152" y="21"/>
                </a:cubicBezTo>
                <a:cubicBezTo>
                  <a:pt x="152" y="26"/>
                  <a:pt x="150" y="30"/>
                  <a:pt x="147" y="33"/>
                </a:cubicBezTo>
                <a:cubicBezTo>
                  <a:pt x="143" y="36"/>
                  <a:pt x="139" y="38"/>
                  <a:pt x="133" y="38"/>
                </a:cubicBezTo>
                <a:close/>
                <a:moveTo>
                  <a:pt x="175" y="76"/>
                </a:moveTo>
                <a:cubicBezTo>
                  <a:pt x="175" y="1"/>
                  <a:pt x="175" y="1"/>
                  <a:pt x="175" y="1"/>
                </a:cubicBezTo>
                <a:cubicBezTo>
                  <a:pt x="180" y="1"/>
                  <a:pt x="180" y="1"/>
                  <a:pt x="180" y="1"/>
                </a:cubicBezTo>
                <a:cubicBezTo>
                  <a:pt x="180" y="76"/>
                  <a:pt x="180" y="76"/>
                  <a:pt x="180" y="76"/>
                </a:cubicBezTo>
                <a:lnTo>
                  <a:pt x="175" y="76"/>
                </a:lnTo>
                <a:close/>
                <a:moveTo>
                  <a:pt x="264" y="76"/>
                </a:moveTo>
                <a:cubicBezTo>
                  <a:pt x="264" y="23"/>
                  <a:pt x="264" y="23"/>
                  <a:pt x="264" y="23"/>
                </a:cubicBezTo>
                <a:cubicBezTo>
                  <a:pt x="264" y="21"/>
                  <a:pt x="265" y="18"/>
                  <a:pt x="265" y="12"/>
                </a:cubicBezTo>
                <a:cubicBezTo>
                  <a:pt x="265" y="12"/>
                  <a:pt x="265" y="12"/>
                  <a:pt x="265" y="12"/>
                </a:cubicBezTo>
                <a:cubicBezTo>
                  <a:pt x="264" y="14"/>
                  <a:pt x="263" y="17"/>
                  <a:pt x="262" y="18"/>
                </a:cubicBezTo>
                <a:cubicBezTo>
                  <a:pt x="235" y="76"/>
                  <a:pt x="235" y="76"/>
                  <a:pt x="235" y="76"/>
                </a:cubicBezTo>
                <a:cubicBezTo>
                  <a:pt x="234" y="76"/>
                  <a:pt x="234" y="76"/>
                  <a:pt x="234" y="76"/>
                </a:cubicBezTo>
                <a:cubicBezTo>
                  <a:pt x="207" y="18"/>
                  <a:pt x="207" y="18"/>
                  <a:pt x="207" y="18"/>
                </a:cubicBezTo>
                <a:cubicBezTo>
                  <a:pt x="206" y="17"/>
                  <a:pt x="205" y="14"/>
                  <a:pt x="204" y="11"/>
                </a:cubicBezTo>
                <a:cubicBezTo>
                  <a:pt x="204" y="11"/>
                  <a:pt x="204" y="11"/>
                  <a:pt x="204" y="11"/>
                </a:cubicBezTo>
                <a:cubicBezTo>
                  <a:pt x="204" y="15"/>
                  <a:pt x="204" y="18"/>
                  <a:pt x="204" y="21"/>
                </a:cubicBezTo>
                <a:cubicBezTo>
                  <a:pt x="204" y="76"/>
                  <a:pt x="204" y="76"/>
                  <a:pt x="204" y="76"/>
                </a:cubicBezTo>
                <a:cubicBezTo>
                  <a:pt x="199" y="76"/>
                  <a:pt x="199" y="76"/>
                  <a:pt x="199" y="76"/>
                </a:cubicBezTo>
                <a:cubicBezTo>
                  <a:pt x="199" y="1"/>
                  <a:pt x="199" y="1"/>
                  <a:pt x="199" y="1"/>
                </a:cubicBezTo>
                <a:cubicBezTo>
                  <a:pt x="204" y="1"/>
                  <a:pt x="204" y="1"/>
                  <a:pt x="204" y="1"/>
                </a:cubicBezTo>
                <a:cubicBezTo>
                  <a:pt x="232" y="61"/>
                  <a:pt x="232" y="61"/>
                  <a:pt x="232" y="61"/>
                </a:cubicBezTo>
                <a:cubicBezTo>
                  <a:pt x="232" y="62"/>
                  <a:pt x="232" y="62"/>
                  <a:pt x="233" y="63"/>
                </a:cubicBezTo>
                <a:cubicBezTo>
                  <a:pt x="233" y="63"/>
                  <a:pt x="233" y="64"/>
                  <a:pt x="233" y="65"/>
                </a:cubicBezTo>
                <a:cubicBezTo>
                  <a:pt x="234" y="66"/>
                  <a:pt x="234" y="67"/>
                  <a:pt x="234" y="68"/>
                </a:cubicBezTo>
                <a:cubicBezTo>
                  <a:pt x="235" y="68"/>
                  <a:pt x="235" y="68"/>
                  <a:pt x="235" y="68"/>
                </a:cubicBezTo>
                <a:cubicBezTo>
                  <a:pt x="235" y="66"/>
                  <a:pt x="235" y="66"/>
                  <a:pt x="235" y="66"/>
                </a:cubicBezTo>
                <a:cubicBezTo>
                  <a:pt x="235" y="66"/>
                  <a:pt x="236" y="64"/>
                  <a:pt x="237" y="61"/>
                </a:cubicBezTo>
                <a:cubicBezTo>
                  <a:pt x="265" y="1"/>
                  <a:pt x="265" y="1"/>
                  <a:pt x="265" y="1"/>
                </a:cubicBezTo>
                <a:cubicBezTo>
                  <a:pt x="269" y="1"/>
                  <a:pt x="269" y="1"/>
                  <a:pt x="269" y="1"/>
                </a:cubicBezTo>
                <a:cubicBezTo>
                  <a:pt x="269" y="76"/>
                  <a:pt x="269" y="76"/>
                  <a:pt x="269" y="76"/>
                </a:cubicBezTo>
                <a:lnTo>
                  <a:pt x="264" y="76"/>
                </a:lnTo>
                <a:close/>
                <a:moveTo>
                  <a:pt x="316" y="1"/>
                </a:moveTo>
                <a:cubicBezTo>
                  <a:pt x="311" y="1"/>
                  <a:pt x="311" y="1"/>
                  <a:pt x="311" y="1"/>
                </a:cubicBezTo>
                <a:cubicBezTo>
                  <a:pt x="282" y="76"/>
                  <a:pt x="282" y="76"/>
                  <a:pt x="282" y="76"/>
                </a:cubicBezTo>
                <a:cubicBezTo>
                  <a:pt x="288" y="76"/>
                  <a:pt x="288" y="76"/>
                  <a:pt x="288" y="76"/>
                </a:cubicBezTo>
                <a:cubicBezTo>
                  <a:pt x="297" y="53"/>
                  <a:pt x="297" y="53"/>
                  <a:pt x="297" y="53"/>
                </a:cubicBezTo>
                <a:cubicBezTo>
                  <a:pt x="329" y="53"/>
                  <a:pt x="329" y="53"/>
                  <a:pt x="329" y="53"/>
                </a:cubicBezTo>
                <a:cubicBezTo>
                  <a:pt x="338" y="76"/>
                  <a:pt x="338" y="76"/>
                  <a:pt x="338" y="76"/>
                </a:cubicBezTo>
                <a:cubicBezTo>
                  <a:pt x="344" y="76"/>
                  <a:pt x="344" y="76"/>
                  <a:pt x="344" y="76"/>
                </a:cubicBezTo>
                <a:lnTo>
                  <a:pt x="316" y="1"/>
                </a:lnTo>
                <a:close/>
                <a:moveTo>
                  <a:pt x="298" y="48"/>
                </a:moveTo>
                <a:cubicBezTo>
                  <a:pt x="311" y="13"/>
                  <a:pt x="311" y="13"/>
                  <a:pt x="311" y="13"/>
                </a:cubicBezTo>
                <a:cubicBezTo>
                  <a:pt x="312" y="12"/>
                  <a:pt x="312" y="10"/>
                  <a:pt x="313" y="7"/>
                </a:cubicBezTo>
                <a:cubicBezTo>
                  <a:pt x="313" y="7"/>
                  <a:pt x="313" y="7"/>
                  <a:pt x="313" y="7"/>
                </a:cubicBezTo>
                <a:cubicBezTo>
                  <a:pt x="313" y="8"/>
                  <a:pt x="313" y="9"/>
                  <a:pt x="314" y="10"/>
                </a:cubicBezTo>
                <a:cubicBezTo>
                  <a:pt x="314" y="11"/>
                  <a:pt x="314" y="12"/>
                  <a:pt x="315" y="13"/>
                </a:cubicBezTo>
                <a:cubicBezTo>
                  <a:pt x="327" y="48"/>
                  <a:pt x="327" y="48"/>
                  <a:pt x="327" y="48"/>
                </a:cubicBezTo>
                <a:lnTo>
                  <a:pt x="298" y="48"/>
                </a:lnTo>
                <a:close/>
                <a:moveTo>
                  <a:pt x="425" y="76"/>
                </a:moveTo>
                <a:cubicBezTo>
                  <a:pt x="393" y="40"/>
                  <a:pt x="393" y="40"/>
                  <a:pt x="393" y="40"/>
                </a:cubicBezTo>
                <a:cubicBezTo>
                  <a:pt x="392" y="39"/>
                  <a:pt x="391" y="39"/>
                  <a:pt x="391" y="38"/>
                </a:cubicBezTo>
                <a:cubicBezTo>
                  <a:pt x="391" y="38"/>
                  <a:pt x="391" y="38"/>
                  <a:pt x="391" y="38"/>
                </a:cubicBezTo>
                <a:cubicBezTo>
                  <a:pt x="391" y="76"/>
                  <a:pt x="391" y="76"/>
                  <a:pt x="391" y="76"/>
                </a:cubicBezTo>
                <a:cubicBezTo>
                  <a:pt x="386" y="76"/>
                  <a:pt x="386" y="76"/>
                  <a:pt x="386" y="76"/>
                </a:cubicBezTo>
                <a:cubicBezTo>
                  <a:pt x="386" y="1"/>
                  <a:pt x="386" y="1"/>
                  <a:pt x="386" y="1"/>
                </a:cubicBezTo>
                <a:cubicBezTo>
                  <a:pt x="391" y="1"/>
                  <a:pt x="391" y="1"/>
                  <a:pt x="391" y="1"/>
                </a:cubicBezTo>
                <a:cubicBezTo>
                  <a:pt x="391" y="36"/>
                  <a:pt x="391" y="36"/>
                  <a:pt x="391" y="36"/>
                </a:cubicBezTo>
                <a:cubicBezTo>
                  <a:pt x="391" y="36"/>
                  <a:pt x="391" y="36"/>
                  <a:pt x="391" y="36"/>
                </a:cubicBezTo>
                <a:cubicBezTo>
                  <a:pt x="392" y="36"/>
                  <a:pt x="392" y="35"/>
                  <a:pt x="393" y="34"/>
                </a:cubicBezTo>
                <a:cubicBezTo>
                  <a:pt x="423" y="1"/>
                  <a:pt x="423" y="1"/>
                  <a:pt x="423" y="1"/>
                </a:cubicBezTo>
                <a:cubicBezTo>
                  <a:pt x="430" y="1"/>
                  <a:pt x="430" y="1"/>
                  <a:pt x="430" y="1"/>
                </a:cubicBezTo>
                <a:cubicBezTo>
                  <a:pt x="397" y="37"/>
                  <a:pt x="397" y="37"/>
                  <a:pt x="397" y="37"/>
                </a:cubicBezTo>
                <a:cubicBezTo>
                  <a:pt x="432" y="76"/>
                  <a:pt x="432" y="76"/>
                  <a:pt x="432" y="76"/>
                </a:cubicBezTo>
                <a:lnTo>
                  <a:pt x="425" y="76"/>
                </a:lnTo>
                <a:close/>
                <a:moveTo>
                  <a:pt x="469" y="1"/>
                </a:moveTo>
                <a:cubicBezTo>
                  <a:pt x="464" y="1"/>
                  <a:pt x="464" y="1"/>
                  <a:pt x="464" y="1"/>
                </a:cubicBezTo>
                <a:cubicBezTo>
                  <a:pt x="436" y="76"/>
                  <a:pt x="436" y="76"/>
                  <a:pt x="436" y="76"/>
                </a:cubicBezTo>
                <a:cubicBezTo>
                  <a:pt x="442" y="76"/>
                  <a:pt x="442" y="76"/>
                  <a:pt x="442" y="76"/>
                </a:cubicBezTo>
                <a:cubicBezTo>
                  <a:pt x="450" y="53"/>
                  <a:pt x="450" y="53"/>
                  <a:pt x="450" y="53"/>
                </a:cubicBezTo>
                <a:cubicBezTo>
                  <a:pt x="483" y="53"/>
                  <a:pt x="483" y="53"/>
                  <a:pt x="483" y="53"/>
                </a:cubicBezTo>
                <a:cubicBezTo>
                  <a:pt x="492" y="76"/>
                  <a:pt x="492" y="76"/>
                  <a:pt x="492" y="76"/>
                </a:cubicBezTo>
                <a:cubicBezTo>
                  <a:pt x="497" y="76"/>
                  <a:pt x="497" y="76"/>
                  <a:pt x="497" y="76"/>
                </a:cubicBezTo>
                <a:lnTo>
                  <a:pt x="469" y="1"/>
                </a:lnTo>
                <a:close/>
                <a:moveTo>
                  <a:pt x="452" y="48"/>
                </a:moveTo>
                <a:cubicBezTo>
                  <a:pt x="465" y="13"/>
                  <a:pt x="465" y="13"/>
                  <a:pt x="465" y="13"/>
                </a:cubicBezTo>
                <a:cubicBezTo>
                  <a:pt x="465" y="12"/>
                  <a:pt x="466" y="10"/>
                  <a:pt x="467" y="7"/>
                </a:cubicBezTo>
                <a:cubicBezTo>
                  <a:pt x="467" y="7"/>
                  <a:pt x="467" y="7"/>
                  <a:pt x="467" y="7"/>
                </a:cubicBezTo>
                <a:cubicBezTo>
                  <a:pt x="467" y="8"/>
                  <a:pt x="467" y="9"/>
                  <a:pt x="468" y="10"/>
                </a:cubicBezTo>
                <a:cubicBezTo>
                  <a:pt x="468" y="11"/>
                  <a:pt x="468" y="12"/>
                  <a:pt x="468" y="13"/>
                </a:cubicBezTo>
                <a:cubicBezTo>
                  <a:pt x="481" y="48"/>
                  <a:pt x="481" y="48"/>
                  <a:pt x="481" y="48"/>
                </a:cubicBezTo>
                <a:lnTo>
                  <a:pt x="452" y="48"/>
                </a:lnTo>
                <a:close/>
                <a:moveTo>
                  <a:pt x="508" y="73"/>
                </a:moveTo>
                <a:cubicBezTo>
                  <a:pt x="508" y="67"/>
                  <a:pt x="508" y="67"/>
                  <a:pt x="508" y="67"/>
                </a:cubicBezTo>
                <a:cubicBezTo>
                  <a:pt x="513" y="71"/>
                  <a:pt x="519" y="73"/>
                  <a:pt x="524" y="73"/>
                </a:cubicBezTo>
                <a:cubicBezTo>
                  <a:pt x="530" y="73"/>
                  <a:pt x="535" y="71"/>
                  <a:pt x="538" y="69"/>
                </a:cubicBezTo>
                <a:cubicBezTo>
                  <a:pt x="541" y="67"/>
                  <a:pt x="542" y="63"/>
                  <a:pt x="542" y="59"/>
                </a:cubicBezTo>
                <a:cubicBezTo>
                  <a:pt x="542" y="55"/>
                  <a:pt x="541" y="52"/>
                  <a:pt x="539" y="50"/>
                </a:cubicBezTo>
                <a:cubicBezTo>
                  <a:pt x="537" y="47"/>
                  <a:pt x="533" y="44"/>
                  <a:pt x="526" y="40"/>
                </a:cubicBezTo>
                <a:cubicBezTo>
                  <a:pt x="518" y="36"/>
                  <a:pt x="513" y="32"/>
                  <a:pt x="511" y="29"/>
                </a:cubicBezTo>
                <a:cubicBezTo>
                  <a:pt x="509" y="26"/>
                  <a:pt x="508" y="23"/>
                  <a:pt x="508" y="19"/>
                </a:cubicBezTo>
                <a:cubicBezTo>
                  <a:pt x="508" y="13"/>
                  <a:pt x="510" y="9"/>
                  <a:pt x="514" y="5"/>
                </a:cubicBezTo>
                <a:cubicBezTo>
                  <a:pt x="519" y="1"/>
                  <a:pt x="524" y="0"/>
                  <a:pt x="531" y="0"/>
                </a:cubicBezTo>
                <a:cubicBezTo>
                  <a:pt x="535" y="0"/>
                  <a:pt x="540" y="0"/>
                  <a:pt x="544" y="2"/>
                </a:cubicBezTo>
                <a:cubicBezTo>
                  <a:pt x="544" y="7"/>
                  <a:pt x="544" y="7"/>
                  <a:pt x="544" y="7"/>
                </a:cubicBezTo>
                <a:cubicBezTo>
                  <a:pt x="540" y="5"/>
                  <a:pt x="535" y="4"/>
                  <a:pt x="530" y="4"/>
                </a:cubicBezTo>
                <a:cubicBezTo>
                  <a:pt x="525" y="4"/>
                  <a:pt x="521" y="6"/>
                  <a:pt x="518" y="8"/>
                </a:cubicBezTo>
                <a:cubicBezTo>
                  <a:pt x="515" y="11"/>
                  <a:pt x="514" y="14"/>
                  <a:pt x="514" y="18"/>
                </a:cubicBezTo>
                <a:cubicBezTo>
                  <a:pt x="514" y="22"/>
                  <a:pt x="515" y="25"/>
                  <a:pt x="517" y="27"/>
                </a:cubicBezTo>
                <a:cubicBezTo>
                  <a:pt x="519" y="29"/>
                  <a:pt x="523" y="33"/>
                  <a:pt x="530" y="36"/>
                </a:cubicBezTo>
                <a:cubicBezTo>
                  <a:pt x="537" y="40"/>
                  <a:pt x="542" y="44"/>
                  <a:pt x="544" y="47"/>
                </a:cubicBezTo>
                <a:cubicBezTo>
                  <a:pt x="546" y="50"/>
                  <a:pt x="547" y="54"/>
                  <a:pt x="547" y="58"/>
                </a:cubicBezTo>
                <a:cubicBezTo>
                  <a:pt x="547" y="64"/>
                  <a:pt x="545" y="68"/>
                  <a:pt x="541" y="72"/>
                </a:cubicBezTo>
                <a:cubicBezTo>
                  <a:pt x="537" y="76"/>
                  <a:pt x="532" y="77"/>
                  <a:pt x="524" y="77"/>
                </a:cubicBezTo>
                <a:cubicBezTo>
                  <a:pt x="522" y="77"/>
                  <a:pt x="519" y="77"/>
                  <a:pt x="516" y="76"/>
                </a:cubicBezTo>
                <a:cubicBezTo>
                  <a:pt x="512" y="75"/>
                  <a:pt x="510" y="74"/>
                  <a:pt x="508" y="73"/>
                </a:cubicBezTo>
                <a:close/>
                <a:moveTo>
                  <a:pt x="564" y="76"/>
                </a:moveTo>
                <a:cubicBezTo>
                  <a:pt x="564" y="1"/>
                  <a:pt x="564" y="1"/>
                  <a:pt x="564" y="1"/>
                </a:cubicBezTo>
                <a:cubicBezTo>
                  <a:pt x="569" y="1"/>
                  <a:pt x="569" y="1"/>
                  <a:pt x="569" y="1"/>
                </a:cubicBezTo>
                <a:cubicBezTo>
                  <a:pt x="569" y="76"/>
                  <a:pt x="569" y="76"/>
                  <a:pt x="569" y="76"/>
                </a:cubicBezTo>
                <a:lnTo>
                  <a:pt x="564" y="76"/>
                </a:lnTo>
                <a:close/>
                <a:moveTo>
                  <a:pt x="636" y="76"/>
                </a:moveTo>
                <a:cubicBezTo>
                  <a:pt x="636" y="40"/>
                  <a:pt x="636" y="40"/>
                  <a:pt x="636" y="40"/>
                </a:cubicBezTo>
                <a:cubicBezTo>
                  <a:pt x="593" y="40"/>
                  <a:pt x="593" y="40"/>
                  <a:pt x="593" y="40"/>
                </a:cubicBezTo>
                <a:cubicBezTo>
                  <a:pt x="593" y="76"/>
                  <a:pt x="593" y="76"/>
                  <a:pt x="593" y="76"/>
                </a:cubicBezTo>
                <a:cubicBezTo>
                  <a:pt x="588" y="76"/>
                  <a:pt x="588" y="76"/>
                  <a:pt x="588" y="76"/>
                </a:cubicBezTo>
                <a:cubicBezTo>
                  <a:pt x="588" y="1"/>
                  <a:pt x="588" y="1"/>
                  <a:pt x="588" y="1"/>
                </a:cubicBezTo>
                <a:cubicBezTo>
                  <a:pt x="593" y="1"/>
                  <a:pt x="593" y="1"/>
                  <a:pt x="593" y="1"/>
                </a:cubicBezTo>
                <a:cubicBezTo>
                  <a:pt x="593" y="35"/>
                  <a:pt x="593" y="35"/>
                  <a:pt x="593" y="35"/>
                </a:cubicBezTo>
                <a:cubicBezTo>
                  <a:pt x="636" y="35"/>
                  <a:pt x="636" y="35"/>
                  <a:pt x="636" y="35"/>
                </a:cubicBezTo>
                <a:cubicBezTo>
                  <a:pt x="636" y="1"/>
                  <a:pt x="636" y="1"/>
                  <a:pt x="636" y="1"/>
                </a:cubicBezTo>
                <a:cubicBezTo>
                  <a:pt x="642" y="1"/>
                  <a:pt x="642" y="1"/>
                  <a:pt x="642" y="1"/>
                </a:cubicBezTo>
                <a:cubicBezTo>
                  <a:pt x="642" y="76"/>
                  <a:pt x="642" y="76"/>
                  <a:pt x="642" y="76"/>
                </a:cubicBezTo>
                <a:lnTo>
                  <a:pt x="636" y="76"/>
                </a:lnTo>
                <a:close/>
              </a:path>
            </a:pathLst>
          </a:custGeom>
          <a:solidFill>
            <a:schemeClr val="tx1">
              <a:lumMod val="50000"/>
              <a:lumOff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2" name="Freeform 233">
            <a:extLst>
              <a:ext uri="{FF2B5EF4-FFF2-40B4-BE49-F238E27FC236}">
                <a16:creationId xmlns:a16="http://schemas.microsoft.com/office/drawing/2014/main" id="{43CA96F4-6405-1790-3C4D-EE6980BEA0E4}"/>
              </a:ext>
              <a:ext uri="{C183D7F6-B498-43B3-948B-1728B52AA6E4}">
                <adec:decorative xmlns:adec="http://schemas.microsoft.com/office/drawing/2017/decorative" val="1"/>
              </a:ext>
            </a:extLst>
          </p:cNvPr>
          <p:cNvSpPr>
            <a:spLocks noEditPoints="1"/>
          </p:cNvSpPr>
          <p:nvPr userDrawn="1"/>
        </p:nvSpPr>
        <p:spPr bwMode="auto">
          <a:xfrm>
            <a:off x="7020893" y="4999159"/>
            <a:ext cx="1408983" cy="237614"/>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3" name="Freeform 236">
            <a:extLst>
              <a:ext uri="{FF2B5EF4-FFF2-40B4-BE49-F238E27FC236}">
                <a16:creationId xmlns:a16="http://schemas.microsoft.com/office/drawing/2014/main" id="{1464AE5D-98E2-D481-5B09-E42B4AA9FF57}"/>
              </a:ext>
              <a:ext uri="{C183D7F6-B498-43B3-948B-1728B52AA6E4}">
                <adec:decorative xmlns:adec="http://schemas.microsoft.com/office/drawing/2017/decorative" val="1"/>
              </a:ext>
            </a:extLst>
          </p:cNvPr>
          <p:cNvSpPr>
            <a:spLocks noEditPoints="1"/>
          </p:cNvSpPr>
          <p:nvPr userDrawn="1"/>
        </p:nvSpPr>
        <p:spPr bwMode="auto">
          <a:xfrm rot="16200000">
            <a:off x="5307293" y="1022674"/>
            <a:ext cx="336945" cy="1680561"/>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solidFill>
            <a:srgbClr val="F8BB21"/>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3"/>
              </a:solidFill>
              <a:effectLst/>
              <a:uLnTx/>
              <a:uFillTx/>
              <a:latin typeface="Segoe UI Semilight"/>
              <a:ea typeface="+mn-ea"/>
              <a:cs typeface="+mn-cs"/>
            </a:endParaRPr>
          </a:p>
        </p:txBody>
      </p:sp>
      <p:sp>
        <p:nvSpPr>
          <p:cNvPr id="24" name="Freeform 237">
            <a:extLst>
              <a:ext uri="{FF2B5EF4-FFF2-40B4-BE49-F238E27FC236}">
                <a16:creationId xmlns:a16="http://schemas.microsoft.com/office/drawing/2014/main" id="{47DEB34A-D33B-4F0A-5E73-A5E546EF3D37}"/>
              </a:ext>
              <a:ext uri="{C183D7F6-B498-43B3-948B-1728B52AA6E4}">
                <adec:decorative xmlns:adec="http://schemas.microsoft.com/office/drawing/2017/decorative" val="1"/>
              </a:ext>
            </a:extLst>
          </p:cNvPr>
          <p:cNvSpPr>
            <a:spLocks noEditPoints="1"/>
          </p:cNvSpPr>
          <p:nvPr userDrawn="1"/>
        </p:nvSpPr>
        <p:spPr bwMode="auto">
          <a:xfrm>
            <a:off x="3076592" y="4926642"/>
            <a:ext cx="3322733" cy="350641"/>
          </a:xfrm>
          <a:custGeom>
            <a:avLst/>
            <a:gdLst>
              <a:gd name="T0" fmla="*/ 57 w 1094"/>
              <a:gd name="T1" fmla="*/ 47 h 115"/>
              <a:gd name="T2" fmla="*/ 39 w 1094"/>
              <a:gd name="T3" fmla="*/ 24 h 115"/>
              <a:gd name="T4" fmla="*/ 4 w 1094"/>
              <a:gd name="T5" fmla="*/ 24 h 115"/>
              <a:gd name="T6" fmla="*/ 14 w 1094"/>
              <a:gd name="T7" fmla="*/ 105 h 115"/>
              <a:gd name="T8" fmla="*/ 68 w 1094"/>
              <a:gd name="T9" fmla="*/ 56 h 115"/>
              <a:gd name="T10" fmla="*/ 99 w 1094"/>
              <a:gd name="T11" fmla="*/ 79 h 115"/>
              <a:gd name="T12" fmla="*/ 35 w 1094"/>
              <a:gd name="T13" fmla="*/ 88 h 115"/>
              <a:gd name="T14" fmla="*/ 42 w 1094"/>
              <a:gd name="T15" fmla="*/ 82 h 115"/>
              <a:gd name="T16" fmla="*/ 134 w 1094"/>
              <a:gd name="T17" fmla="*/ 17 h 115"/>
              <a:gd name="T18" fmla="*/ 133 w 1094"/>
              <a:gd name="T19" fmla="*/ 71 h 115"/>
              <a:gd name="T20" fmla="*/ 188 w 1094"/>
              <a:gd name="T21" fmla="*/ 54 h 115"/>
              <a:gd name="T22" fmla="*/ 190 w 1094"/>
              <a:gd name="T23" fmla="*/ 10 h 115"/>
              <a:gd name="T24" fmla="*/ 282 w 1094"/>
              <a:gd name="T25" fmla="*/ 66 h 115"/>
              <a:gd name="T26" fmla="*/ 257 w 1094"/>
              <a:gd name="T27" fmla="*/ 103 h 115"/>
              <a:gd name="T28" fmla="*/ 218 w 1094"/>
              <a:gd name="T29" fmla="*/ 111 h 115"/>
              <a:gd name="T30" fmla="*/ 236 w 1094"/>
              <a:gd name="T31" fmla="*/ 38 h 115"/>
              <a:gd name="T32" fmla="*/ 293 w 1094"/>
              <a:gd name="T33" fmla="*/ 26 h 115"/>
              <a:gd name="T34" fmla="*/ 291 w 1094"/>
              <a:gd name="T35" fmla="*/ 30 h 115"/>
              <a:gd name="T36" fmla="*/ 311 w 1094"/>
              <a:gd name="T37" fmla="*/ 22 h 115"/>
              <a:gd name="T38" fmla="*/ 408 w 1094"/>
              <a:gd name="T39" fmla="*/ 46 h 115"/>
              <a:gd name="T40" fmla="*/ 372 w 1094"/>
              <a:gd name="T41" fmla="*/ 112 h 115"/>
              <a:gd name="T42" fmla="*/ 367 w 1094"/>
              <a:gd name="T43" fmla="*/ 11 h 115"/>
              <a:gd name="T44" fmla="*/ 482 w 1094"/>
              <a:gd name="T45" fmla="*/ 38 h 115"/>
              <a:gd name="T46" fmla="*/ 502 w 1094"/>
              <a:gd name="T47" fmla="*/ 67 h 115"/>
              <a:gd name="T48" fmla="*/ 449 w 1094"/>
              <a:gd name="T49" fmla="*/ 7 h 115"/>
              <a:gd name="T50" fmla="*/ 615 w 1094"/>
              <a:gd name="T51" fmla="*/ 104 h 115"/>
              <a:gd name="T52" fmla="*/ 553 w 1094"/>
              <a:gd name="T53" fmla="*/ 60 h 115"/>
              <a:gd name="T54" fmla="*/ 615 w 1094"/>
              <a:gd name="T55" fmla="*/ 104 h 115"/>
              <a:gd name="T56" fmla="*/ 538 w 1094"/>
              <a:gd name="T57" fmla="*/ 22 h 115"/>
              <a:gd name="T58" fmla="*/ 567 w 1094"/>
              <a:gd name="T59" fmla="*/ 47 h 115"/>
              <a:gd name="T60" fmla="*/ 619 w 1094"/>
              <a:gd name="T61" fmla="*/ 56 h 115"/>
              <a:gd name="T62" fmla="*/ 631 w 1094"/>
              <a:gd name="T63" fmla="*/ 45 h 115"/>
              <a:gd name="T64" fmla="*/ 716 w 1094"/>
              <a:gd name="T65" fmla="*/ 78 h 115"/>
              <a:gd name="T66" fmla="*/ 671 w 1094"/>
              <a:gd name="T67" fmla="*/ 40 h 115"/>
              <a:gd name="T68" fmla="*/ 685 w 1094"/>
              <a:gd name="T69" fmla="*/ 7 h 115"/>
              <a:gd name="T70" fmla="*/ 740 w 1094"/>
              <a:gd name="T71" fmla="*/ 32 h 115"/>
              <a:gd name="T72" fmla="*/ 671 w 1094"/>
              <a:gd name="T73" fmla="*/ 73 h 115"/>
              <a:gd name="T74" fmla="*/ 716 w 1094"/>
              <a:gd name="T75" fmla="*/ 3 h 115"/>
              <a:gd name="T76" fmla="*/ 733 w 1094"/>
              <a:gd name="T77" fmla="*/ 0 h 115"/>
              <a:gd name="T78" fmla="*/ 776 w 1094"/>
              <a:gd name="T79" fmla="*/ 20 h 115"/>
              <a:gd name="T80" fmla="*/ 806 w 1094"/>
              <a:gd name="T81" fmla="*/ 72 h 115"/>
              <a:gd name="T82" fmla="*/ 764 w 1094"/>
              <a:gd name="T83" fmla="*/ 18 h 115"/>
              <a:gd name="T84" fmla="*/ 865 w 1094"/>
              <a:gd name="T85" fmla="*/ 73 h 115"/>
              <a:gd name="T86" fmla="*/ 932 w 1094"/>
              <a:gd name="T87" fmla="*/ 52 h 115"/>
              <a:gd name="T88" fmla="*/ 932 w 1094"/>
              <a:gd name="T89" fmla="*/ 9 h 115"/>
              <a:gd name="T90" fmla="*/ 881 w 1094"/>
              <a:gd name="T91" fmla="*/ 23 h 115"/>
              <a:gd name="T92" fmla="*/ 916 w 1094"/>
              <a:gd name="T93" fmla="*/ 53 h 115"/>
              <a:gd name="T94" fmla="*/ 913 w 1094"/>
              <a:gd name="T95" fmla="*/ 60 h 115"/>
              <a:gd name="T96" fmla="*/ 912 w 1094"/>
              <a:gd name="T97" fmla="*/ 112 h 115"/>
              <a:gd name="T98" fmla="*/ 933 w 1094"/>
              <a:gd name="T99" fmla="*/ 80 h 115"/>
              <a:gd name="T100" fmla="*/ 926 w 1094"/>
              <a:gd name="T101" fmla="*/ 85 h 115"/>
              <a:gd name="T102" fmla="*/ 1058 w 1094"/>
              <a:gd name="T103" fmla="*/ 6 h 115"/>
              <a:gd name="T104" fmla="*/ 991 w 1094"/>
              <a:gd name="T105" fmla="*/ 33 h 115"/>
              <a:gd name="T106" fmla="*/ 1034 w 1094"/>
              <a:gd name="T107" fmla="*/ 87 h 115"/>
              <a:gd name="T108" fmla="*/ 1056 w 1094"/>
              <a:gd name="T109" fmla="*/ 80 h 115"/>
              <a:gd name="T110" fmla="*/ 1094 w 1094"/>
              <a:gd name="T111" fmla="*/ 23 h 115"/>
              <a:gd name="T112" fmla="*/ 1048 w 1094"/>
              <a:gd name="T113"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4" h="115">
                <a:moveTo>
                  <a:pt x="70" y="48"/>
                </a:moveTo>
                <a:cubicBezTo>
                  <a:pt x="71" y="47"/>
                  <a:pt x="71" y="45"/>
                  <a:pt x="72" y="43"/>
                </a:cubicBezTo>
                <a:cubicBezTo>
                  <a:pt x="63" y="41"/>
                  <a:pt x="63" y="41"/>
                  <a:pt x="63" y="41"/>
                </a:cubicBezTo>
                <a:cubicBezTo>
                  <a:pt x="63" y="43"/>
                  <a:pt x="62" y="45"/>
                  <a:pt x="62" y="47"/>
                </a:cubicBezTo>
                <a:cubicBezTo>
                  <a:pt x="60" y="47"/>
                  <a:pt x="59" y="47"/>
                  <a:pt x="57" y="47"/>
                </a:cubicBezTo>
                <a:cubicBezTo>
                  <a:pt x="55" y="47"/>
                  <a:pt x="47" y="47"/>
                  <a:pt x="39" y="50"/>
                </a:cubicBezTo>
                <a:cubicBezTo>
                  <a:pt x="39" y="44"/>
                  <a:pt x="39" y="38"/>
                  <a:pt x="39" y="32"/>
                </a:cubicBezTo>
                <a:cubicBezTo>
                  <a:pt x="53" y="31"/>
                  <a:pt x="76" y="30"/>
                  <a:pt x="89" y="27"/>
                </a:cubicBezTo>
                <a:cubicBezTo>
                  <a:pt x="88" y="19"/>
                  <a:pt x="88" y="19"/>
                  <a:pt x="88" y="19"/>
                </a:cubicBezTo>
                <a:cubicBezTo>
                  <a:pt x="75" y="22"/>
                  <a:pt x="53" y="24"/>
                  <a:pt x="39" y="24"/>
                </a:cubicBezTo>
                <a:cubicBezTo>
                  <a:pt x="40" y="19"/>
                  <a:pt x="40" y="14"/>
                  <a:pt x="40" y="9"/>
                </a:cubicBezTo>
                <a:cubicBezTo>
                  <a:pt x="42" y="9"/>
                  <a:pt x="43" y="8"/>
                  <a:pt x="44" y="7"/>
                </a:cubicBezTo>
                <a:cubicBezTo>
                  <a:pt x="31" y="6"/>
                  <a:pt x="31" y="6"/>
                  <a:pt x="31" y="6"/>
                </a:cubicBezTo>
                <a:cubicBezTo>
                  <a:pt x="31" y="12"/>
                  <a:pt x="31" y="19"/>
                  <a:pt x="31" y="24"/>
                </a:cubicBezTo>
                <a:cubicBezTo>
                  <a:pt x="21" y="24"/>
                  <a:pt x="10" y="24"/>
                  <a:pt x="4" y="24"/>
                </a:cubicBezTo>
                <a:cubicBezTo>
                  <a:pt x="4" y="32"/>
                  <a:pt x="4" y="32"/>
                  <a:pt x="4" y="32"/>
                </a:cubicBezTo>
                <a:cubicBezTo>
                  <a:pt x="8" y="32"/>
                  <a:pt x="10" y="32"/>
                  <a:pt x="31" y="32"/>
                </a:cubicBezTo>
                <a:cubicBezTo>
                  <a:pt x="31" y="39"/>
                  <a:pt x="31" y="46"/>
                  <a:pt x="31" y="52"/>
                </a:cubicBezTo>
                <a:cubicBezTo>
                  <a:pt x="13" y="59"/>
                  <a:pt x="0" y="72"/>
                  <a:pt x="0" y="89"/>
                </a:cubicBezTo>
                <a:cubicBezTo>
                  <a:pt x="0" y="98"/>
                  <a:pt x="5" y="105"/>
                  <a:pt x="14" y="105"/>
                </a:cubicBezTo>
                <a:cubicBezTo>
                  <a:pt x="20" y="105"/>
                  <a:pt x="27" y="103"/>
                  <a:pt x="37" y="96"/>
                </a:cubicBezTo>
                <a:cubicBezTo>
                  <a:pt x="38" y="98"/>
                  <a:pt x="39" y="100"/>
                  <a:pt x="40" y="102"/>
                </a:cubicBezTo>
                <a:cubicBezTo>
                  <a:pt x="47" y="97"/>
                  <a:pt x="47" y="97"/>
                  <a:pt x="47" y="97"/>
                </a:cubicBezTo>
                <a:cubicBezTo>
                  <a:pt x="46" y="96"/>
                  <a:pt x="45" y="93"/>
                  <a:pt x="44" y="91"/>
                </a:cubicBezTo>
                <a:cubicBezTo>
                  <a:pt x="54" y="82"/>
                  <a:pt x="62" y="69"/>
                  <a:pt x="68" y="56"/>
                </a:cubicBezTo>
                <a:cubicBezTo>
                  <a:pt x="81" y="58"/>
                  <a:pt x="90" y="65"/>
                  <a:pt x="90" y="79"/>
                </a:cubicBezTo>
                <a:cubicBezTo>
                  <a:pt x="90" y="79"/>
                  <a:pt x="90" y="79"/>
                  <a:pt x="90" y="79"/>
                </a:cubicBezTo>
                <a:cubicBezTo>
                  <a:pt x="90" y="95"/>
                  <a:pt x="75" y="104"/>
                  <a:pt x="50" y="106"/>
                </a:cubicBezTo>
                <a:cubicBezTo>
                  <a:pt x="51" y="108"/>
                  <a:pt x="52" y="111"/>
                  <a:pt x="53" y="113"/>
                </a:cubicBezTo>
                <a:cubicBezTo>
                  <a:pt x="83" y="110"/>
                  <a:pt x="99" y="98"/>
                  <a:pt x="99" y="79"/>
                </a:cubicBezTo>
                <a:cubicBezTo>
                  <a:pt x="99" y="65"/>
                  <a:pt x="91" y="52"/>
                  <a:pt x="70" y="48"/>
                </a:cubicBezTo>
                <a:close/>
                <a:moveTo>
                  <a:pt x="16" y="97"/>
                </a:moveTo>
                <a:cubicBezTo>
                  <a:pt x="12" y="97"/>
                  <a:pt x="8" y="95"/>
                  <a:pt x="8" y="88"/>
                </a:cubicBezTo>
                <a:cubicBezTo>
                  <a:pt x="8" y="76"/>
                  <a:pt x="18" y="66"/>
                  <a:pt x="31" y="60"/>
                </a:cubicBezTo>
                <a:cubicBezTo>
                  <a:pt x="32" y="71"/>
                  <a:pt x="33" y="81"/>
                  <a:pt x="35" y="88"/>
                </a:cubicBezTo>
                <a:cubicBezTo>
                  <a:pt x="28" y="93"/>
                  <a:pt x="22" y="97"/>
                  <a:pt x="16" y="97"/>
                </a:cubicBezTo>
                <a:close/>
                <a:moveTo>
                  <a:pt x="42" y="82"/>
                </a:moveTo>
                <a:cubicBezTo>
                  <a:pt x="40" y="75"/>
                  <a:pt x="39" y="67"/>
                  <a:pt x="39" y="57"/>
                </a:cubicBezTo>
                <a:cubicBezTo>
                  <a:pt x="48" y="54"/>
                  <a:pt x="57" y="54"/>
                  <a:pt x="59" y="55"/>
                </a:cubicBezTo>
                <a:cubicBezTo>
                  <a:pt x="55" y="65"/>
                  <a:pt x="49" y="75"/>
                  <a:pt x="42" y="82"/>
                </a:cubicBezTo>
                <a:close/>
                <a:moveTo>
                  <a:pt x="125" y="75"/>
                </a:moveTo>
                <a:cubicBezTo>
                  <a:pt x="123" y="68"/>
                  <a:pt x="122" y="59"/>
                  <a:pt x="122" y="52"/>
                </a:cubicBezTo>
                <a:cubicBezTo>
                  <a:pt x="122" y="41"/>
                  <a:pt x="123" y="28"/>
                  <a:pt x="126" y="13"/>
                </a:cubicBezTo>
                <a:cubicBezTo>
                  <a:pt x="138" y="15"/>
                  <a:pt x="138" y="15"/>
                  <a:pt x="138" y="15"/>
                </a:cubicBezTo>
                <a:cubicBezTo>
                  <a:pt x="137" y="16"/>
                  <a:pt x="136" y="17"/>
                  <a:pt x="134" y="17"/>
                </a:cubicBezTo>
                <a:cubicBezTo>
                  <a:pt x="132" y="27"/>
                  <a:pt x="130" y="42"/>
                  <a:pt x="130" y="52"/>
                </a:cubicBezTo>
                <a:cubicBezTo>
                  <a:pt x="130" y="54"/>
                  <a:pt x="130" y="57"/>
                  <a:pt x="131" y="58"/>
                </a:cubicBezTo>
                <a:cubicBezTo>
                  <a:pt x="133" y="52"/>
                  <a:pt x="137" y="44"/>
                  <a:pt x="140" y="40"/>
                </a:cubicBezTo>
                <a:cubicBezTo>
                  <a:pt x="141" y="41"/>
                  <a:pt x="143" y="44"/>
                  <a:pt x="145" y="45"/>
                </a:cubicBezTo>
                <a:cubicBezTo>
                  <a:pt x="136" y="61"/>
                  <a:pt x="133" y="65"/>
                  <a:pt x="133" y="71"/>
                </a:cubicBezTo>
                <a:cubicBezTo>
                  <a:pt x="133" y="71"/>
                  <a:pt x="133" y="72"/>
                  <a:pt x="133" y="74"/>
                </a:cubicBezTo>
                <a:lnTo>
                  <a:pt x="125" y="75"/>
                </a:lnTo>
                <a:close/>
                <a:moveTo>
                  <a:pt x="190" y="10"/>
                </a:moveTo>
                <a:cubicBezTo>
                  <a:pt x="189" y="11"/>
                  <a:pt x="188" y="12"/>
                  <a:pt x="186" y="12"/>
                </a:cubicBezTo>
                <a:cubicBezTo>
                  <a:pt x="187" y="23"/>
                  <a:pt x="188" y="40"/>
                  <a:pt x="188" y="54"/>
                </a:cubicBezTo>
                <a:cubicBezTo>
                  <a:pt x="188" y="77"/>
                  <a:pt x="180" y="98"/>
                  <a:pt x="144" y="113"/>
                </a:cubicBezTo>
                <a:cubicBezTo>
                  <a:pt x="142" y="111"/>
                  <a:pt x="140" y="108"/>
                  <a:pt x="138" y="106"/>
                </a:cubicBezTo>
                <a:cubicBezTo>
                  <a:pt x="171" y="94"/>
                  <a:pt x="179" y="74"/>
                  <a:pt x="179" y="54"/>
                </a:cubicBezTo>
                <a:cubicBezTo>
                  <a:pt x="179" y="39"/>
                  <a:pt x="178" y="22"/>
                  <a:pt x="177" y="9"/>
                </a:cubicBezTo>
                <a:lnTo>
                  <a:pt x="190" y="10"/>
                </a:lnTo>
                <a:close/>
                <a:moveTo>
                  <a:pt x="253" y="10"/>
                </a:moveTo>
                <a:cubicBezTo>
                  <a:pt x="253" y="11"/>
                  <a:pt x="252" y="12"/>
                  <a:pt x="249" y="12"/>
                </a:cubicBezTo>
                <a:cubicBezTo>
                  <a:pt x="248" y="19"/>
                  <a:pt x="246" y="30"/>
                  <a:pt x="244" y="38"/>
                </a:cubicBezTo>
                <a:cubicBezTo>
                  <a:pt x="250" y="37"/>
                  <a:pt x="255" y="37"/>
                  <a:pt x="258" y="37"/>
                </a:cubicBezTo>
                <a:cubicBezTo>
                  <a:pt x="276" y="36"/>
                  <a:pt x="282" y="48"/>
                  <a:pt x="282" y="66"/>
                </a:cubicBezTo>
                <a:cubicBezTo>
                  <a:pt x="282" y="75"/>
                  <a:pt x="281" y="86"/>
                  <a:pt x="278" y="93"/>
                </a:cubicBezTo>
                <a:cubicBezTo>
                  <a:pt x="274" y="106"/>
                  <a:pt x="267" y="111"/>
                  <a:pt x="257" y="111"/>
                </a:cubicBezTo>
                <a:cubicBezTo>
                  <a:pt x="252" y="111"/>
                  <a:pt x="245" y="109"/>
                  <a:pt x="235" y="101"/>
                </a:cubicBezTo>
                <a:cubicBezTo>
                  <a:pt x="236" y="99"/>
                  <a:pt x="237" y="96"/>
                  <a:pt x="238" y="94"/>
                </a:cubicBezTo>
                <a:cubicBezTo>
                  <a:pt x="248" y="101"/>
                  <a:pt x="253" y="103"/>
                  <a:pt x="257" y="103"/>
                </a:cubicBezTo>
                <a:cubicBezTo>
                  <a:pt x="264" y="103"/>
                  <a:pt x="268" y="99"/>
                  <a:pt x="270" y="91"/>
                </a:cubicBezTo>
                <a:cubicBezTo>
                  <a:pt x="273" y="83"/>
                  <a:pt x="274" y="72"/>
                  <a:pt x="274" y="66"/>
                </a:cubicBezTo>
                <a:cubicBezTo>
                  <a:pt x="274" y="52"/>
                  <a:pt x="269" y="44"/>
                  <a:pt x="257" y="44"/>
                </a:cubicBezTo>
                <a:cubicBezTo>
                  <a:pt x="254" y="44"/>
                  <a:pt x="249" y="45"/>
                  <a:pt x="243" y="46"/>
                </a:cubicBezTo>
                <a:cubicBezTo>
                  <a:pt x="237" y="70"/>
                  <a:pt x="230" y="91"/>
                  <a:pt x="218" y="111"/>
                </a:cubicBezTo>
                <a:cubicBezTo>
                  <a:pt x="210" y="107"/>
                  <a:pt x="210" y="107"/>
                  <a:pt x="210" y="107"/>
                </a:cubicBezTo>
                <a:cubicBezTo>
                  <a:pt x="222" y="88"/>
                  <a:pt x="228" y="69"/>
                  <a:pt x="234" y="47"/>
                </a:cubicBezTo>
                <a:cubicBezTo>
                  <a:pt x="228" y="47"/>
                  <a:pt x="219" y="48"/>
                  <a:pt x="213" y="49"/>
                </a:cubicBezTo>
                <a:cubicBezTo>
                  <a:pt x="212" y="41"/>
                  <a:pt x="212" y="41"/>
                  <a:pt x="212" y="41"/>
                </a:cubicBezTo>
                <a:cubicBezTo>
                  <a:pt x="218" y="40"/>
                  <a:pt x="228" y="39"/>
                  <a:pt x="236" y="38"/>
                </a:cubicBezTo>
                <a:cubicBezTo>
                  <a:pt x="237" y="30"/>
                  <a:pt x="239" y="19"/>
                  <a:pt x="241" y="8"/>
                </a:cubicBezTo>
                <a:lnTo>
                  <a:pt x="253" y="10"/>
                </a:lnTo>
                <a:close/>
                <a:moveTo>
                  <a:pt x="281" y="6"/>
                </a:moveTo>
                <a:cubicBezTo>
                  <a:pt x="287" y="11"/>
                  <a:pt x="294" y="18"/>
                  <a:pt x="297" y="23"/>
                </a:cubicBezTo>
                <a:cubicBezTo>
                  <a:pt x="293" y="26"/>
                  <a:pt x="293" y="26"/>
                  <a:pt x="293" y="26"/>
                </a:cubicBezTo>
                <a:cubicBezTo>
                  <a:pt x="289" y="21"/>
                  <a:pt x="282" y="14"/>
                  <a:pt x="277" y="10"/>
                </a:cubicBezTo>
                <a:lnTo>
                  <a:pt x="281" y="6"/>
                </a:lnTo>
                <a:close/>
                <a:moveTo>
                  <a:pt x="308" y="76"/>
                </a:moveTo>
                <a:cubicBezTo>
                  <a:pt x="304" y="59"/>
                  <a:pt x="295" y="44"/>
                  <a:pt x="284" y="35"/>
                </a:cubicBezTo>
                <a:cubicBezTo>
                  <a:pt x="291" y="30"/>
                  <a:pt x="291" y="30"/>
                  <a:pt x="291" y="30"/>
                </a:cubicBezTo>
                <a:cubicBezTo>
                  <a:pt x="302" y="40"/>
                  <a:pt x="313" y="55"/>
                  <a:pt x="317" y="73"/>
                </a:cubicBezTo>
                <a:lnTo>
                  <a:pt x="308" y="76"/>
                </a:lnTo>
                <a:close/>
                <a:moveTo>
                  <a:pt x="299" y="1"/>
                </a:moveTo>
                <a:cubicBezTo>
                  <a:pt x="305" y="6"/>
                  <a:pt x="312" y="13"/>
                  <a:pt x="316" y="18"/>
                </a:cubicBezTo>
                <a:cubicBezTo>
                  <a:pt x="311" y="22"/>
                  <a:pt x="311" y="22"/>
                  <a:pt x="311" y="22"/>
                </a:cubicBezTo>
                <a:cubicBezTo>
                  <a:pt x="308" y="16"/>
                  <a:pt x="300" y="9"/>
                  <a:pt x="295" y="5"/>
                </a:cubicBezTo>
                <a:lnTo>
                  <a:pt x="299" y="1"/>
                </a:lnTo>
                <a:close/>
                <a:moveTo>
                  <a:pt x="411" y="47"/>
                </a:moveTo>
                <a:cubicBezTo>
                  <a:pt x="411" y="47"/>
                  <a:pt x="411" y="47"/>
                  <a:pt x="410" y="47"/>
                </a:cubicBezTo>
                <a:cubicBezTo>
                  <a:pt x="409" y="47"/>
                  <a:pt x="408" y="47"/>
                  <a:pt x="408" y="46"/>
                </a:cubicBezTo>
                <a:cubicBezTo>
                  <a:pt x="372" y="57"/>
                  <a:pt x="340" y="72"/>
                  <a:pt x="340" y="88"/>
                </a:cubicBezTo>
                <a:cubicBezTo>
                  <a:pt x="340" y="100"/>
                  <a:pt x="353" y="104"/>
                  <a:pt x="372" y="104"/>
                </a:cubicBezTo>
                <a:cubicBezTo>
                  <a:pt x="391" y="104"/>
                  <a:pt x="406" y="102"/>
                  <a:pt x="415" y="101"/>
                </a:cubicBezTo>
                <a:cubicBezTo>
                  <a:pt x="415" y="110"/>
                  <a:pt x="415" y="110"/>
                  <a:pt x="415" y="110"/>
                </a:cubicBezTo>
                <a:cubicBezTo>
                  <a:pt x="404" y="111"/>
                  <a:pt x="386" y="112"/>
                  <a:pt x="372" y="112"/>
                </a:cubicBezTo>
                <a:cubicBezTo>
                  <a:pt x="349" y="112"/>
                  <a:pt x="331" y="107"/>
                  <a:pt x="331" y="89"/>
                </a:cubicBezTo>
                <a:cubicBezTo>
                  <a:pt x="331" y="76"/>
                  <a:pt x="344" y="65"/>
                  <a:pt x="363" y="55"/>
                </a:cubicBezTo>
                <a:cubicBezTo>
                  <a:pt x="359" y="48"/>
                  <a:pt x="357" y="34"/>
                  <a:pt x="357" y="7"/>
                </a:cubicBezTo>
                <a:cubicBezTo>
                  <a:pt x="370" y="8"/>
                  <a:pt x="370" y="8"/>
                  <a:pt x="370" y="8"/>
                </a:cubicBezTo>
                <a:cubicBezTo>
                  <a:pt x="370" y="9"/>
                  <a:pt x="369" y="10"/>
                  <a:pt x="367" y="11"/>
                </a:cubicBezTo>
                <a:cubicBezTo>
                  <a:pt x="367" y="32"/>
                  <a:pt x="367" y="45"/>
                  <a:pt x="371" y="51"/>
                </a:cubicBezTo>
                <a:cubicBezTo>
                  <a:pt x="382" y="46"/>
                  <a:pt x="395" y="41"/>
                  <a:pt x="408" y="37"/>
                </a:cubicBezTo>
                <a:lnTo>
                  <a:pt x="411" y="47"/>
                </a:lnTo>
                <a:close/>
                <a:moveTo>
                  <a:pt x="432" y="48"/>
                </a:moveTo>
                <a:cubicBezTo>
                  <a:pt x="450" y="43"/>
                  <a:pt x="473" y="38"/>
                  <a:pt x="482" y="38"/>
                </a:cubicBezTo>
                <a:cubicBezTo>
                  <a:pt x="500" y="38"/>
                  <a:pt x="511" y="48"/>
                  <a:pt x="511" y="66"/>
                </a:cubicBezTo>
                <a:cubicBezTo>
                  <a:pt x="511" y="67"/>
                  <a:pt x="511" y="67"/>
                  <a:pt x="511" y="67"/>
                </a:cubicBezTo>
                <a:cubicBezTo>
                  <a:pt x="510" y="89"/>
                  <a:pt x="493" y="105"/>
                  <a:pt x="459" y="114"/>
                </a:cubicBezTo>
                <a:cubicBezTo>
                  <a:pt x="458" y="112"/>
                  <a:pt x="455" y="109"/>
                  <a:pt x="453" y="107"/>
                </a:cubicBezTo>
                <a:cubicBezTo>
                  <a:pt x="484" y="99"/>
                  <a:pt x="502" y="85"/>
                  <a:pt x="502" y="67"/>
                </a:cubicBezTo>
                <a:cubicBezTo>
                  <a:pt x="502" y="55"/>
                  <a:pt x="496" y="47"/>
                  <a:pt x="482" y="47"/>
                </a:cubicBezTo>
                <a:cubicBezTo>
                  <a:pt x="472" y="47"/>
                  <a:pt x="453" y="51"/>
                  <a:pt x="438" y="56"/>
                </a:cubicBezTo>
                <a:cubicBezTo>
                  <a:pt x="438" y="57"/>
                  <a:pt x="437" y="58"/>
                  <a:pt x="436" y="59"/>
                </a:cubicBezTo>
                <a:lnTo>
                  <a:pt x="432" y="48"/>
                </a:lnTo>
                <a:close/>
                <a:moveTo>
                  <a:pt x="449" y="7"/>
                </a:moveTo>
                <a:cubicBezTo>
                  <a:pt x="466" y="8"/>
                  <a:pt x="485" y="12"/>
                  <a:pt x="497" y="16"/>
                </a:cubicBezTo>
                <a:cubicBezTo>
                  <a:pt x="495" y="24"/>
                  <a:pt x="495" y="24"/>
                  <a:pt x="495" y="24"/>
                </a:cubicBezTo>
                <a:cubicBezTo>
                  <a:pt x="482" y="20"/>
                  <a:pt x="463" y="16"/>
                  <a:pt x="447" y="15"/>
                </a:cubicBezTo>
                <a:lnTo>
                  <a:pt x="449" y="7"/>
                </a:lnTo>
                <a:close/>
                <a:moveTo>
                  <a:pt x="615" y="104"/>
                </a:moveTo>
                <a:cubicBezTo>
                  <a:pt x="604" y="105"/>
                  <a:pt x="590" y="106"/>
                  <a:pt x="578" y="106"/>
                </a:cubicBezTo>
                <a:cubicBezTo>
                  <a:pt x="568" y="106"/>
                  <a:pt x="559" y="106"/>
                  <a:pt x="555" y="105"/>
                </a:cubicBezTo>
                <a:cubicBezTo>
                  <a:pt x="540" y="102"/>
                  <a:pt x="534" y="92"/>
                  <a:pt x="534" y="82"/>
                </a:cubicBezTo>
                <a:cubicBezTo>
                  <a:pt x="534" y="73"/>
                  <a:pt x="539" y="63"/>
                  <a:pt x="546" y="56"/>
                </a:cubicBezTo>
                <a:cubicBezTo>
                  <a:pt x="553" y="60"/>
                  <a:pt x="553" y="60"/>
                  <a:pt x="553" y="60"/>
                </a:cubicBezTo>
                <a:cubicBezTo>
                  <a:pt x="546" y="67"/>
                  <a:pt x="542" y="74"/>
                  <a:pt x="542" y="81"/>
                </a:cubicBezTo>
                <a:cubicBezTo>
                  <a:pt x="542" y="88"/>
                  <a:pt x="547" y="94"/>
                  <a:pt x="557" y="97"/>
                </a:cubicBezTo>
                <a:cubicBezTo>
                  <a:pt x="561" y="98"/>
                  <a:pt x="568" y="98"/>
                  <a:pt x="577" y="98"/>
                </a:cubicBezTo>
                <a:cubicBezTo>
                  <a:pt x="588" y="98"/>
                  <a:pt x="602" y="97"/>
                  <a:pt x="614" y="95"/>
                </a:cubicBezTo>
                <a:lnTo>
                  <a:pt x="615" y="104"/>
                </a:lnTo>
                <a:close/>
                <a:moveTo>
                  <a:pt x="561" y="43"/>
                </a:moveTo>
                <a:cubicBezTo>
                  <a:pt x="567" y="38"/>
                  <a:pt x="575" y="32"/>
                  <a:pt x="582" y="29"/>
                </a:cubicBezTo>
                <a:cubicBezTo>
                  <a:pt x="582" y="29"/>
                  <a:pt x="582" y="29"/>
                  <a:pt x="582" y="29"/>
                </a:cubicBezTo>
                <a:cubicBezTo>
                  <a:pt x="573" y="30"/>
                  <a:pt x="552" y="30"/>
                  <a:pt x="539" y="30"/>
                </a:cubicBezTo>
                <a:cubicBezTo>
                  <a:pt x="539" y="28"/>
                  <a:pt x="539" y="24"/>
                  <a:pt x="538" y="22"/>
                </a:cubicBezTo>
                <a:cubicBezTo>
                  <a:pt x="545" y="22"/>
                  <a:pt x="545" y="22"/>
                  <a:pt x="545" y="22"/>
                </a:cubicBezTo>
                <a:cubicBezTo>
                  <a:pt x="560" y="22"/>
                  <a:pt x="592" y="22"/>
                  <a:pt x="607" y="18"/>
                </a:cubicBezTo>
                <a:cubicBezTo>
                  <a:pt x="608" y="27"/>
                  <a:pt x="608" y="27"/>
                  <a:pt x="608" y="27"/>
                </a:cubicBezTo>
                <a:cubicBezTo>
                  <a:pt x="604" y="27"/>
                  <a:pt x="601" y="28"/>
                  <a:pt x="595" y="30"/>
                </a:cubicBezTo>
                <a:cubicBezTo>
                  <a:pt x="589" y="33"/>
                  <a:pt x="577" y="40"/>
                  <a:pt x="567" y="47"/>
                </a:cubicBezTo>
                <a:lnTo>
                  <a:pt x="561" y="43"/>
                </a:lnTo>
                <a:close/>
                <a:moveTo>
                  <a:pt x="614" y="60"/>
                </a:moveTo>
                <a:cubicBezTo>
                  <a:pt x="611" y="55"/>
                  <a:pt x="604" y="48"/>
                  <a:pt x="598" y="44"/>
                </a:cubicBezTo>
                <a:cubicBezTo>
                  <a:pt x="602" y="40"/>
                  <a:pt x="602" y="40"/>
                  <a:pt x="602" y="40"/>
                </a:cubicBezTo>
                <a:cubicBezTo>
                  <a:pt x="608" y="44"/>
                  <a:pt x="615" y="51"/>
                  <a:pt x="619" y="56"/>
                </a:cubicBezTo>
                <a:lnTo>
                  <a:pt x="614" y="60"/>
                </a:lnTo>
                <a:close/>
                <a:moveTo>
                  <a:pt x="627" y="49"/>
                </a:moveTo>
                <a:cubicBezTo>
                  <a:pt x="624" y="44"/>
                  <a:pt x="617" y="37"/>
                  <a:pt x="611" y="32"/>
                </a:cubicBezTo>
                <a:cubicBezTo>
                  <a:pt x="615" y="29"/>
                  <a:pt x="615" y="29"/>
                  <a:pt x="615" y="29"/>
                </a:cubicBezTo>
                <a:cubicBezTo>
                  <a:pt x="621" y="33"/>
                  <a:pt x="628" y="40"/>
                  <a:pt x="631" y="45"/>
                </a:cubicBezTo>
                <a:lnTo>
                  <a:pt x="627" y="49"/>
                </a:lnTo>
                <a:close/>
                <a:moveTo>
                  <a:pt x="740" y="32"/>
                </a:moveTo>
                <a:cubicBezTo>
                  <a:pt x="729" y="35"/>
                  <a:pt x="714" y="38"/>
                  <a:pt x="700" y="39"/>
                </a:cubicBezTo>
                <a:cubicBezTo>
                  <a:pt x="704" y="55"/>
                  <a:pt x="710" y="65"/>
                  <a:pt x="722" y="71"/>
                </a:cubicBezTo>
                <a:cubicBezTo>
                  <a:pt x="716" y="78"/>
                  <a:pt x="716" y="78"/>
                  <a:pt x="716" y="78"/>
                </a:cubicBezTo>
                <a:cubicBezTo>
                  <a:pt x="710" y="73"/>
                  <a:pt x="702" y="70"/>
                  <a:pt x="689" y="70"/>
                </a:cubicBezTo>
                <a:cubicBezTo>
                  <a:pt x="688" y="63"/>
                  <a:pt x="688" y="63"/>
                  <a:pt x="688" y="63"/>
                </a:cubicBezTo>
                <a:cubicBezTo>
                  <a:pt x="694" y="63"/>
                  <a:pt x="698" y="64"/>
                  <a:pt x="701" y="64"/>
                </a:cubicBezTo>
                <a:cubicBezTo>
                  <a:pt x="698" y="60"/>
                  <a:pt x="694" y="50"/>
                  <a:pt x="691" y="40"/>
                </a:cubicBezTo>
                <a:cubicBezTo>
                  <a:pt x="686" y="40"/>
                  <a:pt x="678" y="40"/>
                  <a:pt x="671" y="40"/>
                </a:cubicBezTo>
                <a:cubicBezTo>
                  <a:pt x="663" y="40"/>
                  <a:pt x="650" y="40"/>
                  <a:pt x="643" y="40"/>
                </a:cubicBezTo>
                <a:cubicBezTo>
                  <a:pt x="643" y="32"/>
                  <a:pt x="643" y="32"/>
                  <a:pt x="643" y="32"/>
                </a:cubicBezTo>
                <a:cubicBezTo>
                  <a:pt x="650" y="32"/>
                  <a:pt x="660" y="32"/>
                  <a:pt x="671" y="32"/>
                </a:cubicBezTo>
                <a:cubicBezTo>
                  <a:pt x="677" y="32"/>
                  <a:pt x="684" y="32"/>
                  <a:pt x="689" y="32"/>
                </a:cubicBezTo>
                <a:cubicBezTo>
                  <a:pt x="688" y="25"/>
                  <a:pt x="686" y="16"/>
                  <a:pt x="685" y="7"/>
                </a:cubicBezTo>
                <a:cubicBezTo>
                  <a:pt x="698" y="7"/>
                  <a:pt x="698" y="7"/>
                  <a:pt x="698" y="7"/>
                </a:cubicBezTo>
                <a:cubicBezTo>
                  <a:pt x="698" y="9"/>
                  <a:pt x="697" y="10"/>
                  <a:pt x="695" y="10"/>
                </a:cubicBezTo>
                <a:cubicBezTo>
                  <a:pt x="695" y="17"/>
                  <a:pt x="696" y="24"/>
                  <a:pt x="698" y="31"/>
                </a:cubicBezTo>
                <a:cubicBezTo>
                  <a:pt x="712" y="30"/>
                  <a:pt x="727" y="27"/>
                  <a:pt x="738" y="24"/>
                </a:cubicBezTo>
                <a:lnTo>
                  <a:pt x="740" y="32"/>
                </a:lnTo>
                <a:close/>
                <a:moveTo>
                  <a:pt x="719" y="112"/>
                </a:moveTo>
                <a:cubicBezTo>
                  <a:pt x="713" y="112"/>
                  <a:pt x="707" y="112"/>
                  <a:pt x="696" y="112"/>
                </a:cubicBezTo>
                <a:cubicBezTo>
                  <a:pt x="671" y="112"/>
                  <a:pt x="653" y="104"/>
                  <a:pt x="653" y="88"/>
                </a:cubicBezTo>
                <a:cubicBezTo>
                  <a:pt x="653" y="81"/>
                  <a:pt x="658" y="74"/>
                  <a:pt x="664" y="68"/>
                </a:cubicBezTo>
                <a:cubicBezTo>
                  <a:pt x="671" y="73"/>
                  <a:pt x="671" y="73"/>
                  <a:pt x="671" y="73"/>
                </a:cubicBezTo>
                <a:cubicBezTo>
                  <a:pt x="665" y="77"/>
                  <a:pt x="662" y="83"/>
                  <a:pt x="662" y="88"/>
                </a:cubicBezTo>
                <a:cubicBezTo>
                  <a:pt x="662" y="100"/>
                  <a:pt x="677" y="104"/>
                  <a:pt x="697" y="104"/>
                </a:cubicBezTo>
                <a:cubicBezTo>
                  <a:pt x="707" y="104"/>
                  <a:pt x="713" y="104"/>
                  <a:pt x="719" y="103"/>
                </a:cubicBezTo>
                <a:lnTo>
                  <a:pt x="719" y="112"/>
                </a:lnTo>
                <a:close/>
                <a:moveTo>
                  <a:pt x="716" y="3"/>
                </a:moveTo>
                <a:cubicBezTo>
                  <a:pt x="721" y="8"/>
                  <a:pt x="727" y="14"/>
                  <a:pt x="730" y="19"/>
                </a:cubicBezTo>
                <a:cubicBezTo>
                  <a:pt x="725" y="23"/>
                  <a:pt x="725" y="23"/>
                  <a:pt x="725" y="23"/>
                </a:cubicBezTo>
                <a:cubicBezTo>
                  <a:pt x="722" y="17"/>
                  <a:pt x="716" y="11"/>
                  <a:pt x="712" y="6"/>
                </a:cubicBezTo>
                <a:lnTo>
                  <a:pt x="716" y="3"/>
                </a:lnTo>
                <a:close/>
                <a:moveTo>
                  <a:pt x="733" y="0"/>
                </a:moveTo>
                <a:cubicBezTo>
                  <a:pt x="738" y="5"/>
                  <a:pt x="744" y="11"/>
                  <a:pt x="747" y="16"/>
                </a:cubicBezTo>
                <a:cubicBezTo>
                  <a:pt x="742" y="20"/>
                  <a:pt x="742" y="20"/>
                  <a:pt x="742" y="20"/>
                </a:cubicBezTo>
                <a:cubicBezTo>
                  <a:pt x="739" y="15"/>
                  <a:pt x="733" y="8"/>
                  <a:pt x="728" y="3"/>
                </a:cubicBezTo>
                <a:lnTo>
                  <a:pt x="733" y="0"/>
                </a:lnTo>
                <a:close/>
                <a:moveTo>
                  <a:pt x="776" y="20"/>
                </a:moveTo>
                <a:cubicBezTo>
                  <a:pt x="776" y="21"/>
                  <a:pt x="775" y="22"/>
                  <a:pt x="773" y="22"/>
                </a:cubicBezTo>
                <a:cubicBezTo>
                  <a:pt x="772" y="31"/>
                  <a:pt x="771" y="42"/>
                  <a:pt x="771" y="52"/>
                </a:cubicBezTo>
                <a:cubicBezTo>
                  <a:pt x="771" y="57"/>
                  <a:pt x="771" y="61"/>
                  <a:pt x="771" y="65"/>
                </a:cubicBezTo>
                <a:cubicBezTo>
                  <a:pt x="773" y="85"/>
                  <a:pt x="781" y="98"/>
                  <a:pt x="790" y="97"/>
                </a:cubicBezTo>
                <a:cubicBezTo>
                  <a:pt x="795" y="97"/>
                  <a:pt x="801" y="85"/>
                  <a:pt x="806" y="72"/>
                </a:cubicBezTo>
                <a:cubicBezTo>
                  <a:pt x="807" y="73"/>
                  <a:pt x="811" y="76"/>
                  <a:pt x="813" y="77"/>
                </a:cubicBezTo>
                <a:cubicBezTo>
                  <a:pt x="807" y="93"/>
                  <a:pt x="800" y="106"/>
                  <a:pt x="790" y="107"/>
                </a:cubicBezTo>
                <a:cubicBezTo>
                  <a:pt x="775" y="107"/>
                  <a:pt x="764" y="88"/>
                  <a:pt x="763" y="65"/>
                </a:cubicBezTo>
                <a:cubicBezTo>
                  <a:pt x="762" y="61"/>
                  <a:pt x="762" y="56"/>
                  <a:pt x="762" y="50"/>
                </a:cubicBezTo>
                <a:cubicBezTo>
                  <a:pt x="762" y="40"/>
                  <a:pt x="763" y="28"/>
                  <a:pt x="764" y="18"/>
                </a:cubicBezTo>
                <a:lnTo>
                  <a:pt x="776" y="20"/>
                </a:lnTo>
                <a:close/>
                <a:moveTo>
                  <a:pt x="856" y="76"/>
                </a:moveTo>
                <a:cubicBezTo>
                  <a:pt x="853" y="55"/>
                  <a:pt x="842" y="40"/>
                  <a:pt x="826" y="31"/>
                </a:cubicBezTo>
                <a:cubicBezTo>
                  <a:pt x="831" y="24"/>
                  <a:pt x="831" y="24"/>
                  <a:pt x="831" y="24"/>
                </a:cubicBezTo>
                <a:cubicBezTo>
                  <a:pt x="849" y="34"/>
                  <a:pt x="862" y="51"/>
                  <a:pt x="865" y="73"/>
                </a:cubicBezTo>
                <a:lnTo>
                  <a:pt x="856" y="76"/>
                </a:lnTo>
                <a:close/>
                <a:moveTo>
                  <a:pt x="932" y="60"/>
                </a:moveTo>
                <a:cubicBezTo>
                  <a:pt x="944" y="59"/>
                  <a:pt x="957" y="58"/>
                  <a:pt x="967" y="56"/>
                </a:cubicBezTo>
                <a:cubicBezTo>
                  <a:pt x="966" y="48"/>
                  <a:pt x="966" y="48"/>
                  <a:pt x="966" y="48"/>
                </a:cubicBezTo>
                <a:cubicBezTo>
                  <a:pt x="957" y="50"/>
                  <a:pt x="944" y="52"/>
                  <a:pt x="932" y="52"/>
                </a:cubicBezTo>
                <a:cubicBezTo>
                  <a:pt x="932" y="45"/>
                  <a:pt x="932" y="38"/>
                  <a:pt x="932" y="30"/>
                </a:cubicBezTo>
                <a:cubicBezTo>
                  <a:pt x="947" y="30"/>
                  <a:pt x="961" y="28"/>
                  <a:pt x="973" y="26"/>
                </a:cubicBezTo>
                <a:cubicBezTo>
                  <a:pt x="972" y="18"/>
                  <a:pt x="972" y="18"/>
                  <a:pt x="972" y="18"/>
                </a:cubicBezTo>
                <a:cubicBezTo>
                  <a:pt x="960" y="21"/>
                  <a:pt x="946" y="22"/>
                  <a:pt x="932" y="23"/>
                </a:cubicBezTo>
                <a:cubicBezTo>
                  <a:pt x="932" y="21"/>
                  <a:pt x="932" y="11"/>
                  <a:pt x="932" y="9"/>
                </a:cubicBezTo>
                <a:cubicBezTo>
                  <a:pt x="934" y="9"/>
                  <a:pt x="935" y="8"/>
                  <a:pt x="935" y="7"/>
                </a:cubicBezTo>
                <a:cubicBezTo>
                  <a:pt x="923" y="6"/>
                  <a:pt x="923" y="6"/>
                  <a:pt x="923" y="6"/>
                </a:cubicBezTo>
                <a:cubicBezTo>
                  <a:pt x="923" y="10"/>
                  <a:pt x="923" y="17"/>
                  <a:pt x="923" y="23"/>
                </a:cubicBezTo>
                <a:cubicBezTo>
                  <a:pt x="918" y="23"/>
                  <a:pt x="912" y="23"/>
                  <a:pt x="907" y="23"/>
                </a:cubicBezTo>
                <a:cubicBezTo>
                  <a:pt x="898" y="23"/>
                  <a:pt x="888" y="23"/>
                  <a:pt x="881" y="23"/>
                </a:cubicBezTo>
                <a:cubicBezTo>
                  <a:pt x="881" y="31"/>
                  <a:pt x="881" y="31"/>
                  <a:pt x="881" y="31"/>
                </a:cubicBezTo>
                <a:cubicBezTo>
                  <a:pt x="888" y="31"/>
                  <a:pt x="899" y="31"/>
                  <a:pt x="907" y="31"/>
                </a:cubicBezTo>
                <a:cubicBezTo>
                  <a:pt x="912" y="31"/>
                  <a:pt x="918" y="31"/>
                  <a:pt x="923" y="31"/>
                </a:cubicBezTo>
                <a:cubicBezTo>
                  <a:pt x="924" y="53"/>
                  <a:pt x="924" y="53"/>
                  <a:pt x="924" y="53"/>
                </a:cubicBezTo>
                <a:cubicBezTo>
                  <a:pt x="922" y="53"/>
                  <a:pt x="919" y="53"/>
                  <a:pt x="916" y="53"/>
                </a:cubicBezTo>
                <a:cubicBezTo>
                  <a:pt x="901" y="53"/>
                  <a:pt x="895" y="52"/>
                  <a:pt x="895" y="49"/>
                </a:cubicBezTo>
                <a:cubicBezTo>
                  <a:pt x="895" y="46"/>
                  <a:pt x="898" y="44"/>
                  <a:pt x="904" y="41"/>
                </a:cubicBezTo>
                <a:cubicBezTo>
                  <a:pt x="898" y="37"/>
                  <a:pt x="898" y="37"/>
                  <a:pt x="898" y="37"/>
                </a:cubicBezTo>
                <a:cubicBezTo>
                  <a:pt x="890" y="42"/>
                  <a:pt x="887" y="46"/>
                  <a:pt x="887" y="50"/>
                </a:cubicBezTo>
                <a:cubicBezTo>
                  <a:pt x="887" y="57"/>
                  <a:pt x="892" y="60"/>
                  <a:pt x="913" y="60"/>
                </a:cubicBezTo>
                <a:cubicBezTo>
                  <a:pt x="916" y="60"/>
                  <a:pt x="921" y="60"/>
                  <a:pt x="925" y="60"/>
                </a:cubicBezTo>
                <a:cubicBezTo>
                  <a:pt x="925" y="67"/>
                  <a:pt x="925" y="73"/>
                  <a:pt x="925" y="78"/>
                </a:cubicBezTo>
                <a:cubicBezTo>
                  <a:pt x="921" y="77"/>
                  <a:pt x="916" y="77"/>
                  <a:pt x="912" y="77"/>
                </a:cubicBezTo>
                <a:cubicBezTo>
                  <a:pt x="899" y="77"/>
                  <a:pt x="886" y="83"/>
                  <a:pt x="886" y="94"/>
                </a:cubicBezTo>
                <a:cubicBezTo>
                  <a:pt x="886" y="106"/>
                  <a:pt x="897" y="112"/>
                  <a:pt x="912" y="112"/>
                </a:cubicBezTo>
                <a:cubicBezTo>
                  <a:pt x="927" y="112"/>
                  <a:pt x="934" y="105"/>
                  <a:pt x="934" y="94"/>
                </a:cubicBezTo>
                <a:cubicBezTo>
                  <a:pt x="934" y="92"/>
                  <a:pt x="934" y="90"/>
                  <a:pt x="934" y="88"/>
                </a:cubicBezTo>
                <a:cubicBezTo>
                  <a:pt x="942" y="92"/>
                  <a:pt x="953" y="97"/>
                  <a:pt x="963" y="106"/>
                </a:cubicBezTo>
                <a:cubicBezTo>
                  <a:pt x="969" y="99"/>
                  <a:pt x="969" y="99"/>
                  <a:pt x="969" y="99"/>
                </a:cubicBezTo>
                <a:cubicBezTo>
                  <a:pt x="956" y="90"/>
                  <a:pt x="944" y="83"/>
                  <a:pt x="933" y="80"/>
                </a:cubicBezTo>
                <a:lnTo>
                  <a:pt x="932" y="60"/>
                </a:lnTo>
                <a:close/>
                <a:moveTo>
                  <a:pt x="913" y="105"/>
                </a:moveTo>
                <a:cubicBezTo>
                  <a:pt x="902" y="105"/>
                  <a:pt x="894" y="101"/>
                  <a:pt x="894" y="94"/>
                </a:cubicBezTo>
                <a:cubicBezTo>
                  <a:pt x="894" y="87"/>
                  <a:pt x="903" y="83"/>
                  <a:pt x="912" y="83"/>
                </a:cubicBezTo>
                <a:cubicBezTo>
                  <a:pt x="916" y="83"/>
                  <a:pt x="921" y="84"/>
                  <a:pt x="926" y="85"/>
                </a:cubicBezTo>
                <a:cubicBezTo>
                  <a:pt x="926" y="92"/>
                  <a:pt x="926" y="92"/>
                  <a:pt x="926" y="92"/>
                </a:cubicBezTo>
                <a:cubicBezTo>
                  <a:pt x="926" y="101"/>
                  <a:pt x="922" y="105"/>
                  <a:pt x="913" y="105"/>
                </a:cubicBezTo>
                <a:close/>
                <a:moveTo>
                  <a:pt x="1055" y="24"/>
                </a:moveTo>
                <a:cubicBezTo>
                  <a:pt x="1055" y="11"/>
                  <a:pt x="1055" y="10"/>
                  <a:pt x="1055" y="8"/>
                </a:cubicBezTo>
                <a:cubicBezTo>
                  <a:pt x="1057" y="8"/>
                  <a:pt x="1058" y="7"/>
                  <a:pt x="1058" y="6"/>
                </a:cubicBezTo>
                <a:cubicBezTo>
                  <a:pt x="1045" y="5"/>
                  <a:pt x="1045" y="5"/>
                  <a:pt x="1045" y="5"/>
                </a:cubicBezTo>
                <a:cubicBezTo>
                  <a:pt x="1046" y="8"/>
                  <a:pt x="1046" y="21"/>
                  <a:pt x="1046" y="24"/>
                </a:cubicBezTo>
                <a:cubicBezTo>
                  <a:pt x="1018" y="25"/>
                  <a:pt x="1018" y="25"/>
                  <a:pt x="1018" y="25"/>
                </a:cubicBezTo>
                <a:cubicBezTo>
                  <a:pt x="991" y="26"/>
                  <a:pt x="991" y="26"/>
                  <a:pt x="991" y="26"/>
                </a:cubicBezTo>
                <a:cubicBezTo>
                  <a:pt x="991" y="33"/>
                  <a:pt x="991" y="33"/>
                  <a:pt x="991" y="33"/>
                </a:cubicBezTo>
                <a:cubicBezTo>
                  <a:pt x="996" y="33"/>
                  <a:pt x="1034" y="32"/>
                  <a:pt x="1046" y="32"/>
                </a:cubicBezTo>
                <a:cubicBezTo>
                  <a:pt x="1047" y="37"/>
                  <a:pt x="1047" y="45"/>
                  <a:pt x="1047" y="47"/>
                </a:cubicBezTo>
                <a:cubicBezTo>
                  <a:pt x="1044" y="45"/>
                  <a:pt x="1040" y="43"/>
                  <a:pt x="1036" y="43"/>
                </a:cubicBezTo>
                <a:cubicBezTo>
                  <a:pt x="1024" y="43"/>
                  <a:pt x="1014" y="53"/>
                  <a:pt x="1014" y="66"/>
                </a:cubicBezTo>
                <a:cubicBezTo>
                  <a:pt x="1014" y="78"/>
                  <a:pt x="1024" y="87"/>
                  <a:pt x="1034" y="87"/>
                </a:cubicBezTo>
                <a:cubicBezTo>
                  <a:pt x="1040" y="87"/>
                  <a:pt x="1044" y="84"/>
                  <a:pt x="1047" y="80"/>
                </a:cubicBezTo>
                <a:cubicBezTo>
                  <a:pt x="1047" y="80"/>
                  <a:pt x="1047" y="80"/>
                  <a:pt x="1047" y="80"/>
                </a:cubicBezTo>
                <a:cubicBezTo>
                  <a:pt x="1044" y="92"/>
                  <a:pt x="1034" y="102"/>
                  <a:pt x="1016" y="108"/>
                </a:cubicBezTo>
                <a:cubicBezTo>
                  <a:pt x="1017" y="110"/>
                  <a:pt x="1020" y="113"/>
                  <a:pt x="1022" y="115"/>
                </a:cubicBezTo>
                <a:cubicBezTo>
                  <a:pt x="1043" y="107"/>
                  <a:pt x="1053" y="94"/>
                  <a:pt x="1056" y="80"/>
                </a:cubicBezTo>
                <a:cubicBezTo>
                  <a:pt x="1057" y="77"/>
                  <a:pt x="1057" y="73"/>
                  <a:pt x="1057" y="69"/>
                </a:cubicBezTo>
                <a:cubicBezTo>
                  <a:pt x="1057" y="64"/>
                  <a:pt x="1057" y="60"/>
                  <a:pt x="1056" y="56"/>
                </a:cubicBezTo>
                <a:cubicBezTo>
                  <a:pt x="1056" y="49"/>
                  <a:pt x="1055" y="41"/>
                  <a:pt x="1055" y="31"/>
                </a:cubicBezTo>
                <a:cubicBezTo>
                  <a:pt x="1069" y="31"/>
                  <a:pt x="1084" y="31"/>
                  <a:pt x="1094" y="31"/>
                </a:cubicBezTo>
                <a:cubicBezTo>
                  <a:pt x="1094" y="23"/>
                  <a:pt x="1094" y="23"/>
                  <a:pt x="1094" y="23"/>
                </a:cubicBezTo>
                <a:cubicBezTo>
                  <a:pt x="1085" y="23"/>
                  <a:pt x="1070" y="23"/>
                  <a:pt x="1055" y="24"/>
                </a:cubicBezTo>
                <a:close/>
                <a:moveTo>
                  <a:pt x="1035" y="80"/>
                </a:moveTo>
                <a:cubicBezTo>
                  <a:pt x="1028" y="80"/>
                  <a:pt x="1022" y="74"/>
                  <a:pt x="1022" y="66"/>
                </a:cubicBezTo>
                <a:cubicBezTo>
                  <a:pt x="1022" y="57"/>
                  <a:pt x="1028" y="51"/>
                  <a:pt x="1036" y="50"/>
                </a:cubicBezTo>
                <a:cubicBezTo>
                  <a:pt x="1048" y="50"/>
                  <a:pt x="1048" y="61"/>
                  <a:pt x="1048" y="66"/>
                </a:cubicBezTo>
                <a:cubicBezTo>
                  <a:pt x="1048" y="73"/>
                  <a:pt x="1044" y="80"/>
                  <a:pt x="1035" y="8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25" name="Freeform 238">
            <a:extLst>
              <a:ext uri="{FF2B5EF4-FFF2-40B4-BE49-F238E27FC236}">
                <a16:creationId xmlns:a16="http://schemas.microsoft.com/office/drawing/2014/main" id="{E73100F6-796D-A444-E95E-6FA832DDA63F}"/>
              </a:ext>
              <a:ext uri="{C183D7F6-B498-43B3-948B-1728B52AA6E4}">
                <adec:decorative xmlns:adec="http://schemas.microsoft.com/office/drawing/2017/decorative" val="1"/>
              </a:ext>
            </a:extLst>
          </p:cNvPr>
          <p:cNvSpPr>
            <a:spLocks noEditPoints="1"/>
          </p:cNvSpPr>
          <p:nvPr userDrawn="1"/>
        </p:nvSpPr>
        <p:spPr bwMode="auto">
          <a:xfrm>
            <a:off x="4366952" y="4228494"/>
            <a:ext cx="1448800" cy="464951"/>
          </a:xfrm>
          <a:custGeom>
            <a:avLst/>
            <a:gdLst>
              <a:gd name="T0" fmla="*/ 0 w 477"/>
              <a:gd name="T1" fmla="*/ 37 h 153"/>
              <a:gd name="T2" fmla="*/ 30 w 477"/>
              <a:gd name="T3" fmla="*/ 151 h 153"/>
              <a:gd name="T4" fmla="*/ 92 w 477"/>
              <a:gd name="T5" fmla="*/ 93 h 153"/>
              <a:gd name="T6" fmla="*/ 65 w 477"/>
              <a:gd name="T7" fmla="*/ 127 h 153"/>
              <a:gd name="T8" fmla="*/ 13 w 477"/>
              <a:gd name="T9" fmla="*/ 139 h 153"/>
              <a:gd name="T10" fmla="*/ 31 w 477"/>
              <a:gd name="T11" fmla="*/ 49 h 153"/>
              <a:gd name="T12" fmla="*/ 65 w 477"/>
              <a:gd name="T13" fmla="*/ 127 h 153"/>
              <a:gd name="T14" fmla="*/ 115 w 477"/>
              <a:gd name="T15" fmla="*/ 151 h 153"/>
              <a:gd name="T16" fmla="*/ 173 w 477"/>
              <a:gd name="T17" fmla="*/ 37 h 153"/>
              <a:gd name="T18" fmla="*/ 128 w 477"/>
              <a:gd name="T19" fmla="*/ 49 h 153"/>
              <a:gd name="T20" fmla="*/ 169 w 477"/>
              <a:gd name="T21" fmla="*/ 87 h 153"/>
              <a:gd name="T22" fmla="*/ 128 w 477"/>
              <a:gd name="T23" fmla="*/ 99 h 153"/>
              <a:gd name="T24" fmla="*/ 175 w 477"/>
              <a:gd name="T25" fmla="*/ 139 h 153"/>
              <a:gd name="T26" fmla="*/ 167 w 477"/>
              <a:gd name="T27" fmla="*/ 0 h 153"/>
              <a:gd name="T28" fmla="*/ 139 w 477"/>
              <a:gd name="T29" fmla="*/ 26 h 153"/>
              <a:gd name="T30" fmla="*/ 131 w 477"/>
              <a:gd name="T31" fmla="*/ 0 h 153"/>
              <a:gd name="T32" fmla="*/ 157 w 477"/>
              <a:gd name="T33" fmla="*/ 0 h 153"/>
              <a:gd name="T34" fmla="*/ 277 w 477"/>
              <a:gd name="T35" fmla="*/ 151 h 153"/>
              <a:gd name="T36" fmla="*/ 214 w 477"/>
              <a:gd name="T37" fmla="*/ 99 h 153"/>
              <a:gd name="T38" fmla="*/ 211 w 477"/>
              <a:gd name="T39" fmla="*/ 95 h 153"/>
              <a:gd name="T40" fmla="*/ 198 w 477"/>
              <a:gd name="T41" fmla="*/ 151 h 153"/>
              <a:gd name="T42" fmla="*/ 211 w 477"/>
              <a:gd name="T43" fmla="*/ 37 h 153"/>
              <a:gd name="T44" fmla="*/ 211 w 477"/>
              <a:gd name="T45" fmla="*/ 91 h 153"/>
              <a:gd name="T46" fmla="*/ 257 w 477"/>
              <a:gd name="T47" fmla="*/ 37 h 153"/>
              <a:gd name="T48" fmla="*/ 225 w 477"/>
              <a:gd name="T49" fmla="*/ 92 h 153"/>
              <a:gd name="T50" fmla="*/ 377 w 477"/>
              <a:gd name="T51" fmla="*/ 105 h 153"/>
              <a:gd name="T52" fmla="*/ 291 w 477"/>
              <a:gd name="T53" fmla="*/ 107 h 153"/>
              <a:gd name="T54" fmla="*/ 305 w 477"/>
              <a:gd name="T55" fmla="*/ 37 h 153"/>
              <a:gd name="T56" fmla="*/ 334 w 477"/>
              <a:gd name="T57" fmla="*/ 141 h 153"/>
              <a:gd name="T58" fmla="*/ 363 w 477"/>
              <a:gd name="T59" fmla="*/ 37 h 153"/>
              <a:gd name="T60" fmla="*/ 377 w 477"/>
              <a:gd name="T61" fmla="*/ 105 h 153"/>
              <a:gd name="T62" fmla="*/ 426 w 477"/>
              <a:gd name="T63" fmla="*/ 142 h 153"/>
              <a:gd name="T64" fmla="*/ 392 w 477"/>
              <a:gd name="T65" fmla="*/ 151 h 153"/>
              <a:gd name="T66" fmla="*/ 403 w 477"/>
              <a:gd name="T67" fmla="*/ 141 h 153"/>
              <a:gd name="T68" fmla="*/ 421 w 477"/>
              <a:gd name="T69" fmla="*/ 37 h 153"/>
              <a:gd name="T70" fmla="*/ 435 w 477"/>
              <a:gd name="T71" fmla="*/ 110 h 153"/>
              <a:gd name="T72" fmla="*/ 464 w 477"/>
              <a:gd name="T73" fmla="*/ 151 h 153"/>
              <a:gd name="T74" fmla="*/ 477 w 477"/>
              <a:gd name="T75" fmla="*/ 3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7" h="153">
                <a:moveTo>
                  <a:pt x="31" y="37"/>
                </a:moveTo>
                <a:cubicBezTo>
                  <a:pt x="0" y="37"/>
                  <a:pt x="0" y="37"/>
                  <a:pt x="0" y="37"/>
                </a:cubicBezTo>
                <a:cubicBezTo>
                  <a:pt x="0" y="151"/>
                  <a:pt x="0" y="151"/>
                  <a:pt x="0" y="151"/>
                </a:cubicBezTo>
                <a:cubicBezTo>
                  <a:pt x="30" y="151"/>
                  <a:pt x="30" y="151"/>
                  <a:pt x="30" y="151"/>
                </a:cubicBezTo>
                <a:cubicBezTo>
                  <a:pt x="49" y="151"/>
                  <a:pt x="64" y="146"/>
                  <a:pt x="75" y="135"/>
                </a:cubicBezTo>
                <a:cubicBezTo>
                  <a:pt x="86" y="124"/>
                  <a:pt x="92" y="110"/>
                  <a:pt x="92" y="93"/>
                </a:cubicBezTo>
                <a:cubicBezTo>
                  <a:pt x="92" y="55"/>
                  <a:pt x="72" y="37"/>
                  <a:pt x="31" y="37"/>
                </a:cubicBezTo>
                <a:close/>
                <a:moveTo>
                  <a:pt x="65" y="127"/>
                </a:moveTo>
                <a:cubicBezTo>
                  <a:pt x="57" y="135"/>
                  <a:pt x="45" y="139"/>
                  <a:pt x="30" y="139"/>
                </a:cubicBezTo>
                <a:cubicBezTo>
                  <a:pt x="13" y="139"/>
                  <a:pt x="13" y="139"/>
                  <a:pt x="13" y="139"/>
                </a:cubicBezTo>
                <a:cubicBezTo>
                  <a:pt x="13" y="49"/>
                  <a:pt x="13" y="49"/>
                  <a:pt x="13" y="49"/>
                </a:cubicBezTo>
                <a:cubicBezTo>
                  <a:pt x="31" y="49"/>
                  <a:pt x="31" y="49"/>
                  <a:pt x="31" y="49"/>
                </a:cubicBezTo>
                <a:cubicBezTo>
                  <a:pt x="62" y="49"/>
                  <a:pt x="78" y="63"/>
                  <a:pt x="78" y="93"/>
                </a:cubicBezTo>
                <a:cubicBezTo>
                  <a:pt x="78" y="108"/>
                  <a:pt x="74" y="119"/>
                  <a:pt x="65" y="127"/>
                </a:cubicBezTo>
                <a:close/>
                <a:moveTo>
                  <a:pt x="175" y="151"/>
                </a:moveTo>
                <a:cubicBezTo>
                  <a:pt x="115" y="151"/>
                  <a:pt x="115" y="151"/>
                  <a:pt x="115" y="151"/>
                </a:cubicBezTo>
                <a:cubicBezTo>
                  <a:pt x="115" y="37"/>
                  <a:pt x="115" y="37"/>
                  <a:pt x="115" y="37"/>
                </a:cubicBezTo>
                <a:cubicBezTo>
                  <a:pt x="173" y="37"/>
                  <a:pt x="173" y="37"/>
                  <a:pt x="173" y="37"/>
                </a:cubicBezTo>
                <a:cubicBezTo>
                  <a:pt x="173" y="49"/>
                  <a:pt x="173" y="49"/>
                  <a:pt x="173" y="49"/>
                </a:cubicBezTo>
                <a:cubicBezTo>
                  <a:pt x="128" y="49"/>
                  <a:pt x="128" y="49"/>
                  <a:pt x="128" y="49"/>
                </a:cubicBezTo>
                <a:cubicBezTo>
                  <a:pt x="128" y="87"/>
                  <a:pt x="128" y="87"/>
                  <a:pt x="128" y="87"/>
                </a:cubicBezTo>
                <a:cubicBezTo>
                  <a:pt x="169" y="87"/>
                  <a:pt x="169" y="87"/>
                  <a:pt x="169" y="87"/>
                </a:cubicBezTo>
                <a:cubicBezTo>
                  <a:pt x="169" y="99"/>
                  <a:pt x="169" y="99"/>
                  <a:pt x="169" y="99"/>
                </a:cubicBezTo>
                <a:cubicBezTo>
                  <a:pt x="128" y="99"/>
                  <a:pt x="128" y="99"/>
                  <a:pt x="128" y="99"/>
                </a:cubicBezTo>
                <a:cubicBezTo>
                  <a:pt x="128" y="139"/>
                  <a:pt x="128" y="139"/>
                  <a:pt x="128" y="139"/>
                </a:cubicBezTo>
                <a:cubicBezTo>
                  <a:pt x="175" y="139"/>
                  <a:pt x="175" y="139"/>
                  <a:pt x="175" y="139"/>
                </a:cubicBezTo>
                <a:lnTo>
                  <a:pt x="175" y="151"/>
                </a:lnTo>
                <a:close/>
                <a:moveTo>
                  <a:pt x="167" y="0"/>
                </a:moveTo>
                <a:cubicBezTo>
                  <a:pt x="150" y="26"/>
                  <a:pt x="150" y="26"/>
                  <a:pt x="150" y="26"/>
                </a:cubicBezTo>
                <a:cubicBezTo>
                  <a:pt x="139" y="26"/>
                  <a:pt x="139" y="26"/>
                  <a:pt x="139" y="26"/>
                </a:cubicBezTo>
                <a:cubicBezTo>
                  <a:pt x="122" y="0"/>
                  <a:pt x="122" y="0"/>
                  <a:pt x="122" y="0"/>
                </a:cubicBezTo>
                <a:cubicBezTo>
                  <a:pt x="131" y="0"/>
                  <a:pt x="131" y="0"/>
                  <a:pt x="131" y="0"/>
                </a:cubicBezTo>
                <a:cubicBezTo>
                  <a:pt x="144" y="18"/>
                  <a:pt x="144" y="18"/>
                  <a:pt x="144" y="18"/>
                </a:cubicBezTo>
                <a:cubicBezTo>
                  <a:pt x="157" y="0"/>
                  <a:pt x="157" y="0"/>
                  <a:pt x="157" y="0"/>
                </a:cubicBezTo>
                <a:lnTo>
                  <a:pt x="167" y="0"/>
                </a:lnTo>
                <a:close/>
                <a:moveTo>
                  <a:pt x="277" y="151"/>
                </a:moveTo>
                <a:cubicBezTo>
                  <a:pt x="259" y="151"/>
                  <a:pt x="259" y="151"/>
                  <a:pt x="259" y="151"/>
                </a:cubicBezTo>
                <a:cubicBezTo>
                  <a:pt x="214" y="99"/>
                  <a:pt x="214" y="99"/>
                  <a:pt x="214" y="99"/>
                </a:cubicBezTo>
                <a:cubicBezTo>
                  <a:pt x="213" y="97"/>
                  <a:pt x="212" y="96"/>
                  <a:pt x="211" y="95"/>
                </a:cubicBezTo>
                <a:cubicBezTo>
                  <a:pt x="211" y="95"/>
                  <a:pt x="211" y="95"/>
                  <a:pt x="211" y="95"/>
                </a:cubicBezTo>
                <a:cubicBezTo>
                  <a:pt x="211" y="151"/>
                  <a:pt x="211" y="151"/>
                  <a:pt x="211" y="151"/>
                </a:cubicBezTo>
                <a:cubicBezTo>
                  <a:pt x="198" y="151"/>
                  <a:pt x="198" y="151"/>
                  <a:pt x="198" y="151"/>
                </a:cubicBezTo>
                <a:cubicBezTo>
                  <a:pt x="198" y="37"/>
                  <a:pt x="198" y="37"/>
                  <a:pt x="198" y="37"/>
                </a:cubicBezTo>
                <a:cubicBezTo>
                  <a:pt x="211" y="37"/>
                  <a:pt x="211" y="37"/>
                  <a:pt x="211" y="37"/>
                </a:cubicBezTo>
                <a:cubicBezTo>
                  <a:pt x="211" y="91"/>
                  <a:pt x="211" y="91"/>
                  <a:pt x="211" y="91"/>
                </a:cubicBezTo>
                <a:cubicBezTo>
                  <a:pt x="211" y="91"/>
                  <a:pt x="211" y="91"/>
                  <a:pt x="211" y="91"/>
                </a:cubicBezTo>
                <a:cubicBezTo>
                  <a:pt x="212" y="89"/>
                  <a:pt x="213" y="88"/>
                  <a:pt x="214" y="87"/>
                </a:cubicBezTo>
                <a:cubicBezTo>
                  <a:pt x="257" y="37"/>
                  <a:pt x="257" y="37"/>
                  <a:pt x="257" y="37"/>
                </a:cubicBezTo>
                <a:cubicBezTo>
                  <a:pt x="274" y="37"/>
                  <a:pt x="274" y="37"/>
                  <a:pt x="274" y="37"/>
                </a:cubicBezTo>
                <a:cubicBezTo>
                  <a:pt x="225" y="92"/>
                  <a:pt x="225" y="92"/>
                  <a:pt x="225" y="92"/>
                </a:cubicBezTo>
                <a:lnTo>
                  <a:pt x="277" y="151"/>
                </a:lnTo>
                <a:close/>
                <a:moveTo>
                  <a:pt x="377" y="105"/>
                </a:moveTo>
                <a:cubicBezTo>
                  <a:pt x="377" y="137"/>
                  <a:pt x="362" y="153"/>
                  <a:pt x="333" y="153"/>
                </a:cubicBezTo>
                <a:cubicBezTo>
                  <a:pt x="305" y="153"/>
                  <a:pt x="291" y="138"/>
                  <a:pt x="291" y="107"/>
                </a:cubicBezTo>
                <a:cubicBezTo>
                  <a:pt x="291" y="37"/>
                  <a:pt x="291" y="37"/>
                  <a:pt x="291" y="37"/>
                </a:cubicBezTo>
                <a:cubicBezTo>
                  <a:pt x="305" y="37"/>
                  <a:pt x="305" y="37"/>
                  <a:pt x="305" y="37"/>
                </a:cubicBezTo>
                <a:cubicBezTo>
                  <a:pt x="305" y="106"/>
                  <a:pt x="305" y="106"/>
                  <a:pt x="305" y="106"/>
                </a:cubicBezTo>
                <a:cubicBezTo>
                  <a:pt x="305" y="129"/>
                  <a:pt x="315" y="141"/>
                  <a:pt x="334" y="141"/>
                </a:cubicBezTo>
                <a:cubicBezTo>
                  <a:pt x="354" y="141"/>
                  <a:pt x="363" y="130"/>
                  <a:pt x="363" y="107"/>
                </a:cubicBezTo>
                <a:cubicBezTo>
                  <a:pt x="363" y="37"/>
                  <a:pt x="363" y="37"/>
                  <a:pt x="363" y="37"/>
                </a:cubicBezTo>
                <a:cubicBezTo>
                  <a:pt x="377" y="37"/>
                  <a:pt x="377" y="37"/>
                  <a:pt x="377" y="37"/>
                </a:cubicBezTo>
                <a:lnTo>
                  <a:pt x="377" y="105"/>
                </a:lnTo>
                <a:close/>
                <a:moveTo>
                  <a:pt x="435" y="110"/>
                </a:moveTo>
                <a:cubicBezTo>
                  <a:pt x="435" y="124"/>
                  <a:pt x="432" y="134"/>
                  <a:pt x="426" y="142"/>
                </a:cubicBezTo>
                <a:cubicBezTo>
                  <a:pt x="420" y="150"/>
                  <a:pt x="413" y="153"/>
                  <a:pt x="403" y="153"/>
                </a:cubicBezTo>
                <a:cubicBezTo>
                  <a:pt x="398" y="153"/>
                  <a:pt x="395" y="153"/>
                  <a:pt x="392" y="151"/>
                </a:cubicBezTo>
                <a:cubicBezTo>
                  <a:pt x="392" y="138"/>
                  <a:pt x="392" y="138"/>
                  <a:pt x="392" y="138"/>
                </a:cubicBezTo>
                <a:cubicBezTo>
                  <a:pt x="395" y="140"/>
                  <a:pt x="398" y="141"/>
                  <a:pt x="403" y="141"/>
                </a:cubicBezTo>
                <a:cubicBezTo>
                  <a:pt x="415" y="141"/>
                  <a:pt x="421" y="131"/>
                  <a:pt x="421" y="110"/>
                </a:cubicBezTo>
                <a:cubicBezTo>
                  <a:pt x="421" y="37"/>
                  <a:pt x="421" y="37"/>
                  <a:pt x="421" y="37"/>
                </a:cubicBezTo>
                <a:cubicBezTo>
                  <a:pt x="435" y="37"/>
                  <a:pt x="435" y="37"/>
                  <a:pt x="435" y="37"/>
                </a:cubicBezTo>
                <a:lnTo>
                  <a:pt x="435" y="110"/>
                </a:lnTo>
                <a:close/>
                <a:moveTo>
                  <a:pt x="477" y="151"/>
                </a:moveTo>
                <a:cubicBezTo>
                  <a:pt x="464" y="151"/>
                  <a:pt x="464" y="151"/>
                  <a:pt x="464" y="151"/>
                </a:cubicBezTo>
                <a:cubicBezTo>
                  <a:pt x="464" y="37"/>
                  <a:pt x="464" y="37"/>
                  <a:pt x="464" y="37"/>
                </a:cubicBezTo>
                <a:cubicBezTo>
                  <a:pt x="477" y="37"/>
                  <a:pt x="477" y="37"/>
                  <a:pt x="477" y="37"/>
                </a:cubicBezTo>
                <a:lnTo>
                  <a:pt x="477" y="151"/>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6" name="Freeform 239">
            <a:extLst>
              <a:ext uri="{FF2B5EF4-FFF2-40B4-BE49-F238E27FC236}">
                <a16:creationId xmlns:a16="http://schemas.microsoft.com/office/drawing/2014/main" id="{8248B6B1-34B3-E612-82E6-7E7C4CDAFCB1}"/>
              </a:ext>
              <a:ext uri="{C183D7F6-B498-43B3-948B-1728B52AA6E4}">
                <adec:decorative xmlns:adec="http://schemas.microsoft.com/office/drawing/2017/decorative" val="1"/>
              </a:ext>
            </a:extLst>
          </p:cNvPr>
          <p:cNvSpPr>
            <a:spLocks noEditPoints="1"/>
          </p:cNvSpPr>
          <p:nvPr userDrawn="1"/>
        </p:nvSpPr>
        <p:spPr bwMode="auto">
          <a:xfrm>
            <a:off x="3655439" y="1694482"/>
            <a:ext cx="852840" cy="273577"/>
          </a:xfrm>
          <a:custGeom>
            <a:avLst/>
            <a:gdLst>
              <a:gd name="T0" fmla="*/ 60 w 281"/>
              <a:gd name="T1" fmla="*/ 11 h 90"/>
              <a:gd name="T2" fmla="*/ 35 w 281"/>
              <a:gd name="T3" fmla="*/ 11 h 90"/>
              <a:gd name="T4" fmla="*/ 35 w 281"/>
              <a:gd name="T5" fmla="*/ 89 h 90"/>
              <a:gd name="T6" fmla="*/ 25 w 281"/>
              <a:gd name="T7" fmla="*/ 89 h 90"/>
              <a:gd name="T8" fmla="*/ 25 w 281"/>
              <a:gd name="T9" fmla="*/ 11 h 90"/>
              <a:gd name="T10" fmla="*/ 0 w 281"/>
              <a:gd name="T11" fmla="*/ 11 h 90"/>
              <a:gd name="T12" fmla="*/ 0 w 281"/>
              <a:gd name="T13" fmla="*/ 2 h 90"/>
              <a:gd name="T14" fmla="*/ 60 w 281"/>
              <a:gd name="T15" fmla="*/ 2 h 90"/>
              <a:gd name="T16" fmla="*/ 60 w 281"/>
              <a:gd name="T17" fmla="*/ 11 h 90"/>
              <a:gd name="T18" fmla="*/ 99 w 281"/>
              <a:gd name="T19" fmla="*/ 2 h 90"/>
              <a:gd name="T20" fmla="*/ 88 w 281"/>
              <a:gd name="T21" fmla="*/ 2 h 90"/>
              <a:gd name="T22" fmla="*/ 55 w 281"/>
              <a:gd name="T23" fmla="*/ 89 h 90"/>
              <a:gd name="T24" fmla="*/ 66 w 281"/>
              <a:gd name="T25" fmla="*/ 89 h 90"/>
              <a:gd name="T26" fmla="*/ 75 w 281"/>
              <a:gd name="T27" fmla="*/ 64 h 90"/>
              <a:gd name="T28" fmla="*/ 112 w 281"/>
              <a:gd name="T29" fmla="*/ 64 h 90"/>
              <a:gd name="T30" fmla="*/ 121 w 281"/>
              <a:gd name="T31" fmla="*/ 89 h 90"/>
              <a:gd name="T32" fmla="*/ 132 w 281"/>
              <a:gd name="T33" fmla="*/ 89 h 90"/>
              <a:gd name="T34" fmla="*/ 99 w 281"/>
              <a:gd name="T35" fmla="*/ 2 h 90"/>
              <a:gd name="T36" fmla="*/ 78 w 281"/>
              <a:gd name="T37" fmla="*/ 55 h 90"/>
              <a:gd name="T38" fmla="*/ 92 w 281"/>
              <a:gd name="T39" fmla="*/ 18 h 90"/>
              <a:gd name="T40" fmla="*/ 93 w 281"/>
              <a:gd name="T41" fmla="*/ 12 h 90"/>
              <a:gd name="T42" fmla="*/ 93 w 281"/>
              <a:gd name="T43" fmla="*/ 12 h 90"/>
              <a:gd name="T44" fmla="*/ 95 w 281"/>
              <a:gd name="T45" fmla="*/ 18 h 90"/>
              <a:gd name="T46" fmla="*/ 108 w 281"/>
              <a:gd name="T47" fmla="*/ 55 h 90"/>
              <a:gd name="T48" fmla="*/ 78 w 281"/>
              <a:gd name="T49" fmla="*/ 55 h 90"/>
              <a:gd name="T50" fmla="*/ 203 w 281"/>
              <a:gd name="T51" fmla="*/ 85 h 90"/>
              <a:gd name="T52" fmla="*/ 179 w 281"/>
              <a:gd name="T53" fmla="*/ 90 h 90"/>
              <a:gd name="T54" fmla="*/ 149 w 281"/>
              <a:gd name="T55" fmla="*/ 78 h 90"/>
              <a:gd name="T56" fmla="*/ 138 w 281"/>
              <a:gd name="T57" fmla="*/ 47 h 90"/>
              <a:gd name="T58" fmla="*/ 150 w 281"/>
              <a:gd name="T59" fmla="*/ 13 h 90"/>
              <a:gd name="T60" fmla="*/ 182 w 281"/>
              <a:gd name="T61" fmla="*/ 0 h 90"/>
              <a:gd name="T62" fmla="*/ 203 w 281"/>
              <a:gd name="T63" fmla="*/ 4 h 90"/>
              <a:gd name="T64" fmla="*/ 203 w 281"/>
              <a:gd name="T65" fmla="*/ 15 h 90"/>
              <a:gd name="T66" fmla="*/ 182 w 281"/>
              <a:gd name="T67" fmla="*/ 9 h 90"/>
              <a:gd name="T68" fmla="*/ 158 w 281"/>
              <a:gd name="T69" fmla="*/ 19 h 90"/>
              <a:gd name="T70" fmla="*/ 148 w 281"/>
              <a:gd name="T71" fmla="*/ 46 h 90"/>
              <a:gd name="T72" fmla="*/ 157 w 281"/>
              <a:gd name="T73" fmla="*/ 72 h 90"/>
              <a:gd name="T74" fmla="*/ 180 w 281"/>
              <a:gd name="T75" fmla="*/ 81 h 90"/>
              <a:gd name="T76" fmla="*/ 203 w 281"/>
              <a:gd name="T77" fmla="*/ 75 h 90"/>
              <a:gd name="T78" fmla="*/ 203 w 281"/>
              <a:gd name="T79" fmla="*/ 85 h 90"/>
              <a:gd name="T80" fmla="*/ 281 w 281"/>
              <a:gd name="T81" fmla="*/ 89 h 90"/>
              <a:gd name="T82" fmla="*/ 267 w 281"/>
              <a:gd name="T83" fmla="*/ 89 h 90"/>
              <a:gd name="T84" fmla="*/ 233 w 281"/>
              <a:gd name="T85" fmla="*/ 49 h 90"/>
              <a:gd name="T86" fmla="*/ 231 w 281"/>
              <a:gd name="T87" fmla="*/ 46 h 90"/>
              <a:gd name="T88" fmla="*/ 231 w 281"/>
              <a:gd name="T89" fmla="*/ 46 h 90"/>
              <a:gd name="T90" fmla="*/ 231 w 281"/>
              <a:gd name="T91" fmla="*/ 89 h 90"/>
              <a:gd name="T92" fmla="*/ 220 w 281"/>
              <a:gd name="T93" fmla="*/ 89 h 90"/>
              <a:gd name="T94" fmla="*/ 220 w 281"/>
              <a:gd name="T95" fmla="*/ 2 h 90"/>
              <a:gd name="T96" fmla="*/ 231 w 281"/>
              <a:gd name="T97" fmla="*/ 2 h 90"/>
              <a:gd name="T98" fmla="*/ 231 w 281"/>
              <a:gd name="T99" fmla="*/ 43 h 90"/>
              <a:gd name="T100" fmla="*/ 231 w 281"/>
              <a:gd name="T101" fmla="*/ 43 h 90"/>
              <a:gd name="T102" fmla="*/ 233 w 281"/>
              <a:gd name="T103" fmla="*/ 40 h 90"/>
              <a:gd name="T104" fmla="*/ 266 w 281"/>
              <a:gd name="T105" fmla="*/ 2 h 90"/>
              <a:gd name="T106" fmla="*/ 278 w 281"/>
              <a:gd name="T107" fmla="*/ 2 h 90"/>
              <a:gd name="T108" fmla="*/ 241 w 281"/>
              <a:gd name="T109" fmla="*/ 43 h 90"/>
              <a:gd name="T110" fmla="*/ 281 w 281"/>
              <a:gd name="T11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 h="90">
                <a:moveTo>
                  <a:pt x="60" y="11"/>
                </a:moveTo>
                <a:cubicBezTo>
                  <a:pt x="35" y="11"/>
                  <a:pt x="35" y="11"/>
                  <a:pt x="35" y="11"/>
                </a:cubicBezTo>
                <a:cubicBezTo>
                  <a:pt x="35" y="89"/>
                  <a:pt x="35" y="89"/>
                  <a:pt x="35" y="89"/>
                </a:cubicBezTo>
                <a:cubicBezTo>
                  <a:pt x="25" y="89"/>
                  <a:pt x="25" y="89"/>
                  <a:pt x="25" y="89"/>
                </a:cubicBezTo>
                <a:cubicBezTo>
                  <a:pt x="25" y="11"/>
                  <a:pt x="25" y="11"/>
                  <a:pt x="25" y="11"/>
                </a:cubicBezTo>
                <a:cubicBezTo>
                  <a:pt x="0" y="11"/>
                  <a:pt x="0" y="11"/>
                  <a:pt x="0" y="11"/>
                </a:cubicBezTo>
                <a:cubicBezTo>
                  <a:pt x="0" y="2"/>
                  <a:pt x="0" y="2"/>
                  <a:pt x="0" y="2"/>
                </a:cubicBezTo>
                <a:cubicBezTo>
                  <a:pt x="60" y="2"/>
                  <a:pt x="60" y="2"/>
                  <a:pt x="60" y="2"/>
                </a:cubicBezTo>
                <a:lnTo>
                  <a:pt x="60" y="11"/>
                </a:lnTo>
                <a:close/>
                <a:moveTo>
                  <a:pt x="99" y="2"/>
                </a:moveTo>
                <a:cubicBezTo>
                  <a:pt x="88" y="2"/>
                  <a:pt x="88" y="2"/>
                  <a:pt x="88" y="2"/>
                </a:cubicBezTo>
                <a:cubicBezTo>
                  <a:pt x="55" y="89"/>
                  <a:pt x="55" y="89"/>
                  <a:pt x="55" y="89"/>
                </a:cubicBezTo>
                <a:cubicBezTo>
                  <a:pt x="66" y="89"/>
                  <a:pt x="66" y="89"/>
                  <a:pt x="66" y="89"/>
                </a:cubicBezTo>
                <a:cubicBezTo>
                  <a:pt x="75" y="64"/>
                  <a:pt x="75" y="64"/>
                  <a:pt x="75" y="64"/>
                </a:cubicBezTo>
                <a:cubicBezTo>
                  <a:pt x="112" y="64"/>
                  <a:pt x="112" y="64"/>
                  <a:pt x="112" y="64"/>
                </a:cubicBezTo>
                <a:cubicBezTo>
                  <a:pt x="121" y="89"/>
                  <a:pt x="121" y="89"/>
                  <a:pt x="121" y="89"/>
                </a:cubicBezTo>
                <a:cubicBezTo>
                  <a:pt x="132" y="89"/>
                  <a:pt x="132" y="89"/>
                  <a:pt x="132" y="89"/>
                </a:cubicBezTo>
                <a:lnTo>
                  <a:pt x="99" y="2"/>
                </a:lnTo>
                <a:close/>
                <a:moveTo>
                  <a:pt x="78" y="55"/>
                </a:moveTo>
                <a:cubicBezTo>
                  <a:pt x="92" y="18"/>
                  <a:pt x="92" y="18"/>
                  <a:pt x="92" y="18"/>
                </a:cubicBezTo>
                <a:cubicBezTo>
                  <a:pt x="92" y="17"/>
                  <a:pt x="93" y="15"/>
                  <a:pt x="93" y="12"/>
                </a:cubicBezTo>
                <a:cubicBezTo>
                  <a:pt x="93" y="12"/>
                  <a:pt x="93" y="12"/>
                  <a:pt x="93" y="12"/>
                </a:cubicBezTo>
                <a:cubicBezTo>
                  <a:pt x="94" y="15"/>
                  <a:pt x="94" y="17"/>
                  <a:pt x="95" y="18"/>
                </a:cubicBezTo>
                <a:cubicBezTo>
                  <a:pt x="108" y="55"/>
                  <a:pt x="108" y="55"/>
                  <a:pt x="108" y="55"/>
                </a:cubicBezTo>
                <a:lnTo>
                  <a:pt x="78" y="55"/>
                </a:lnTo>
                <a:close/>
                <a:moveTo>
                  <a:pt x="203" y="85"/>
                </a:moveTo>
                <a:cubicBezTo>
                  <a:pt x="196" y="89"/>
                  <a:pt x="188" y="90"/>
                  <a:pt x="179" y="90"/>
                </a:cubicBezTo>
                <a:cubicBezTo>
                  <a:pt x="166" y="90"/>
                  <a:pt x="156" y="86"/>
                  <a:pt x="149" y="78"/>
                </a:cubicBezTo>
                <a:cubicBezTo>
                  <a:pt x="141" y="70"/>
                  <a:pt x="138" y="60"/>
                  <a:pt x="138" y="47"/>
                </a:cubicBezTo>
                <a:cubicBezTo>
                  <a:pt x="138" y="33"/>
                  <a:pt x="142" y="22"/>
                  <a:pt x="150" y="13"/>
                </a:cubicBezTo>
                <a:cubicBezTo>
                  <a:pt x="159" y="5"/>
                  <a:pt x="169" y="0"/>
                  <a:pt x="182" y="0"/>
                </a:cubicBezTo>
                <a:cubicBezTo>
                  <a:pt x="190" y="0"/>
                  <a:pt x="197" y="1"/>
                  <a:pt x="203" y="4"/>
                </a:cubicBezTo>
                <a:cubicBezTo>
                  <a:pt x="203" y="15"/>
                  <a:pt x="203" y="15"/>
                  <a:pt x="203" y="15"/>
                </a:cubicBezTo>
                <a:cubicBezTo>
                  <a:pt x="196" y="11"/>
                  <a:pt x="190" y="9"/>
                  <a:pt x="182" y="9"/>
                </a:cubicBezTo>
                <a:cubicBezTo>
                  <a:pt x="172" y="9"/>
                  <a:pt x="164" y="13"/>
                  <a:pt x="158" y="19"/>
                </a:cubicBezTo>
                <a:cubicBezTo>
                  <a:pt x="151" y="26"/>
                  <a:pt x="148" y="35"/>
                  <a:pt x="148" y="46"/>
                </a:cubicBezTo>
                <a:cubicBezTo>
                  <a:pt x="148" y="57"/>
                  <a:pt x="151" y="65"/>
                  <a:pt x="157" y="72"/>
                </a:cubicBezTo>
                <a:cubicBezTo>
                  <a:pt x="163" y="78"/>
                  <a:pt x="171" y="81"/>
                  <a:pt x="180" y="81"/>
                </a:cubicBezTo>
                <a:cubicBezTo>
                  <a:pt x="189" y="81"/>
                  <a:pt x="196" y="79"/>
                  <a:pt x="203" y="75"/>
                </a:cubicBezTo>
                <a:lnTo>
                  <a:pt x="203" y="85"/>
                </a:lnTo>
                <a:close/>
                <a:moveTo>
                  <a:pt x="281" y="89"/>
                </a:moveTo>
                <a:cubicBezTo>
                  <a:pt x="267" y="89"/>
                  <a:pt x="267" y="89"/>
                  <a:pt x="267" y="89"/>
                </a:cubicBezTo>
                <a:cubicBezTo>
                  <a:pt x="233" y="49"/>
                  <a:pt x="233" y="49"/>
                  <a:pt x="233" y="49"/>
                </a:cubicBezTo>
                <a:cubicBezTo>
                  <a:pt x="232" y="47"/>
                  <a:pt x="231" y="46"/>
                  <a:pt x="231" y="46"/>
                </a:cubicBezTo>
                <a:cubicBezTo>
                  <a:pt x="231" y="46"/>
                  <a:pt x="231" y="46"/>
                  <a:pt x="231" y="46"/>
                </a:cubicBezTo>
                <a:cubicBezTo>
                  <a:pt x="231" y="89"/>
                  <a:pt x="231" y="89"/>
                  <a:pt x="231" y="89"/>
                </a:cubicBezTo>
                <a:cubicBezTo>
                  <a:pt x="220" y="89"/>
                  <a:pt x="220" y="89"/>
                  <a:pt x="220" y="89"/>
                </a:cubicBezTo>
                <a:cubicBezTo>
                  <a:pt x="220" y="2"/>
                  <a:pt x="220" y="2"/>
                  <a:pt x="220" y="2"/>
                </a:cubicBezTo>
                <a:cubicBezTo>
                  <a:pt x="231" y="2"/>
                  <a:pt x="231" y="2"/>
                  <a:pt x="231" y="2"/>
                </a:cubicBezTo>
                <a:cubicBezTo>
                  <a:pt x="231" y="43"/>
                  <a:pt x="231" y="43"/>
                  <a:pt x="231" y="43"/>
                </a:cubicBezTo>
                <a:cubicBezTo>
                  <a:pt x="231" y="43"/>
                  <a:pt x="231" y="43"/>
                  <a:pt x="231" y="43"/>
                </a:cubicBezTo>
                <a:cubicBezTo>
                  <a:pt x="231" y="42"/>
                  <a:pt x="232" y="41"/>
                  <a:pt x="233" y="40"/>
                </a:cubicBezTo>
                <a:cubicBezTo>
                  <a:pt x="266" y="2"/>
                  <a:pt x="266" y="2"/>
                  <a:pt x="266" y="2"/>
                </a:cubicBezTo>
                <a:cubicBezTo>
                  <a:pt x="278" y="2"/>
                  <a:pt x="278" y="2"/>
                  <a:pt x="278" y="2"/>
                </a:cubicBezTo>
                <a:cubicBezTo>
                  <a:pt x="241" y="43"/>
                  <a:pt x="241" y="43"/>
                  <a:pt x="241" y="43"/>
                </a:cubicBezTo>
                <a:lnTo>
                  <a:pt x="281" y="89"/>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7" name="Freeform 240">
            <a:extLst>
              <a:ext uri="{FF2B5EF4-FFF2-40B4-BE49-F238E27FC236}">
                <a16:creationId xmlns:a16="http://schemas.microsoft.com/office/drawing/2014/main" id="{B086D7FD-7578-395C-CE7A-6701A556E148}"/>
              </a:ext>
              <a:ext uri="{C183D7F6-B498-43B3-948B-1728B52AA6E4}">
                <adec:decorative xmlns:adec="http://schemas.microsoft.com/office/drawing/2017/decorative" val="1"/>
              </a:ext>
            </a:extLst>
          </p:cNvPr>
          <p:cNvSpPr>
            <a:spLocks noEditPoints="1"/>
          </p:cNvSpPr>
          <p:nvPr userDrawn="1"/>
        </p:nvSpPr>
        <p:spPr bwMode="auto">
          <a:xfrm>
            <a:off x="1782614" y="4730525"/>
            <a:ext cx="1114855" cy="464951"/>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8" name="Freeform 241">
            <a:extLst>
              <a:ext uri="{FF2B5EF4-FFF2-40B4-BE49-F238E27FC236}">
                <a16:creationId xmlns:a16="http://schemas.microsoft.com/office/drawing/2014/main" id="{12CA4BF2-7675-E628-7758-64321E701808}"/>
              </a:ext>
              <a:ext uri="{C183D7F6-B498-43B3-948B-1728B52AA6E4}">
                <adec:decorative xmlns:adec="http://schemas.microsoft.com/office/drawing/2017/decorative" val="1"/>
              </a:ext>
            </a:extLst>
          </p:cNvPr>
          <p:cNvSpPr>
            <a:spLocks noEditPoints="1"/>
          </p:cNvSpPr>
          <p:nvPr userDrawn="1"/>
        </p:nvSpPr>
        <p:spPr bwMode="auto">
          <a:xfrm>
            <a:off x="1517942" y="3247986"/>
            <a:ext cx="1548982" cy="236329"/>
          </a:xfrm>
          <a:custGeom>
            <a:avLst/>
            <a:gdLst>
              <a:gd name="T0" fmla="*/ 13 w 510"/>
              <a:gd name="T1" fmla="*/ 25 h 78"/>
              <a:gd name="T2" fmla="*/ 39 w 510"/>
              <a:gd name="T3" fmla="*/ 1 h 78"/>
              <a:gd name="T4" fmla="*/ 24 w 510"/>
              <a:gd name="T5" fmla="*/ 61 h 78"/>
              <a:gd name="T6" fmla="*/ 40 w 510"/>
              <a:gd name="T7" fmla="*/ 29 h 78"/>
              <a:gd name="T8" fmla="*/ 13 w 510"/>
              <a:gd name="T9" fmla="*/ 35 h 78"/>
              <a:gd name="T10" fmla="*/ 21 w 510"/>
              <a:gd name="T11" fmla="*/ 51 h 78"/>
              <a:gd name="T12" fmla="*/ 91 w 510"/>
              <a:gd name="T13" fmla="*/ 12 h 78"/>
              <a:gd name="T14" fmla="*/ 57 w 510"/>
              <a:gd name="T15" fmla="*/ 62 h 78"/>
              <a:gd name="T16" fmla="*/ 53 w 510"/>
              <a:gd name="T17" fmla="*/ 51 h 78"/>
              <a:gd name="T18" fmla="*/ 63 w 510"/>
              <a:gd name="T19" fmla="*/ 28 h 78"/>
              <a:gd name="T20" fmla="*/ 104 w 510"/>
              <a:gd name="T21" fmla="*/ 61 h 78"/>
              <a:gd name="T22" fmla="*/ 112 w 510"/>
              <a:gd name="T23" fmla="*/ 61 h 78"/>
              <a:gd name="T24" fmla="*/ 152 w 510"/>
              <a:gd name="T25" fmla="*/ 48 h 78"/>
              <a:gd name="T26" fmla="*/ 150 w 510"/>
              <a:gd name="T27" fmla="*/ 1 h 78"/>
              <a:gd name="T28" fmla="*/ 141 w 510"/>
              <a:gd name="T29" fmla="*/ 11 h 78"/>
              <a:gd name="T30" fmla="*/ 149 w 510"/>
              <a:gd name="T31" fmla="*/ 37 h 78"/>
              <a:gd name="T32" fmla="*/ 193 w 510"/>
              <a:gd name="T33" fmla="*/ 12 h 78"/>
              <a:gd name="T34" fmla="*/ 179 w 510"/>
              <a:gd name="T35" fmla="*/ 1 h 78"/>
              <a:gd name="T36" fmla="*/ 269 w 510"/>
              <a:gd name="T37" fmla="*/ 8 h 78"/>
              <a:gd name="T38" fmla="*/ 218 w 510"/>
              <a:gd name="T39" fmla="*/ 32 h 78"/>
              <a:gd name="T40" fmla="*/ 269 w 510"/>
              <a:gd name="T41" fmla="*/ 53 h 78"/>
              <a:gd name="T42" fmla="*/ 259 w 510"/>
              <a:gd name="T43" fmla="*/ 45 h 78"/>
              <a:gd name="T44" fmla="*/ 232 w 510"/>
              <a:gd name="T45" fmla="*/ 31 h 78"/>
              <a:gd name="T46" fmla="*/ 259 w 510"/>
              <a:gd name="T47" fmla="*/ 17 h 78"/>
              <a:gd name="T48" fmla="*/ 335 w 510"/>
              <a:gd name="T49" fmla="*/ 50 h 78"/>
              <a:gd name="T50" fmla="*/ 287 w 510"/>
              <a:gd name="T51" fmla="*/ 50 h 78"/>
              <a:gd name="T52" fmla="*/ 294 w 510"/>
              <a:gd name="T53" fmla="*/ 78 h 78"/>
              <a:gd name="T54" fmla="*/ 332 w 510"/>
              <a:gd name="T55" fmla="*/ 78 h 78"/>
              <a:gd name="T56" fmla="*/ 335 w 510"/>
              <a:gd name="T57" fmla="*/ 50 h 78"/>
              <a:gd name="T58" fmla="*/ 308 w 510"/>
              <a:gd name="T59" fmla="*/ 31 h 78"/>
              <a:gd name="T60" fmla="*/ 322 w 510"/>
              <a:gd name="T61" fmla="*/ 50 h 78"/>
              <a:gd name="T62" fmla="*/ 348 w 510"/>
              <a:gd name="T63" fmla="*/ 61 h 78"/>
              <a:gd name="T64" fmla="*/ 388 w 510"/>
              <a:gd name="T65" fmla="*/ 48 h 78"/>
              <a:gd name="T66" fmla="*/ 386 w 510"/>
              <a:gd name="T67" fmla="*/ 1 h 78"/>
              <a:gd name="T68" fmla="*/ 377 w 510"/>
              <a:gd name="T69" fmla="*/ 11 h 78"/>
              <a:gd name="T70" fmla="*/ 385 w 510"/>
              <a:gd name="T71" fmla="*/ 37 h 78"/>
              <a:gd name="T72" fmla="*/ 415 w 510"/>
              <a:gd name="T73" fmla="*/ 1 h 78"/>
              <a:gd name="T74" fmla="*/ 429 w 510"/>
              <a:gd name="T75" fmla="*/ 40 h 78"/>
              <a:gd name="T76" fmla="*/ 459 w 510"/>
              <a:gd name="T77" fmla="*/ 20 h 78"/>
              <a:gd name="T78" fmla="*/ 429 w 510"/>
              <a:gd name="T79" fmla="*/ 30 h 78"/>
              <a:gd name="T80" fmla="*/ 445 w 510"/>
              <a:gd name="T81" fmla="*/ 20 h 78"/>
              <a:gd name="T82" fmla="*/ 472 w 510"/>
              <a:gd name="T83" fmla="*/ 5 h 78"/>
              <a:gd name="T84" fmla="*/ 480 w 510"/>
              <a:gd name="T85" fmla="*/ 34 h 78"/>
              <a:gd name="T86" fmla="*/ 477 w 510"/>
              <a:gd name="T87" fmla="*/ 61 h 78"/>
              <a:gd name="T88" fmla="*/ 496 w 510"/>
              <a:gd name="T89" fmla="*/ 38 h 78"/>
              <a:gd name="T90" fmla="*/ 510 w 510"/>
              <a:gd name="T91" fmla="*/ 1 h 78"/>
              <a:gd name="T92" fmla="*/ 490 w 510"/>
              <a:gd name="T93" fmla="*/ 27 h 78"/>
              <a:gd name="T94" fmla="*/ 490 w 510"/>
              <a:gd name="T95"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78">
                <a:moveTo>
                  <a:pt x="40" y="29"/>
                </a:moveTo>
                <a:cubicBezTo>
                  <a:pt x="36" y="26"/>
                  <a:pt x="31" y="25"/>
                  <a:pt x="25" y="25"/>
                </a:cubicBezTo>
                <a:cubicBezTo>
                  <a:pt x="13" y="25"/>
                  <a:pt x="13" y="25"/>
                  <a:pt x="13" y="25"/>
                </a:cubicBezTo>
                <a:cubicBezTo>
                  <a:pt x="13" y="12"/>
                  <a:pt x="13" y="12"/>
                  <a:pt x="13" y="12"/>
                </a:cubicBezTo>
                <a:cubicBezTo>
                  <a:pt x="39" y="12"/>
                  <a:pt x="39" y="12"/>
                  <a:pt x="39" y="12"/>
                </a:cubicBezTo>
                <a:cubicBezTo>
                  <a:pt x="39" y="1"/>
                  <a:pt x="39" y="1"/>
                  <a:pt x="39" y="1"/>
                </a:cubicBezTo>
                <a:cubicBezTo>
                  <a:pt x="0" y="1"/>
                  <a:pt x="0" y="1"/>
                  <a:pt x="0" y="1"/>
                </a:cubicBezTo>
                <a:cubicBezTo>
                  <a:pt x="0" y="61"/>
                  <a:pt x="0" y="61"/>
                  <a:pt x="0" y="61"/>
                </a:cubicBezTo>
                <a:cubicBezTo>
                  <a:pt x="24" y="61"/>
                  <a:pt x="24" y="61"/>
                  <a:pt x="24" y="61"/>
                </a:cubicBezTo>
                <a:cubicBezTo>
                  <a:pt x="31" y="61"/>
                  <a:pt x="36" y="59"/>
                  <a:pt x="40" y="56"/>
                </a:cubicBezTo>
                <a:cubicBezTo>
                  <a:pt x="43" y="53"/>
                  <a:pt x="45" y="48"/>
                  <a:pt x="45" y="42"/>
                </a:cubicBezTo>
                <a:cubicBezTo>
                  <a:pt x="45" y="37"/>
                  <a:pt x="43" y="32"/>
                  <a:pt x="40" y="29"/>
                </a:cubicBezTo>
                <a:close/>
                <a:moveTo>
                  <a:pt x="21" y="51"/>
                </a:moveTo>
                <a:cubicBezTo>
                  <a:pt x="13" y="51"/>
                  <a:pt x="13" y="51"/>
                  <a:pt x="13" y="51"/>
                </a:cubicBezTo>
                <a:cubicBezTo>
                  <a:pt x="13" y="35"/>
                  <a:pt x="13" y="35"/>
                  <a:pt x="13" y="35"/>
                </a:cubicBezTo>
                <a:cubicBezTo>
                  <a:pt x="22" y="35"/>
                  <a:pt x="22" y="35"/>
                  <a:pt x="22" y="35"/>
                </a:cubicBezTo>
                <a:cubicBezTo>
                  <a:pt x="28" y="35"/>
                  <a:pt x="31" y="38"/>
                  <a:pt x="31" y="43"/>
                </a:cubicBezTo>
                <a:cubicBezTo>
                  <a:pt x="31" y="48"/>
                  <a:pt x="28" y="51"/>
                  <a:pt x="21" y="51"/>
                </a:cubicBezTo>
                <a:close/>
                <a:moveTo>
                  <a:pt x="104" y="61"/>
                </a:moveTo>
                <a:cubicBezTo>
                  <a:pt x="91" y="61"/>
                  <a:pt x="91" y="61"/>
                  <a:pt x="91" y="61"/>
                </a:cubicBezTo>
                <a:cubicBezTo>
                  <a:pt x="91" y="12"/>
                  <a:pt x="91" y="12"/>
                  <a:pt x="91" y="12"/>
                </a:cubicBezTo>
                <a:cubicBezTo>
                  <a:pt x="79" y="12"/>
                  <a:pt x="79" y="12"/>
                  <a:pt x="79" y="12"/>
                </a:cubicBezTo>
                <a:cubicBezTo>
                  <a:pt x="75" y="35"/>
                  <a:pt x="72" y="49"/>
                  <a:pt x="70" y="54"/>
                </a:cubicBezTo>
                <a:cubicBezTo>
                  <a:pt x="67" y="59"/>
                  <a:pt x="62" y="62"/>
                  <a:pt x="57" y="62"/>
                </a:cubicBezTo>
                <a:cubicBezTo>
                  <a:pt x="54" y="62"/>
                  <a:pt x="52" y="62"/>
                  <a:pt x="49" y="61"/>
                </a:cubicBezTo>
                <a:cubicBezTo>
                  <a:pt x="49" y="50"/>
                  <a:pt x="49" y="50"/>
                  <a:pt x="49" y="50"/>
                </a:cubicBezTo>
                <a:cubicBezTo>
                  <a:pt x="51" y="50"/>
                  <a:pt x="52" y="51"/>
                  <a:pt x="53" y="51"/>
                </a:cubicBezTo>
                <a:cubicBezTo>
                  <a:pt x="55" y="51"/>
                  <a:pt x="56" y="50"/>
                  <a:pt x="56" y="50"/>
                </a:cubicBezTo>
                <a:cubicBezTo>
                  <a:pt x="57" y="49"/>
                  <a:pt x="58" y="47"/>
                  <a:pt x="59" y="44"/>
                </a:cubicBezTo>
                <a:cubicBezTo>
                  <a:pt x="60" y="41"/>
                  <a:pt x="62" y="35"/>
                  <a:pt x="63" y="28"/>
                </a:cubicBezTo>
                <a:cubicBezTo>
                  <a:pt x="65" y="20"/>
                  <a:pt x="66" y="11"/>
                  <a:pt x="68" y="1"/>
                </a:cubicBezTo>
                <a:cubicBezTo>
                  <a:pt x="104" y="1"/>
                  <a:pt x="104" y="1"/>
                  <a:pt x="104" y="1"/>
                </a:cubicBezTo>
                <a:lnTo>
                  <a:pt x="104" y="61"/>
                </a:lnTo>
                <a:close/>
                <a:moveTo>
                  <a:pt x="150" y="1"/>
                </a:moveTo>
                <a:cubicBezTo>
                  <a:pt x="134" y="1"/>
                  <a:pt x="134" y="1"/>
                  <a:pt x="134" y="1"/>
                </a:cubicBezTo>
                <a:cubicBezTo>
                  <a:pt x="112" y="61"/>
                  <a:pt x="112" y="61"/>
                  <a:pt x="112" y="61"/>
                </a:cubicBezTo>
                <a:cubicBezTo>
                  <a:pt x="127" y="61"/>
                  <a:pt x="127" y="61"/>
                  <a:pt x="127" y="61"/>
                </a:cubicBezTo>
                <a:cubicBezTo>
                  <a:pt x="131" y="48"/>
                  <a:pt x="131" y="48"/>
                  <a:pt x="131" y="48"/>
                </a:cubicBezTo>
                <a:cubicBezTo>
                  <a:pt x="152" y="48"/>
                  <a:pt x="152" y="48"/>
                  <a:pt x="152" y="48"/>
                </a:cubicBezTo>
                <a:cubicBezTo>
                  <a:pt x="157" y="61"/>
                  <a:pt x="157" y="61"/>
                  <a:pt x="157" y="61"/>
                </a:cubicBezTo>
                <a:cubicBezTo>
                  <a:pt x="172" y="61"/>
                  <a:pt x="172" y="61"/>
                  <a:pt x="172" y="61"/>
                </a:cubicBezTo>
                <a:lnTo>
                  <a:pt x="150" y="1"/>
                </a:lnTo>
                <a:close/>
                <a:moveTo>
                  <a:pt x="134" y="37"/>
                </a:moveTo>
                <a:cubicBezTo>
                  <a:pt x="140" y="17"/>
                  <a:pt x="140" y="17"/>
                  <a:pt x="140" y="17"/>
                </a:cubicBezTo>
                <a:cubicBezTo>
                  <a:pt x="141" y="15"/>
                  <a:pt x="141" y="13"/>
                  <a:pt x="141" y="11"/>
                </a:cubicBezTo>
                <a:cubicBezTo>
                  <a:pt x="142" y="11"/>
                  <a:pt x="142" y="11"/>
                  <a:pt x="142" y="11"/>
                </a:cubicBezTo>
                <a:cubicBezTo>
                  <a:pt x="142" y="13"/>
                  <a:pt x="142" y="15"/>
                  <a:pt x="143" y="17"/>
                </a:cubicBezTo>
                <a:cubicBezTo>
                  <a:pt x="149" y="37"/>
                  <a:pt x="149" y="37"/>
                  <a:pt x="149" y="37"/>
                </a:cubicBezTo>
                <a:lnTo>
                  <a:pt x="134" y="37"/>
                </a:lnTo>
                <a:close/>
                <a:moveTo>
                  <a:pt x="215" y="12"/>
                </a:moveTo>
                <a:cubicBezTo>
                  <a:pt x="193" y="12"/>
                  <a:pt x="193" y="12"/>
                  <a:pt x="193" y="12"/>
                </a:cubicBezTo>
                <a:cubicBezTo>
                  <a:pt x="193" y="61"/>
                  <a:pt x="193" y="61"/>
                  <a:pt x="193" y="61"/>
                </a:cubicBezTo>
                <a:cubicBezTo>
                  <a:pt x="179" y="61"/>
                  <a:pt x="179" y="61"/>
                  <a:pt x="179" y="61"/>
                </a:cubicBezTo>
                <a:cubicBezTo>
                  <a:pt x="179" y="1"/>
                  <a:pt x="179" y="1"/>
                  <a:pt x="179" y="1"/>
                </a:cubicBezTo>
                <a:cubicBezTo>
                  <a:pt x="215" y="1"/>
                  <a:pt x="215" y="1"/>
                  <a:pt x="215" y="1"/>
                </a:cubicBezTo>
                <a:lnTo>
                  <a:pt x="215" y="12"/>
                </a:lnTo>
                <a:close/>
                <a:moveTo>
                  <a:pt x="269" y="8"/>
                </a:moveTo>
                <a:cubicBezTo>
                  <a:pt x="264" y="2"/>
                  <a:pt x="257" y="0"/>
                  <a:pt x="248" y="0"/>
                </a:cubicBezTo>
                <a:cubicBezTo>
                  <a:pt x="239" y="0"/>
                  <a:pt x="232" y="3"/>
                  <a:pt x="226" y="8"/>
                </a:cubicBezTo>
                <a:cubicBezTo>
                  <a:pt x="221" y="14"/>
                  <a:pt x="218" y="22"/>
                  <a:pt x="218" y="32"/>
                </a:cubicBezTo>
                <a:cubicBezTo>
                  <a:pt x="218" y="41"/>
                  <a:pt x="221" y="48"/>
                  <a:pt x="226" y="54"/>
                </a:cubicBezTo>
                <a:cubicBezTo>
                  <a:pt x="232" y="59"/>
                  <a:pt x="239" y="62"/>
                  <a:pt x="247" y="62"/>
                </a:cubicBezTo>
                <a:cubicBezTo>
                  <a:pt x="256" y="62"/>
                  <a:pt x="264" y="59"/>
                  <a:pt x="269" y="53"/>
                </a:cubicBezTo>
                <a:cubicBezTo>
                  <a:pt x="275" y="48"/>
                  <a:pt x="277" y="40"/>
                  <a:pt x="277" y="30"/>
                </a:cubicBezTo>
                <a:cubicBezTo>
                  <a:pt x="277" y="21"/>
                  <a:pt x="275" y="14"/>
                  <a:pt x="269" y="8"/>
                </a:cubicBezTo>
                <a:close/>
                <a:moveTo>
                  <a:pt x="259" y="45"/>
                </a:moveTo>
                <a:cubicBezTo>
                  <a:pt x="256" y="49"/>
                  <a:pt x="252" y="50"/>
                  <a:pt x="248" y="50"/>
                </a:cubicBezTo>
                <a:cubicBezTo>
                  <a:pt x="243" y="50"/>
                  <a:pt x="239" y="49"/>
                  <a:pt x="237" y="45"/>
                </a:cubicBezTo>
                <a:cubicBezTo>
                  <a:pt x="234" y="42"/>
                  <a:pt x="232" y="37"/>
                  <a:pt x="232" y="31"/>
                </a:cubicBezTo>
                <a:cubicBezTo>
                  <a:pt x="232" y="25"/>
                  <a:pt x="234" y="20"/>
                  <a:pt x="237" y="17"/>
                </a:cubicBezTo>
                <a:cubicBezTo>
                  <a:pt x="239" y="13"/>
                  <a:pt x="243" y="11"/>
                  <a:pt x="248" y="11"/>
                </a:cubicBezTo>
                <a:cubicBezTo>
                  <a:pt x="253" y="11"/>
                  <a:pt x="256" y="13"/>
                  <a:pt x="259" y="17"/>
                </a:cubicBezTo>
                <a:cubicBezTo>
                  <a:pt x="262" y="20"/>
                  <a:pt x="263" y="25"/>
                  <a:pt x="263" y="31"/>
                </a:cubicBezTo>
                <a:cubicBezTo>
                  <a:pt x="263" y="37"/>
                  <a:pt x="262" y="42"/>
                  <a:pt x="259" y="45"/>
                </a:cubicBezTo>
                <a:close/>
                <a:moveTo>
                  <a:pt x="335" y="50"/>
                </a:moveTo>
                <a:cubicBezTo>
                  <a:pt x="335" y="1"/>
                  <a:pt x="335" y="1"/>
                  <a:pt x="335" y="1"/>
                </a:cubicBezTo>
                <a:cubicBezTo>
                  <a:pt x="300" y="1"/>
                  <a:pt x="300" y="1"/>
                  <a:pt x="300" y="1"/>
                </a:cubicBezTo>
                <a:cubicBezTo>
                  <a:pt x="300" y="19"/>
                  <a:pt x="295" y="36"/>
                  <a:pt x="287" y="50"/>
                </a:cubicBezTo>
                <a:cubicBezTo>
                  <a:pt x="282" y="50"/>
                  <a:pt x="282" y="50"/>
                  <a:pt x="282" y="50"/>
                </a:cubicBezTo>
                <a:cubicBezTo>
                  <a:pt x="282" y="78"/>
                  <a:pt x="282" y="78"/>
                  <a:pt x="282" y="78"/>
                </a:cubicBezTo>
                <a:cubicBezTo>
                  <a:pt x="294" y="78"/>
                  <a:pt x="294" y="78"/>
                  <a:pt x="294" y="78"/>
                </a:cubicBezTo>
                <a:cubicBezTo>
                  <a:pt x="294" y="61"/>
                  <a:pt x="294" y="61"/>
                  <a:pt x="294" y="61"/>
                </a:cubicBezTo>
                <a:cubicBezTo>
                  <a:pt x="332" y="61"/>
                  <a:pt x="332" y="61"/>
                  <a:pt x="332" y="61"/>
                </a:cubicBezTo>
                <a:cubicBezTo>
                  <a:pt x="332" y="78"/>
                  <a:pt x="332" y="78"/>
                  <a:pt x="332" y="78"/>
                </a:cubicBezTo>
                <a:cubicBezTo>
                  <a:pt x="344" y="78"/>
                  <a:pt x="344" y="78"/>
                  <a:pt x="344" y="78"/>
                </a:cubicBezTo>
                <a:cubicBezTo>
                  <a:pt x="344" y="50"/>
                  <a:pt x="344" y="50"/>
                  <a:pt x="344" y="50"/>
                </a:cubicBezTo>
                <a:lnTo>
                  <a:pt x="335" y="50"/>
                </a:lnTo>
                <a:close/>
                <a:moveTo>
                  <a:pt x="322" y="50"/>
                </a:moveTo>
                <a:cubicBezTo>
                  <a:pt x="301" y="50"/>
                  <a:pt x="301" y="50"/>
                  <a:pt x="301" y="50"/>
                </a:cubicBezTo>
                <a:cubicBezTo>
                  <a:pt x="304" y="44"/>
                  <a:pt x="306" y="38"/>
                  <a:pt x="308" y="31"/>
                </a:cubicBezTo>
                <a:cubicBezTo>
                  <a:pt x="310" y="24"/>
                  <a:pt x="311" y="18"/>
                  <a:pt x="311" y="12"/>
                </a:cubicBezTo>
                <a:cubicBezTo>
                  <a:pt x="322" y="12"/>
                  <a:pt x="322" y="12"/>
                  <a:pt x="322" y="12"/>
                </a:cubicBezTo>
                <a:lnTo>
                  <a:pt x="322" y="50"/>
                </a:lnTo>
                <a:close/>
                <a:moveTo>
                  <a:pt x="386" y="1"/>
                </a:moveTo>
                <a:cubicBezTo>
                  <a:pt x="370" y="1"/>
                  <a:pt x="370" y="1"/>
                  <a:pt x="370" y="1"/>
                </a:cubicBezTo>
                <a:cubicBezTo>
                  <a:pt x="348" y="61"/>
                  <a:pt x="348" y="61"/>
                  <a:pt x="348" y="61"/>
                </a:cubicBezTo>
                <a:cubicBezTo>
                  <a:pt x="362" y="61"/>
                  <a:pt x="362" y="61"/>
                  <a:pt x="362" y="61"/>
                </a:cubicBezTo>
                <a:cubicBezTo>
                  <a:pt x="367" y="48"/>
                  <a:pt x="367" y="48"/>
                  <a:pt x="367" y="48"/>
                </a:cubicBezTo>
                <a:cubicBezTo>
                  <a:pt x="388" y="48"/>
                  <a:pt x="388" y="48"/>
                  <a:pt x="388" y="48"/>
                </a:cubicBezTo>
                <a:cubicBezTo>
                  <a:pt x="393" y="61"/>
                  <a:pt x="393" y="61"/>
                  <a:pt x="393" y="61"/>
                </a:cubicBezTo>
                <a:cubicBezTo>
                  <a:pt x="407" y="61"/>
                  <a:pt x="407" y="61"/>
                  <a:pt x="407" y="61"/>
                </a:cubicBezTo>
                <a:lnTo>
                  <a:pt x="386" y="1"/>
                </a:lnTo>
                <a:close/>
                <a:moveTo>
                  <a:pt x="370" y="37"/>
                </a:moveTo>
                <a:cubicBezTo>
                  <a:pt x="376" y="17"/>
                  <a:pt x="376" y="17"/>
                  <a:pt x="376" y="17"/>
                </a:cubicBezTo>
                <a:cubicBezTo>
                  <a:pt x="377" y="15"/>
                  <a:pt x="377" y="13"/>
                  <a:pt x="377" y="11"/>
                </a:cubicBezTo>
                <a:cubicBezTo>
                  <a:pt x="378" y="11"/>
                  <a:pt x="378" y="11"/>
                  <a:pt x="378" y="11"/>
                </a:cubicBezTo>
                <a:cubicBezTo>
                  <a:pt x="378" y="13"/>
                  <a:pt x="378" y="15"/>
                  <a:pt x="379" y="17"/>
                </a:cubicBezTo>
                <a:cubicBezTo>
                  <a:pt x="385" y="37"/>
                  <a:pt x="385" y="37"/>
                  <a:pt x="385" y="37"/>
                </a:cubicBezTo>
                <a:lnTo>
                  <a:pt x="370" y="37"/>
                </a:lnTo>
                <a:close/>
                <a:moveTo>
                  <a:pt x="436" y="1"/>
                </a:moveTo>
                <a:cubicBezTo>
                  <a:pt x="415" y="1"/>
                  <a:pt x="415" y="1"/>
                  <a:pt x="415" y="1"/>
                </a:cubicBezTo>
                <a:cubicBezTo>
                  <a:pt x="415" y="61"/>
                  <a:pt x="415" y="61"/>
                  <a:pt x="415" y="61"/>
                </a:cubicBezTo>
                <a:cubicBezTo>
                  <a:pt x="429" y="61"/>
                  <a:pt x="429" y="61"/>
                  <a:pt x="429" y="61"/>
                </a:cubicBezTo>
                <a:cubicBezTo>
                  <a:pt x="429" y="40"/>
                  <a:pt x="429" y="40"/>
                  <a:pt x="429" y="40"/>
                </a:cubicBezTo>
                <a:cubicBezTo>
                  <a:pt x="435" y="40"/>
                  <a:pt x="435" y="40"/>
                  <a:pt x="435" y="40"/>
                </a:cubicBezTo>
                <a:cubicBezTo>
                  <a:pt x="442" y="40"/>
                  <a:pt x="448" y="38"/>
                  <a:pt x="453" y="35"/>
                </a:cubicBezTo>
                <a:cubicBezTo>
                  <a:pt x="457" y="31"/>
                  <a:pt x="459" y="26"/>
                  <a:pt x="459" y="20"/>
                </a:cubicBezTo>
                <a:cubicBezTo>
                  <a:pt x="459" y="7"/>
                  <a:pt x="452" y="1"/>
                  <a:pt x="436" y="1"/>
                </a:cubicBezTo>
                <a:close/>
                <a:moveTo>
                  <a:pt x="434" y="30"/>
                </a:moveTo>
                <a:cubicBezTo>
                  <a:pt x="429" y="30"/>
                  <a:pt x="429" y="30"/>
                  <a:pt x="429" y="30"/>
                </a:cubicBezTo>
                <a:cubicBezTo>
                  <a:pt x="429" y="11"/>
                  <a:pt x="429" y="11"/>
                  <a:pt x="429" y="11"/>
                </a:cubicBezTo>
                <a:cubicBezTo>
                  <a:pt x="434" y="11"/>
                  <a:pt x="434" y="11"/>
                  <a:pt x="434" y="11"/>
                </a:cubicBezTo>
                <a:cubicBezTo>
                  <a:pt x="441" y="11"/>
                  <a:pt x="445" y="14"/>
                  <a:pt x="445" y="20"/>
                </a:cubicBezTo>
                <a:cubicBezTo>
                  <a:pt x="445" y="27"/>
                  <a:pt x="441" y="30"/>
                  <a:pt x="434" y="30"/>
                </a:cubicBezTo>
                <a:close/>
                <a:moveTo>
                  <a:pt x="489" y="1"/>
                </a:moveTo>
                <a:cubicBezTo>
                  <a:pt x="482" y="1"/>
                  <a:pt x="476" y="2"/>
                  <a:pt x="472" y="5"/>
                </a:cubicBezTo>
                <a:cubicBezTo>
                  <a:pt x="468" y="8"/>
                  <a:pt x="466" y="12"/>
                  <a:pt x="466" y="18"/>
                </a:cubicBezTo>
                <a:cubicBezTo>
                  <a:pt x="466" y="26"/>
                  <a:pt x="471" y="31"/>
                  <a:pt x="480" y="33"/>
                </a:cubicBezTo>
                <a:cubicBezTo>
                  <a:pt x="480" y="34"/>
                  <a:pt x="480" y="34"/>
                  <a:pt x="480" y="34"/>
                </a:cubicBezTo>
                <a:cubicBezTo>
                  <a:pt x="476" y="35"/>
                  <a:pt x="473" y="38"/>
                  <a:pt x="470" y="43"/>
                </a:cubicBezTo>
                <a:cubicBezTo>
                  <a:pt x="462" y="61"/>
                  <a:pt x="462" y="61"/>
                  <a:pt x="462" y="61"/>
                </a:cubicBezTo>
                <a:cubicBezTo>
                  <a:pt x="477" y="61"/>
                  <a:pt x="477" y="61"/>
                  <a:pt x="477" y="61"/>
                </a:cubicBezTo>
                <a:cubicBezTo>
                  <a:pt x="484" y="45"/>
                  <a:pt x="484" y="45"/>
                  <a:pt x="484" y="45"/>
                </a:cubicBezTo>
                <a:cubicBezTo>
                  <a:pt x="486" y="40"/>
                  <a:pt x="489" y="38"/>
                  <a:pt x="492" y="38"/>
                </a:cubicBezTo>
                <a:cubicBezTo>
                  <a:pt x="496" y="38"/>
                  <a:pt x="496" y="38"/>
                  <a:pt x="496" y="38"/>
                </a:cubicBezTo>
                <a:cubicBezTo>
                  <a:pt x="496" y="61"/>
                  <a:pt x="496" y="61"/>
                  <a:pt x="496" y="61"/>
                </a:cubicBezTo>
                <a:cubicBezTo>
                  <a:pt x="510" y="61"/>
                  <a:pt x="510" y="61"/>
                  <a:pt x="510" y="61"/>
                </a:cubicBezTo>
                <a:cubicBezTo>
                  <a:pt x="510" y="1"/>
                  <a:pt x="510" y="1"/>
                  <a:pt x="510" y="1"/>
                </a:cubicBezTo>
                <a:lnTo>
                  <a:pt x="489" y="1"/>
                </a:lnTo>
                <a:close/>
                <a:moveTo>
                  <a:pt x="496" y="27"/>
                </a:moveTo>
                <a:cubicBezTo>
                  <a:pt x="490" y="27"/>
                  <a:pt x="490" y="27"/>
                  <a:pt x="490" y="27"/>
                </a:cubicBezTo>
                <a:cubicBezTo>
                  <a:pt x="487" y="27"/>
                  <a:pt x="485" y="27"/>
                  <a:pt x="483" y="25"/>
                </a:cubicBezTo>
                <a:cubicBezTo>
                  <a:pt x="482" y="24"/>
                  <a:pt x="481" y="21"/>
                  <a:pt x="481" y="19"/>
                </a:cubicBezTo>
                <a:cubicBezTo>
                  <a:pt x="481" y="14"/>
                  <a:pt x="484" y="11"/>
                  <a:pt x="490" y="11"/>
                </a:cubicBezTo>
                <a:cubicBezTo>
                  <a:pt x="496" y="11"/>
                  <a:pt x="496" y="11"/>
                  <a:pt x="496" y="11"/>
                </a:cubicBezTo>
                <a:lnTo>
                  <a:pt x="496" y="27"/>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29" name="Freeform 242">
            <a:extLst>
              <a:ext uri="{FF2B5EF4-FFF2-40B4-BE49-F238E27FC236}">
                <a16:creationId xmlns:a16="http://schemas.microsoft.com/office/drawing/2014/main" id="{3659DBE5-9FD9-26F1-03B1-694800E79E46}"/>
              </a:ext>
              <a:ext uri="{C183D7F6-B498-43B3-948B-1728B52AA6E4}">
                <adec:decorative xmlns:adec="http://schemas.microsoft.com/office/drawing/2017/decorative" val="1"/>
              </a:ext>
            </a:extLst>
          </p:cNvPr>
          <p:cNvSpPr>
            <a:spLocks noEditPoints="1"/>
          </p:cNvSpPr>
          <p:nvPr userDrawn="1"/>
        </p:nvSpPr>
        <p:spPr bwMode="auto">
          <a:xfrm rot="16200000">
            <a:off x="10129465" y="3804099"/>
            <a:ext cx="319703" cy="1203703"/>
          </a:xfrm>
          <a:custGeom>
            <a:avLst/>
            <a:gdLst>
              <a:gd name="T0" fmla="*/ 21 w 70"/>
              <a:gd name="T1" fmla="*/ 4 h 264"/>
              <a:gd name="T2" fmla="*/ 0 w 70"/>
              <a:gd name="T3" fmla="*/ 0 h 264"/>
              <a:gd name="T4" fmla="*/ 15 w 70"/>
              <a:gd name="T5" fmla="*/ 6 h 264"/>
              <a:gd name="T6" fmla="*/ 0 w 70"/>
              <a:gd name="T7" fmla="*/ 45 h 264"/>
              <a:gd name="T8" fmla="*/ 21 w 70"/>
              <a:gd name="T9" fmla="*/ 51 h 264"/>
              <a:gd name="T10" fmla="*/ 70 w 70"/>
              <a:gd name="T11" fmla="*/ 43 h 264"/>
              <a:gd name="T12" fmla="*/ 44 w 70"/>
              <a:gd name="T13" fmla="*/ 13 h 264"/>
              <a:gd name="T14" fmla="*/ 21 w 70"/>
              <a:gd name="T15" fmla="*/ 37 h 264"/>
              <a:gd name="T16" fmla="*/ 42 w 70"/>
              <a:gd name="T17" fmla="*/ 19 h 264"/>
              <a:gd name="T18" fmla="*/ 64 w 70"/>
              <a:gd name="T19" fmla="*/ 37 h 264"/>
              <a:gd name="T20" fmla="*/ 54 w 70"/>
              <a:gd name="T21" fmla="*/ 59 h 264"/>
              <a:gd name="T22" fmla="*/ 40 w 70"/>
              <a:gd name="T23" fmla="*/ 70 h 264"/>
              <a:gd name="T24" fmla="*/ 37 w 70"/>
              <a:gd name="T25" fmla="*/ 66 h 264"/>
              <a:gd name="T26" fmla="*/ 15 w 70"/>
              <a:gd name="T27" fmla="*/ 55 h 264"/>
              <a:gd name="T28" fmla="*/ 31 w 70"/>
              <a:gd name="T29" fmla="*/ 70 h 264"/>
              <a:gd name="T30" fmla="*/ 38 w 70"/>
              <a:gd name="T31" fmla="*/ 78 h 264"/>
              <a:gd name="T32" fmla="*/ 15 w 70"/>
              <a:gd name="T33" fmla="*/ 86 h 264"/>
              <a:gd name="T34" fmla="*/ 70 w 70"/>
              <a:gd name="T35" fmla="*/ 92 h 264"/>
              <a:gd name="T36" fmla="*/ 65 w 70"/>
              <a:gd name="T37" fmla="*/ 63 h 264"/>
              <a:gd name="T38" fmla="*/ 44 w 70"/>
              <a:gd name="T39" fmla="*/ 86 h 264"/>
              <a:gd name="T40" fmla="*/ 47 w 70"/>
              <a:gd name="T41" fmla="*/ 68 h 264"/>
              <a:gd name="T42" fmla="*/ 61 w 70"/>
              <a:gd name="T43" fmla="*/ 68 h 264"/>
              <a:gd name="T44" fmla="*/ 64 w 70"/>
              <a:gd name="T45" fmla="*/ 86 h 264"/>
              <a:gd name="T46" fmla="*/ 15 w 70"/>
              <a:gd name="T47" fmla="*/ 135 h 264"/>
              <a:gd name="T48" fmla="*/ 42 w 70"/>
              <a:gd name="T49" fmla="*/ 113 h 264"/>
              <a:gd name="T50" fmla="*/ 15 w 70"/>
              <a:gd name="T51" fmla="*/ 113 h 264"/>
              <a:gd name="T52" fmla="*/ 70 w 70"/>
              <a:gd name="T53" fmla="*/ 106 h 264"/>
              <a:gd name="T54" fmla="*/ 44 w 70"/>
              <a:gd name="T55" fmla="*/ 113 h 264"/>
              <a:gd name="T56" fmla="*/ 46 w 70"/>
              <a:gd name="T57" fmla="*/ 114 h 264"/>
              <a:gd name="T58" fmla="*/ 70 w 70"/>
              <a:gd name="T59" fmla="*/ 143 h 264"/>
              <a:gd name="T60" fmla="*/ 15 w 70"/>
              <a:gd name="T61" fmla="*/ 144 h 264"/>
              <a:gd name="T62" fmla="*/ 31 w 70"/>
              <a:gd name="T63" fmla="*/ 172 h 264"/>
              <a:gd name="T64" fmla="*/ 14 w 70"/>
              <a:gd name="T65" fmla="*/ 154 h 264"/>
              <a:gd name="T66" fmla="*/ 22 w 70"/>
              <a:gd name="T67" fmla="*/ 147 h 264"/>
              <a:gd name="T68" fmla="*/ 22 w 70"/>
              <a:gd name="T69" fmla="*/ 159 h 264"/>
              <a:gd name="T70" fmla="*/ 70 w 70"/>
              <a:gd name="T71" fmla="*/ 147 h 264"/>
              <a:gd name="T72" fmla="*/ 40 w 70"/>
              <a:gd name="T73" fmla="*/ 167 h 264"/>
              <a:gd name="T74" fmla="*/ 37 w 70"/>
              <a:gd name="T75" fmla="*/ 168 h 264"/>
              <a:gd name="T76" fmla="*/ 70 w 70"/>
              <a:gd name="T77" fmla="*/ 182 h 264"/>
              <a:gd name="T78" fmla="*/ 64 w 70"/>
              <a:gd name="T79" fmla="*/ 223 h 264"/>
              <a:gd name="T80" fmla="*/ 46 w 70"/>
              <a:gd name="T81" fmla="*/ 202 h 264"/>
              <a:gd name="T82" fmla="*/ 70 w 70"/>
              <a:gd name="T83" fmla="*/ 196 h 264"/>
              <a:gd name="T84" fmla="*/ 15 w 70"/>
              <a:gd name="T85" fmla="*/ 202 h 264"/>
              <a:gd name="T86" fmla="*/ 40 w 70"/>
              <a:gd name="T87" fmla="*/ 215 h 264"/>
              <a:gd name="T88" fmla="*/ 14 w 70"/>
              <a:gd name="T89" fmla="*/ 239 h 264"/>
              <a:gd name="T90" fmla="*/ 43 w 70"/>
              <a:gd name="T91" fmla="*/ 264 h 264"/>
              <a:gd name="T92" fmla="*/ 70 w 70"/>
              <a:gd name="T93" fmla="*/ 240 h 264"/>
              <a:gd name="T94" fmla="*/ 59 w 70"/>
              <a:gd name="T95" fmla="*/ 253 h 264"/>
              <a:gd name="T96" fmla="*/ 26 w 70"/>
              <a:gd name="T97" fmla="*/ 253 h 264"/>
              <a:gd name="T98" fmla="*/ 26 w 70"/>
              <a:gd name="T99" fmla="*/ 226 h 264"/>
              <a:gd name="T100" fmla="*/ 59 w 70"/>
              <a:gd name="T101" fmla="*/ 226 h 264"/>
              <a:gd name="T102" fmla="*/ 59 w 70"/>
              <a:gd name="T103" fmla="*/ 25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264">
                <a:moveTo>
                  <a:pt x="44" y="13"/>
                </a:moveTo>
                <a:cubicBezTo>
                  <a:pt x="35" y="11"/>
                  <a:pt x="27" y="8"/>
                  <a:pt x="21" y="4"/>
                </a:cubicBezTo>
                <a:cubicBezTo>
                  <a:pt x="21" y="0"/>
                  <a:pt x="21" y="0"/>
                  <a:pt x="21" y="0"/>
                </a:cubicBezTo>
                <a:cubicBezTo>
                  <a:pt x="0" y="0"/>
                  <a:pt x="0" y="0"/>
                  <a:pt x="0" y="0"/>
                </a:cubicBezTo>
                <a:cubicBezTo>
                  <a:pt x="0" y="6"/>
                  <a:pt x="0" y="6"/>
                  <a:pt x="0" y="6"/>
                </a:cubicBezTo>
                <a:cubicBezTo>
                  <a:pt x="15" y="6"/>
                  <a:pt x="15" y="6"/>
                  <a:pt x="15" y="6"/>
                </a:cubicBezTo>
                <a:cubicBezTo>
                  <a:pt x="15" y="45"/>
                  <a:pt x="15" y="45"/>
                  <a:pt x="15" y="45"/>
                </a:cubicBezTo>
                <a:cubicBezTo>
                  <a:pt x="0" y="45"/>
                  <a:pt x="0" y="45"/>
                  <a:pt x="0" y="45"/>
                </a:cubicBezTo>
                <a:cubicBezTo>
                  <a:pt x="0" y="51"/>
                  <a:pt x="0" y="51"/>
                  <a:pt x="0" y="51"/>
                </a:cubicBezTo>
                <a:cubicBezTo>
                  <a:pt x="21" y="51"/>
                  <a:pt x="21" y="51"/>
                  <a:pt x="21" y="51"/>
                </a:cubicBezTo>
                <a:cubicBezTo>
                  <a:pt x="21" y="43"/>
                  <a:pt x="21" y="43"/>
                  <a:pt x="21" y="43"/>
                </a:cubicBezTo>
                <a:cubicBezTo>
                  <a:pt x="70" y="43"/>
                  <a:pt x="70" y="43"/>
                  <a:pt x="70" y="43"/>
                </a:cubicBezTo>
                <a:cubicBezTo>
                  <a:pt x="70" y="18"/>
                  <a:pt x="70" y="18"/>
                  <a:pt x="70" y="18"/>
                </a:cubicBezTo>
                <a:cubicBezTo>
                  <a:pt x="62" y="17"/>
                  <a:pt x="53" y="16"/>
                  <a:pt x="44" y="13"/>
                </a:cubicBezTo>
                <a:close/>
                <a:moveTo>
                  <a:pt x="64" y="37"/>
                </a:moveTo>
                <a:cubicBezTo>
                  <a:pt x="21" y="37"/>
                  <a:pt x="21" y="37"/>
                  <a:pt x="21" y="37"/>
                </a:cubicBezTo>
                <a:cubicBezTo>
                  <a:pt x="21" y="11"/>
                  <a:pt x="21" y="11"/>
                  <a:pt x="21" y="11"/>
                </a:cubicBezTo>
                <a:cubicBezTo>
                  <a:pt x="26" y="14"/>
                  <a:pt x="33" y="16"/>
                  <a:pt x="42" y="19"/>
                </a:cubicBezTo>
                <a:cubicBezTo>
                  <a:pt x="50" y="21"/>
                  <a:pt x="57" y="23"/>
                  <a:pt x="64" y="23"/>
                </a:cubicBezTo>
                <a:lnTo>
                  <a:pt x="64" y="37"/>
                </a:lnTo>
                <a:close/>
                <a:moveTo>
                  <a:pt x="65" y="63"/>
                </a:moveTo>
                <a:cubicBezTo>
                  <a:pt x="63" y="60"/>
                  <a:pt x="59" y="59"/>
                  <a:pt x="54" y="59"/>
                </a:cubicBezTo>
                <a:cubicBezTo>
                  <a:pt x="51" y="59"/>
                  <a:pt x="47" y="60"/>
                  <a:pt x="45" y="62"/>
                </a:cubicBezTo>
                <a:cubicBezTo>
                  <a:pt x="42" y="64"/>
                  <a:pt x="41" y="66"/>
                  <a:pt x="40" y="70"/>
                </a:cubicBezTo>
                <a:cubicBezTo>
                  <a:pt x="40" y="70"/>
                  <a:pt x="40" y="70"/>
                  <a:pt x="40" y="70"/>
                </a:cubicBezTo>
                <a:cubicBezTo>
                  <a:pt x="39" y="69"/>
                  <a:pt x="38" y="67"/>
                  <a:pt x="37" y="66"/>
                </a:cubicBezTo>
                <a:cubicBezTo>
                  <a:pt x="36" y="65"/>
                  <a:pt x="34" y="64"/>
                  <a:pt x="33" y="64"/>
                </a:cubicBezTo>
                <a:cubicBezTo>
                  <a:pt x="15" y="55"/>
                  <a:pt x="15" y="55"/>
                  <a:pt x="15" y="55"/>
                </a:cubicBezTo>
                <a:cubicBezTo>
                  <a:pt x="15" y="63"/>
                  <a:pt x="15" y="63"/>
                  <a:pt x="15" y="63"/>
                </a:cubicBezTo>
                <a:cubicBezTo>
                  <a:pt x="31" y="70"/>
                  <a:pt x="31" y="70"/>
                  <a:pt x="31" y="70"/>
                </a:cubicBezTo>
                <a:cubicBezTo>
                  <a:pt x="34" y="71"/>
                  <a:pt x="36" y="72"/>
                  <a:pt x="37" y="74"/>
                </a:cubicBezTo>
                <a:cubicBezTo>
                  <a:pt x="38" y="75"/>
                  <a:pt x="38" y="76"/>
                  <a:pt x="38" y="78"/>
                </a:cubicBezTo>
                <a:cubicBezTo>
                  <a:pt x="38" y="86"/>
                  <a:pt x="38" y="86"/>
                  <a:pt x="38" y="86"/>
                </a:cubicBezTo>
                <a:cubicBezTo>
                  <a:pt x="15" y="86"/>
                  <a:pt x="15" y="86"/>
                  <a:pt x="15" y="86"/>
                </a:cubicBezTo>
                <a:cubicBezTo>
                  <a:pt x="15" y="92"/>
                  <a:pt x="15" y="92"/>
                  <a:pt x="15" y="92"/>
                </a:cubicBezTo>
                <a:cubicBezTo>
                  <a:pt x="70" y="92"/>
                  <a:pt x="70" y="92"/>
                  <a:pt x="70" y="92"/>
                </a:cubicBezTo>
                <a:cubicBezTo>
                  <a:pt x="70" y="76"/>
                  <a:pt x="70" y="76"/>
                  <a:pt x="70" y="76"/>
                </a:cubicBezTo>
                <a:cubicBezTo>
                  <a:pt x="70" y="71"/>
                  <a:pt x="68" y="67"/>
                  <a:pt x="65" y="63"/>
                </a:cubicBezTo>
                <a:close/>
                <a:moveTo>
                  <a:pt x="64" y="86"/>
                </a:moveTo>
                <a:cubicBezTo>
                  <a:pt x="44" y="86"/>
                  <a:pt x="44" y="86"/>
                  <a:pt x="44" y="86"/>
                </a:cubicBezTo>
                <a:cubicBezTo>
                  <a:pt x="44" y="77"/>
                  <a:pt x="44" y="77"/>
                  <a:pt x="44" y="77"/>
                </a:cubicBezTo>
                <a:cubicBezTo>
                  <a:pt x="44" y="73"/>
                  <a:pt x="45" y="70"/>
                  <a:pt x="47" y="68"/>
                </a:cubicBezTo>
                <a:cubicBezTo>
                  <a:pt x="48" y="66"/>
                  <a:pt x="51" y="65"/>
                  <a:pt x="54" y="65"/>
                </a:cubicBezTo>
                <a:cubicBezTo>
                  <a:pt x="57" y="65"/>
                  <a:pt x="59" y="66"/>
                  <a:pt x="61" y="68"/>
                </a:cubicBezTo>
                <a:cubicBezTo>
                  <a:pt x="63" y="70"/>
                  <a:pt x="64" y="73"/>
                  <a:pt x="64" y="77"/>
                </a:cubicBezTo>
                <a:lnTo>
                  <a:pt x="64" y="86"/>
                </a:lnTo>
                <a:close/>
                <a:moveTo>
                  <a:pt x="15" y="144"/>
                </a:moveTo>
                <a:cubicBezTo>
                  <a:pt x="15" y="135"/>
                  <a:pt x="15" y="135"/>
                  <a:pt x="15" y="135"/>
                </a:cubicBezTo>
                <a:cubicBezTo>
                  <a:pt x="40" y="114"/>
                  <a:pt x="40" y="114"/>
                  <a:pt x="40" y="114"/>
                </a:cubicBezTo>
                <a:cubicBezTo>
                  <a:pt x="41" y="114"/>
                  <a:pt x="42" y="113"/>
                  <a:pt x="42" y="113"/>
                </a:cubicBezTo>
                <a:cubicBezTo>
                  <a:pt x="42" y="113"/>
                  <a:pt x="42" y="113"/>
                  <a:pt x="42" y="113"/>
                </a:cubicBezTo>
                <a:cubicBezTo>
                  <a:pt x="15" y="113"/>
                  <a:pt x="15" y="113"/>
                  <a:pt x="15" y="113"/>
                </a:cubicBezTo>
                <a:cubicBezTo>
                  <a:pt x="15" y="106"/>
                  <a:pt x="15" y="106"/>
                  <a:pt x="15" y="106"/>
                </a:cubicBezTo>
                <a:cubicBezTo>
                  <a:pt x="70" y="106"/>
                  <a:pt x="70" y="106"/>
                  <a:pt x="70" y="106"/>
                </a:cubicBezTo>
                <a:cubicBezTo>
                  <a:pt x="70" y="113"/>
                  <a:pt x="70" y="113"/>
                  <a:pt x="70" y="113"/>
                </a:cubicBezTo>
                <a:cubicBezTo>
                  <a:pt x="44" y="113"/>
                  <a:pt x="44" y="113"/>
                  <a:pt x="44" y="113"/>
                </a:cubicBezTo>
                <a:cubicBezTo>
                  <a:pt x="44" y="113"/>
                  <a:pt x="44" y="113"/>
                  <a:pt x="44" y="113"/>
                </a:cubicBezTo>
                <a:cubicBezTo>
                  <a:pt x="44" y="113"/>
                  <a:pt x="45" y="114"/>
                  <a:pt x="46" y="114"/>
                </a:cubicBezTo>
                <a:cubicBezTo>
                  <a:pt x="70" y="135"/>
                  <a:pt x="70" y="135"/>
                  <a:pt x="70" y="135"/>
                </a:cubicBezTo>
                <a:cubicBezTo>
                  <a:pt x="70" y="143"/>
                  <a:pt x="70" y="143"/>
                  <a:pt x="70" y="143"/>
                </a:cubicBezTo>
                <a:cubicBezTo>
                  <a:pt x="43" y="119"/>
                  <a:pt x="43" y="119"/>
                  <a:pt x="43" y="119"/>
                </a:cubicBezTo>
                <a:lnTo>
                  <a:pt x="15" y="144"/>
                </a:lnTo>
                <a:close/>
                <a:moveTo>
                  <a:pt x="70" y="189"/>
                </a:moveTo>
                <a:cubicBezTo>
                  <a:pt x="31" y="172"/>
                  <a:pt x="31" y="172"/>
                  <a:pt x="31" y="172"/>
                </a:cubicBezTo>
                <a:cubicBezTo>
                  <a:pt x="25" y="169"/>
                  <a:pt x="20" y="166"/>
                  <a:pt x="18" y="163"/>
                </a:cubicBezTo>
                <a:cubicBezTo>
                  <a:pt x="15" y="161"/>
                  <a:pt x="14" y="158"/>
                  <a:pt x="14" y="154"/>
                </a:cubicBezTo>
                <a:cubicBezTo>
                  <a:pt x="14" y="152"/>
                  <a:pt x="14" y="149"/>
                  <a:pt x="15" y="147"/>
                </a:cubicBezTo>
                <a:cubicBezTo>
                  <a:pt x="22" y="147"/>
                  <a:pt x="22" y="147"/>
                  <a:pt x="22" y="147"/>
                </a:cubicBezTo>
                <a:cubicBezTo>
                  <a:pt x="20" y="150"/>
                  <a:pt x="20" y="152"/>
                  <a:pt x="20" y="154"/>
                </a:cubicBezTo>
                <a:cubicBezTo>
                  <a:pt x="20" y="156"/>
                  <a:pt x="21" y="158"/>
                  <a:pt x="22" y="159"/>
                </a:cubicBezTo>
                <a:cubicBezTo>
                  <a:pt x="24" y="161"/>
                  <a:pt x="27" y="163"/>
                  <a:pt x="31" y="165"/>
                </a:cubicBezTo>
                <a:cubicBezTo>
                  <a:pt x="70" y="147"/>
                  <a:pt x="70" y="147"/>
                  <a:pt x="70" y="147"/>
                </a:cubicBezTo>
                <a:cubicBezTo>
                  <a:pt x="70" y="154"/>
                  <a:pt x="70" y="154"/>
                  <a:pt x="70" y="154"/>
                </a:cubicBezTo>
                <a:cubicBezTo>
                  <a:pt x="40" y="167"/>
                  <a:pt x="40" y="167"/>
                  <a:pt x="40" y="167"/>
                </a:cubicBezTo>
                <a:cubicBezTo>
                  <a:pt x="40" y="167"/>
                  <a:pt x="39" y="168"/>
                  <a:pt x="37" y="168"/>
                </a:cubicBezTo>
                <a:cubicBezTo>
                  <a:pt x="37" y="168"/>
                  <a:pt x="37" y="168"/>
                  <a:pt x="37" y="168"/>
                </a:cubicBezTo>
                <a:cubicBezTo>
                  <a:pt x="37" y="168"/>
                  <a:pt x="38" y="169"/>
                  <a:pt x="41" y="170"/>
                </a:cubicBezTo>
                <a:cubicBezTo>
                  <a:pt x="70" y="182"/>
                  <a:pt x="70" y="182"/>
                  <a:pt x="70" y="182"/>
                </a:cubicBezTo>
                <a:lnTo>
                  <a:pt x="70" y="189"/>
                </a:lnTo>
                <a:close/>
                <a:moveTo>
                  <a:pt x="64" y="223"/>
                </a:moveTo>
                <a:cubicBezTo>
                  <a:pt x="60" y="218"/>
                  <a:pt x="54" y="216"/>
                  <a:pt x="46" y="215"/>
                </a:cubicBezTo>
                <a:cubicBezTo>
                  <a:pt x="46" y="202"/>
                  <a:pt x="46" y="202"/>
                  <a:pt x="46" y="202"/>
                </a:cubicBezTo>
                <a:cubicBezTo>
                  <a:pt x="70" y="202"/>
                  <a:pt x="70" y="202"/>
                  <a:pt x="70" y="202"/>
                </a:cubicBezTo>
                <a:cubicBezTo>
                  <a:pt x="70" y="196"/>
                  <a:pt x="70" y="196"/>
                  <a:pt x="70" y="196"/>
                </a:cubicBezTo>
                <a:cubicBezTo>
                  <a:pt x="15" y="196"/>
                  <a:pt x="15" y="196"/>
                  <a:pt x="15" y="196"/>
                </a:cubicBezTo>
                <a:cubicBezTo>
                  <a:pt x="15" y="202"/>
                  <a:pt x="15" y="202"/>
                  <a:pt x="15" y="202"/>
                </a:cubicBezTo>
                <a:cubicBezTo>
                  <a:pt x="40" y="202"/>
                  <a:pt x="40" y="202"/>
                  <a:pt x="40" y="202"/>
                </a:cubicBezTo>
                <a:cubicBezTo>
                  <a:pt x="40" y="215"/>
                  <a:pt x="40" y="215"/>
                  <a:pt x="40" y="215"/>
                </a:cubicBezTo>
                <a:cubicBezTo>
                  <a:pt x="33" y="215"/>
                  <a:pt x="26" y="217"/>
                  <a:pt x="21" y="222"/>
                </a:cubicBezTo>
                <a:cubicBezTo>
                  <a:pt x="17" y="226"/>
                  <a:pt x="14" y="232"/>
                  <a:pt x="14" y="239"/>
                </a:cubicBezTo>
                <a:cubicBezTo>
                  <a:pt x="14" y="247"/>
                  <a:pt x="17" y="253"/>
                  <a:pt x="22" y="257"/>
                </a:cubicBezTo>
                <a:cubicBezTo>
                  <a:pt x="27" y="262"/>
                  <a:pt x="34" y="264"/>
                  <a:pt x="43" y="264"/>
                </a:cubicBezTo>
                <a:cubicBezTo>
                  <a:pt x="51" y="264"/>
                  <a:pt x="58" y="262"/>
                  <a:pt x="63" y="258"/>
                </a:cubicBezTo>
                <a:cubicBezTo>
                  <a:pt x="68" y="253"/>
                  <a:pt x="70" y="247"/>
                  <a:pt x="70" y="240"/>
                </a:cubicBezTo>
                <a:cubicBezTo>
                  <a:pt x="70" y="233"/>
                  <a:pt x="68" y="227"/>
                  <a:pt x="64" y="223"/>
                </a:cubicBezTo>
                <a:close/>
                <a:moveTo>
                  <a:pt x="59" y="253"/>
                </a:moveTo>
                <a:cubicBezTo>
                  <a:pt x="55" y="256"/>
                  <a:pt x="49" y="257"/>
                  <a:pt x="42" y="257"/>
                </a:cubicBezTo>
                <a:cubicBezTo>
                  <a:pt x="35" y="257"/>
                  <a:pt x="30" y="256"/>
                  <a:pt x="26" y="253"/>
                </a:cubicBezTo>
                <a:cubicBezTo>
                  <a:pt x="22" y="249"/>
                  <a:pt x="20" y="245"/>
                  <a:pt x="20" y="239"/>
                </a:cubicBezTo>
                <a:cubicBezTo>
                  <a:pt x="20" y="233"/>
                  <a:pt x="22" y="229"/>
                  <a:pt x="26" y="226"/>
                </a:cubicBezTo>
                <a:cubicBezTo>
                  <a:pt x="30" y="223"/>
                  <a:pt x="35" y="221"/>
                  <a:pt x="42" y="221"/>
                </a:cubicBezTo>
                <a:cubicBezTo>
                  <a:pt x="49" y="221"/>
                  <a:pt x="55" y="223"/>
                  <a:pt x="59" y="226"/>
                </a:cubicBezTo>
                <a:cubicBezTo>
                  <a:pt x="63" y="229"/>
                  <a:pt x="65" y="234"/>
                  <a:pt x="65" y="240"/>
                </a:cubicBezTo>
                <a:cubicBezTo>
                  <a:pt x="65" y="245"/>
                  <a:pt x="63" y="250"/>
                  <a:pt x="59" y="253"/>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0" name="Freeform 243">
            <a:extLst>
              <a:ext uri="{FF2B5EF4-FFF2-40B4-BE49-F238E27FC236}">
                <a16:creationId xmlns:a16="http://schemas.microsoft.com/office/drawing/2014/main" id="{417BC46D-5D0E-6A93-ACAB-038662584247}"/>
              </a:ext>
              <a:ext uri="{C183D7F6-B498-43B3-948B-1728B52AA6E4}">
                <adec:decorative xmlns:adec="http://schemas.microsoft.com/office/drawing/2017/decorative" val="1"/>
              </a:ext>
            </a:extLst>
          </p:cNvPr>
          <p:cNvSpPr>
            <a:spLocks noEditPoints="1"/>
          </p:cNvSpPr>
          <p:nvPr userDrawn="1"/>
        </p:nvSpPr>
        <p:spPr bwMode="auto">
          <a:xfrm>
            <a:off x="1989316" y="3715352"/>
            <a:ext cx="1077609" cy="222200"/>
          </a:xfrm>
          <a:custGeom>
            <a:avLst/>
            <a:gdLst>
              <a:gd name="T0" fmla="*/ 0 w 355"/>
              <a:gd name="T1" fmla="*/ 56 h 73"/>
              <a:gd name="T2" fmla="*/ 50 w 355"/>
              <a:gd name="T3" fmla="*/ 27 h 73"/>
              <a:gd name="T4" fmla="*/ 19 w 355"/>
              <a:gd name="T5" fmla="*/ 46 h 73"/>
              <a:gd name="T6" fmla="*/ 19 w 355"/>
              <a:gd name="T7" fmla="*/ 10 h 73"/>
              <a:gd name="T8" fmla="*/ 32 w 355"/>
              <a:gd name="T9" fmla="*/ 41 h 73"/>
              <a:gd name="T10" fmla="*/ 53 w 355"/>
              <a:gd name="T11" fmla="*/ 49 h 73"/>
              <a:gd name="T12" fmla="*/ 55 w 355"/>
              <a:gd name="T13" fmla="*/ 0 h 73"/>
              <a:gd name="T14" fmla="*/ 70 w 355"/>
              <a:gd name="T15" fmla="*/ 46 h 73"/>
              <a:gd name="T16" fmla="*/ 120 w 355"/>
              <a:gd name="T17" fmla="*/ 56 h 73"/>
              <a:gd name="T18" fmla="*/ 120 w 355"/>
              <a:gd name="T19" fmla="*/ 0 h 73"/>
              <a:gd name="T20" fmla="*/ 133 w 355"/>
              <a:gd name="T21" fmla="*/ 56 h 73"/>
              <a:gd name="T22" fmla="*/ 165 w 355"/>
              <a:gd name="T23" fmla="*/ 10 h 73"/>
              <a:gd name="T24" fmla="*/ 164 w 355"/>
              <a:gd name="T25" fmla="*/ 23 h 73"/>
              <a:gd name="T26" fmla="*/ 145 w 355"/>
              <a:gd name="T27" fmla="*/ 46 h 73"/>
              <a:gd name="T28" fmla="*/ 162 w 355"/>
              <a:gd name="T29" fmla="*/ 72 h 73"/>
              <a:gd name="T30" fmla="*/ 152 w 355"/>
              <a:gd name="T31" fmla="*/ 71 h 73"/>
              <a:gd name="T32" fmla="*/ 152 w 355"/>
              <a:gd name="T33" fmla="*/ 61 h 73"/>
              <a:gd name="T34" fmla="*/ 163 w 355"/>
              <a:gd name="T35" fmla="*/ 56 h 73"/>
              <a:gd name="T36" fmla="*/ 157 w 355"/>
              <a:gd name="T37" fmla="*/ 67 h 73"/>
              <a:gd name="T38" fmla="*/ 162 w 355"/>
              <a:gd name="T39" fmla="*/ 67 h 73"/>
              <a:gd name="T40" fmla="*/ 206 w 355"/>
              <a:gd name="T41" fmla="*/ 56 h 73"/>
              <a:gd name="T42" fmla="*/ 188 w 355"/>
              <a:gd name="T43" fmla="*/ 29 h 73"/>
              <a:gd name="T44" fmla="*/ 176 w 355"/>
              <a:gd name="T45" fmla="*/ 0 h 73"/>
              <a:gd name="T46" fmla="*/ 189 w 355"/>
              <a:gd name="T47" fmla="*/ 27 h 73"/>
              <a:gd name="T48" fmla="*/ 221 w 355"/>
              <a:gd name="T49" fmla="*/ 0 h 73"/>
              <a:gd name="T50" fmla="*/ 274 w 355"/>
              <a:gd name="T51" fmla="*/ 32 h 73"/>
              <a:gd name="T52" fmla="*/ 227 w 355"/>
              <a:gd name="T53" fmla="*/ 0 h 73"/>
              <a:gd name="T54" fmla="*/ 251 w 355"/>
              <a:gd name="T55" fmla="*/ 46 h 73"/>
              <a:gd name="T56" fmla="*/ 274 w 355"/>
              <a:gd name="T57" fmla="*/ 0 h 73"/>
              <a:gd name="T58" fmla="*/ 303 w 355"/>
              <a:gd name="T59" fmla="*/ 51 h 73"/>
              <a:gd name="T60" fmla="*/ 280 w 355"/>
              <a:gd name="T61" fmla="*/ 44 h 73"/>
              <a:gd name="T62" fmla="*/ 296 w 355"/>
              <a:gd name="T63" fmla="*/ 0 h 73"/>
              <a:gd name="T64" fmla="*/ 355 w 355"/>
              <a:gd name="T65" fmla="*/ 56 h 73"/>
              <a:gd name="T66" fmla="*/ 354 w 355"/>
              <a:gd name="T67" fmla="*/ 0 h 73"/>
              <a:gd name="T68" fmla="*/ 334 w 355"/>
              <a:gd name="T69" fmla="*/ 23 h 73"/>
              <a:gd name="T70" fmla="*/ 334 w 355"/>
              <a:gd name="T71" fmla="*/ 33 h 73"/>
              <a:gd name="T72" fmla="*/ 355 w 355"/>
              <a:gd name="T73" fmla="*/ 56 h 73"/>
              <a:gd name="T74" fmla="*/ 346 w 355"/>
              <a:gd name="T75" fmla="*/ 73 h 73"/>
              <a:gd name="T76" fmla="*/ 339 w 355"/>
              <a:gd name="T77" fmla="*/ 64 h 73"/>
              <a:gd name="T78" fmla="*/ 345 w 355"/>
              <a:gd name="T79" fmla="*/ 56 h 73"/>
              <a:gd name="T80" fmla="*/ 345 w 355"/>
              <a:gd name="T81" fmla="*/ 65 h 73"/>
              <a:gd name="T82" fmla="*/ 349 w 355"/>
              <a:gd name="T83"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 h="73">
                <a:moveTo>
                  <a:pt x="20" y="0"/>
                </a:moveTo>
                <a:cubicBezTo>
                  <a:pt x="0" y="0"/>
                  <a:pt x="0" y="0"/>
                  <a:pt x="0" y="0"/>
                </a:cubicBezTo>
                <a:cubicBezTo>
                  <a:pt x="0" y="56"/>
                  <a:pt x="0" y="56"/>
                  <a:pt x="0" y="56"/>
                </a:cubicBezTo>
                <a:cubicBezTo>
                  <a:pt x="20" y="56"/>
                  <a:pt x="20" y="56"/>
                  <a:pt x="20" y="56"/>
                </a:cubicBezTo>
                <a:cubicBezTo>
                  <a:pt x="29" y="56"/>
                  <a:pt x="36" y="54"/>
                  <a:pt x="42" y="48"/>
                </a:cubicBezTo>
                <a:cubicBezTo>
                  <a:pt x="47" y="43"/>
                  <a:pt x="50" y="36"/>
                  <a:pt x="50" y="27"/>
                </a:cubicBezTo>
                <a:cubicBezTo>
                  <a:pt x="50" y="9"/>
                  <a:pt x="40" y="0"/>
                  <a:pt x="20" y="0"/>
                </a:cubicBezTo>
                <a:close/>
                <a:moveTo>
                  <a:pt x="32" y="41"/>
                </a:moveTo>
                <a:cubicBezTo>
                  <a:pt x="29" y="44"/>
                  <a:pt x="25" y="46"/>
                  <a:pt x="19" y="46"/>
                </a:cubicBezTo>
                <a:cubicBezTo>
                  <a:pt x="13" y="46"/>
                  <a:pt x="13" y="46"/>
                  <a:pt x="13" y="46"/>
                </a:cubicBezTo>
                <a:cubicBezTo>
                  <a:pt x="13" y="10"/>
                  <a:pt x="13" y="10"/>
                  <a:pt x="13" y="10"/>
                </a:cubicBezTo>
                <a:cubicBezTo>
                  <a:pt x="19" y="10"/>
                  <a:pt x="19" y="10"/>
                  <a:pt x="19" y="10"/>
                </a:cubicBezTo>
                <a:cubicBezTo>
                  <a:pt x="25" y="10"/>
                  <a:pt x="29" y="12"/>
                  <a:pt x="32" y="15"/>
                </a:cubicBezTo>
                <a:cubicBezTo>
                  <a:pt x="35" y="18"/>
                  <a:pt x="37" y="22"/>
                  <a:pt x="37" y="28"/>
                </a:cubicBezTo>
                <a:cubicBezTo>
                  <a:pt x="37" y="33"/>
                  <a:pt x="35" y="38"/>
                  <a:pt x="32" y="41"/>
                </a:cubicBezTo>
                <a:close/>
                <a:moveTo>
                  <a:pt x="99" y="56"/>
                </a:moveTo>
                <a:cubicBezTo>
                  <a:pt x="53" y="56"/>
                  <a:pt x="53" y="56"/>
                  <a:pt x="53" y="56"/>
                </a:cubicBezTo>
                <a:cubicBezTo>
                  <a:pt x="53" y="49"/>
                  <a:pt x="53" y="49"/>
                  <a:pt x="53" y="49"/>
                </a:cubicBezTo>
                <a:cubicBezTo>
                  <a:pt x="82" y="10"/>
                  <a:pt x="82" y="10"/>
                  <a:pt x="82" y="10"/>
                </a:cubicBezTo>
                <a:cubicBezTo>
                  <a:pt x="55" y="10"/>
                  <a:pt x="55" y="10"/>
                  <a:pt x="55" y="10"/>
                </a:cubicBezTo>
                <a:cubicBezTo>
                  <a:pt x="55" y="0"/>
                  <a:pt x="55" y="0"/>
                  <a:pt x="55" y="0"/>
                </a:cubicBezTo>
                <a:cubicBezTo>
                  <a:pt x="99" y="0"/>
                  <a:pt x="99" y="0"/>
                  <a:pt x="99" y="0"/>
                </a:cubicBezTo>
                <a:cubicBezTo>
                  <a:pt x="99" y="7"/>
                  <a:pt x="99" y="7"/>
                  <a:pt x="99" y="7"/>
                </a:cubicBezTo>
                <a:cubicBezTo>
                  <a:pt x="70" y="46"/>
                  <a:pt x="70" y="46"/>
                  <a:pt x="70" y="46"/>
                </a:cubicBezTo>
                <a:cubicBezTo>
                  <a:pt x="99" y="46"/>
                  <a:pt x="99" y="46"/>
                  <a:pt x="99" y="46"/>
                </a:cubicBezTo>
                <a:lnTo>
                  <a:pt x="99" y="56"/>
                </a:lnTo>
                <a:close/>
                <a:moveTo>
                  <a:pt x="120" y="56"/>
                </a:moveTo>
                <a:cubicBezTo>
                  <a:pt x="107" y="56"/>
                  <a:pt x="107" y="56"/>
                  <a:pt x="107" y="56"/>
                </a:cubicBezTo>
                <a:cubicBezTo>
                  <a:pt x="107" y="0"/>
                  <a:pt x="107" y="0"/>
                  <a:pt x="107" y="0"/>
                </a:cubicBezTo>
                <a:cubicBezTo>
                  <a:pt x="120" y="0"/>
                  <a:pt x="120" y="0"/>
                  <a:pt x="120" y="0"/>
                </a:cubicBezTo>
                <a:lnTo>
                  <a:pt x="120" y="56"/>
                </a:lnTo>
                <a:close/>
                <a:moveTo>
                  <a:pt x="166" y="56"/>
                </a:moveTo>
                <a:cubicBezTo>
                  <a:pt x="133" y="56"/>
                  <a:pt x="133" y="56"/>
                  <a:pt x="133" y="56"/>
                </a:cubicBezTo>
                <a:cubicBezTo>
                  <a:pt x="133" y="0"/>
                  <a:pt x="133" y="0"/>
                  <a:pt x="133" y="0"/>
                </a:cubicBezTo>
                <a:cubicBezTo>
                  <a:pt x="165" y="0"/>
                  <a:pt x="165" y="0"/>
                  <a:pt x="165" y="0"/>
                </a:cubicBezTo>
                <a:cubicBezTo>
                  <a:pt x="165" y="10"/>
                  <a:pt x="165" y="10"/>
                  <a:pt x="165" y="10"/>
                </a:cubicBezTo>
                <a:cubicBezTo>
                  <a:pt x="145" y="10"/>
                  <a:pt x="145" y="10"/>
                  <a:pt x="145" y="10"/>
                </a:cubicBezTo>
                <a:cubicBezTo>
                  <a:pt x="145" y="23"/>
                  <a:pt x="145" y="23"/>
                  <a:pt x="145" y="23"/>
                </a:cubicBezTo>
                <a:cubicBezTo>
                  <a:pt x="164" y="23"/>
                  <a:pt x="164" y="23"/>
                  <a:pt x="164" y="23"/>
                </a:cubicBezTo>
                <a:cubicBezTo>
                  <a:pt x="164" y="33"/>
                  <a:pt x="164" y="33"/>
                  <a:pt x="164" y="33"/>
                </a:cubicBezTo>
                <a:cubicBezTo>
                  <a:pt x="145" y="33"/>
                  <a:pt x="145" y="33"/>
                  <a:pt x="145" y="33"/>
                </a:cubicBezTo>
                <a:cubicBezTo>
                  <a:pt x="145" y="46"/>
                  <a:pt x="145" y="46"/>
                  <a:pt x="145" y="46"/>
                </a:cubicBezTo>
                <a:cubicBezTo>
                  <a:pt x="166" y="46"/>
                  <a:pt x="166" y="46"/>
                  <a:pt x="166" y="46"/>
                </a:cubicBezTo>
                <a:lnTo>
                  <a:pt x="166" y="56"/>
                </a:lnTo>
                <a:close/>
                <a:moveTo>
                  <a:pt x="162" y="72"/>
                </a:moveTo>
                <a:cubicBezTo>
                  <a:pt x="162" y="72"/>
                  <a:pt x="161" y="73"/>
                  <a:pt x="160" y="73"/>
                </a:cubicBezTo>
                <a:cubicBezTo>
                  <a:pt x="159" y="73"/>
                  <a:pt x="158" y="73"/>
                  <a:pt x="157" y="73"/>
                </a:cubicBezTo>
                <a:cubicBezTo>
                  <a:pt x="155" y="73"/>
                  <a:pt x="153" y="72"/>
                  <a:pt x="152" y="71"/>
                </a:cubicBezTo>
                <a:cubicBezTo>
                  <a:pt x="151" y="70"/>
                  <a:pt x="150" y="68"/>
                  <a:pt x="150" y="66"/>
                </a:cubicBezTo>
                <a:cubicBezTo>
                  <a:pt x="150" y="65"/>
                  <a:pt x="150" y="64"/>
                  <a:pt x="150" y="64"/>
                </a:cubicBezTo>
                <a:cubicBezTo>
                  <a:pt x="151" y="63"/>
                  <a:pt x="151" y="62"/>
                  <a:pt x="152" y="61"/>
                </a:cubicBezTo>
                <a:cubicBezTo>
                  <a:pt x="152" y="60"/>
                  <a:pt x="153" y="59"/>
                  <a:pt x="154" y="58"/>
                </a:cubicBezTo>
                <a:cubicBezTo>
                  <a:pt x="155" y="58"/>
                  <a:pt x="156" y="57"/>
                  <a:pt x="157" y="56"/>
                </a:cubicBezTo>
                <a:cubicBezTo>
                  <a:pt x="163" y="56"/>
                  <a:pt x="163" y="56"/>
                  <a:pt x="163" y="56"/>
                </a:cubicBezTo>
                <a:cubicBezTo>
                  <a:pt x="161" y="58"/>
                  <a:pt x="159" y="59"/>
                  <a:pt x="158" y="61"/>
                </a:cubicBezTo>
                <a:cubicBezTo>
                  <a:pt x="157" y="62"/>
                  <a:pt x="157" y="63"/>
                  <a:pt x="157" y="65"/>
                </a:cubicBezTo>
                <a:cubicBezTo>
                  <a:pt x="157" y="65"/>
                  <a:pt x="157" y="66"/>
                  <a:pt x="157" y="67"/>
                </a:cubicBezTo>
                <a:cubicBezTo>
                  <a:pt x="158" y="67"/>
                  <a:pt x="158" y="67"/>
                  <a:pt x="159" y="67"/>
                </a:cubicBezTo>
                <a:cubicBezTo>
                  <a:pt x="160" y="67"/>
                  <a:pt x="160" y="67"/>
                  <a:pt x="161" y="67"/>
                </a:cubicBezTo>
                <a:cubicBezTo>
                  <a:pt x="161" y="67"/>
                  <a:pt x="162" y="67"/>
                  <a:pt x="162" y="67"/>
                </a:cubicBezTo>
                <a:lnTo>
                  <a:pt x="162" y="72"/>
                </a:lnTo>
                <a:close/>
                <a:moveTo>
                  <a:pt x="223" y="56"/>
                </a:moveTo>
                <a:cubicBezTo>
                  <a:pt x="206" y="56"/>
                  <a:pt x="206" y="56"/>
                  <a:pt x="206" y="56"/>
                </a:cubicBezTo>
                <a:cubicBezTo>
                  <a:pt x="190" y="32"/>
                  <a:pt x="190" y="32"/>
                  <a:pt x="190" y="32"/>
                </a:cubicBezTo>
                <a:cubicBezTo>
                  <a:pt x="190" y="31"/>
                  <a:pt x="189" y="30"/>
                  <a:pt x="189" y="29"/>
                </a:cubicBezTo>
                <a:cubicBezTo>
                  <a:pt x="188" y="29"/>
                  <a:pt x="188" y="29"/>
                  <a:pt x="188" y="29"/>
                </a:cubicBezTo>
                <a:cubicBezTo>
                  <a:pt x="188" y="56"/>
                  <a:pt x="188" y="56"/>
                  <a:pt x="188" y="56"/>
                </a:cubicBezTo>
                <a:cubicBezTo>
                  <a:pt x="176" y="56"/>
                  <a:pt x="176" y="56"/>
                  <a:pt x="176" y="56"/>
                </a:cubicBezTo>
                <a:cubicBezTo>
                  <a:pt x="176" y="0"/>
                  <a:pt x="176" y="0"/>
                  <a:pt x="176" y="0"/>
                </a:cubicBezTo>
                <a:cubicBezTo>
                  <a:pt x="188" y="0"/>
                  <a:pt x="188" y="0"/>
                  <a:pt x="188" y="0"/>
                </a:cubicBezTo>
                <a:cubicBezTo>
                  <a:pt x="188" y="27"/>
                  <a:pt x="188" y="27"/>
                  <a:pt x="188" y="27"/>
                </a:cubicBezTo>
                <a:cubicBezTo>
                  <a:pt x="189" y="27"/>
                  <a:pt x="189" y="27"/>
                  <a:pt x="189" y="27"/>
                </a:cubicBezTo>
                <a:cubicBezTo>
                  <a:pt x="189" y="26"/>
                  <a:pt x="189" y="25"/>
                  <a:pt x="190" y="23"/>
                </a:cubicBezTo>
                <a:cubicBezTo>
                  <a:pt x="206" y="0"/>
                  <a:pt x="206" y="0"/>
                  <a:pt x="206" y="0"/>
                </a:cubicBezTo>
                <a:cubicBezTo>
                  <a:pt x="221" y="0"/>
                  <a:pt x="221" y="0"/>
                  <a:pt x="221" y="0"/>
                </a:cubicBezTo>
                <a:cubicBezTo>
                  <a:pt x="201" y="27"/>
                  <a:pt x="201" y="27"/>
                  <a:pt x="201" y="27"/>
                </a:cubicBezTo>
                <a:lnTo>
                  <a:pt x="223" y="56"/>
                </a:lnTo>
                <a:close/>
                <a:moveTo>
                  <a:pt x="274" y="32"/>
                </a:moveTo>
                <a:cubicBezTo>
                  <a:pt x="274" y="49"/>
                  <a:pt x="266" y="57"/>
                  <a:pt x="250" y="57"/>
                </a:cubicBezTo>
                <a:cubicBezTo>
                  <a:pt x="235" y="57"/>
                  <a:pt x="227" y="49"/>
                  <a:pt x="227" y="32"/>
                </a:cubicBezTo>
                <a:cubicBezTo>
                  <a:pt x="227" y="0"/>
                  <a:pt x="227" y="0"/>
                  <a:pt x="227" y="0"/>
                </a:cubicBezTo>
                <a:cubicBezTo>
                  <a:pt x="240" y="0"/>
                  <a:pt x="240" y="0"/>
                  <a:pt x="240" y="0"/>
                </a:cubicBezTo>
                <a:cubicBezTo>
                  <a:pt x="240" y="33"/>
                  <a:pt x="240" y="33"/>
                  <a:pt x="240" y="33"/>
                </a:cubicBezTo>
                <a:cubicBezTo>
                  <a:pt x="240" y="42"/>
                  <a:pt x="244" y="46"/>
                  <a:pt x="251" y="46"/>
                </a:cubicBezTo>
                <a:cubicBezTo>
                  <a:pt x="258" y="46"/>
                  <a:pt x="261" y="42"/>
                  <a:pt x="261" y="33"/>
                </a:cubicBezTo>
                <a:cubicBezTo>
                  <a:pt x="261" y="0"/>
                  <a:pt x="261" y="0"/>
                  <a:pt x="261" y="0"/>
                </a:cubicBezTo>
                <a:cubicBezTo>
                  <a:pt x="274" y="0"/>
                  <a:pt x="274" y="0"/>
                  <a:pt x="274" y="0"/>
                </a:cubicBezTo>
                <a:lnTo>
                  <a:pt x="274" y="32"/>
                </a:lnTo>
                <a:close/>
                <a:moveTo>
                  <a:pt x="309" y="34"/>
                </a:moveTo>
                <a:cubicBezTo>
                  <a:pt x="309" y="42"/>
                  <a:pt x="307" y="47"/>
                  <a:pt x="303" y="51"/>
                </a:cubicBezTo>
                <a:cubicBezTo>
                  <a:pt x="300" y="55"/>
                  <a:pt x="295" y="57"/>
                  <a:pt x="288" y="57"/>
                </a:cubicBezTo>
                <a:cubicBezTo>
                  <a:pt x="285" y="57"/>
                  <a:pt x="282" y="57"/>
                  <a:pt x="280" y="56"/>
                </a:cubicBezTo>
                <a:cubicBezTo>
                  <a:pt x="280" y="44"/>
                  <a:pt x="280" y="44"/>
                  <a:pt x="280" y="44"/>
                </a:cubicBezTo>
                <a:cubicBezTo>
                  <a:pt x="282" y="46"/>
                  <a:pt x="284" y="46"/>
                  <a:pt x="287" y="46"/>
                </a:cubicBezTo>
                <a:cubicBezTo>
                  <a:pt x="293" y="46"/>
                  <a:pt x="296" y="42"/>
                  <a:pt x="296" y="33"/>
                </a:cubicBezTo>
                <a:cubicBezTo>
                  <a:pt x="296" y="0"/>
                  <a:pt x="296" y="0"/>
                  <a:pt x="296" y="0"/>
                </a:cubicBezTo>
                <a:cubicBezTo>
                  <a:pt x="309" y="0"/>
                  <a:pt x="309" y="0"/>
                  <a:pt x="309" y="0"/>
                </a:cubicBezTo>
                <a:lnTo>
                  <a:pt x="309" y="34"/>
                </a:lnTo>
                <a:close/>
                <a:moveTo>
                  <a:pt x="355" y="56"/>
                </a:moveTo>
                <a:cubicBezTo>
                  <a:pt x="321" y="56"/>
                  <a:pt x="321" y="56"/>
                  <a:pt x="321" y="56"/>
                </a:cubicBezTo>
                <a:cubicBezTo>
                  <a:pt x="321" y="0"/>
                  <a:pt x="321" y="0"/>
                  <a:pt x="321" y="0"/>
                </a:cubicBezTo>
                <a:cubicBezTo>
                  <a:pt x="354" y="0"/>
                  <a:pt x="354" y="0"/>
                  <a:pt x="354" y="0"/>
                </a:cubicBezTo>
                <a:cubicBezTo>
                  <a:pt x="354" y="10"/>
                  <a:pt x="354" y="10"/>
                  <a:pt x="354" y="10"/>
                </a:cubicBezTo>
                <a:cubicBezTo>
                  <a:pt x="334" y="10"/>
                  <a:pt x="334" y="10"/>
                  <a:pt x="334" y="10"/>
                </a:cubicBezTo>
                <a:cubicBezTo>
                  <a:pt x="334" y="23"/>
                  <a:pt x="334" y="23"/>
                  <a:pt x="334" y="23"/>
                </a:cubicBezTo>
                <a:cubicBezTo>
                  <a:pt x="352" y="23"/>
                  <a:pt x="352" y="23"/>
                  <a:pt x="352" y="23"/>
                </a:cubicBezTo>
                <a:cubicBezTo>
                  <a:pt x="352" y="33"/>
                  <a:pt x="352" y="33"/>
                  <a:pt x="352" y="33"/>
                </a:cubicBezTo>
                <a:cubicBezTo>
                  <a:pt x="334" y="33"/>
                  <a:pt x="334" y="33"/>
                  <a:pt x="334" y="33"/>
                </a:cubicBezTo>
                <a:cubicBezTo>
                  <a:pt x="334" y="46"/>
                  <a:pt x="334" y="46"/>
                  <a:pt x="334" y="46"/>
                </a:cubicBezTo>
                <a:cubicBezTo>
                  <a:pt x="355" y="46"/>
                  <a:pt x="355" y="46"/>
                  <a:pt x="355" y="46"/>
                </a:cubicBezTo>
                <a:lnTo>
                  <a:pt x="355" y="56"/>
                </a:lnTo>
                <a:close/>
                <a:moveTo>
                  <a:pt x="351" y="72"/>
                </a:moveTo>
                <a:cubicBezTo>
                  <a:pt x="350" y="72"/>
                  <a:pt x="349" y="73"/>
                  <a:pt x="348" y="73"/>
                </a:cubicBezTo>
                <a:cubicBezTo>
                  <a:pt x="348" y="73"/>
                  <a:pt x="347" y="73"/>
                  <a:pt x="346" y="73"/>
                </a:cubicBezTo>
                <a:cubicBezTo>
                  <a:pt x="344" y="73"/>
                  <a:pt x="342" y="72"/>
                  <a:pt x="340" y="71"/>
                </a:cubicBezTo>
                <a:cubicBezTo>
                  <a:pt x="339" y="70"/>
                  <a:pt x="338" y="68"/>
                  <a:pt x="338" y="66"/>
                </a:cubicBezTo>
                <a:cubicBezTo>
                  <a:pt x="338" y="65"/>
                  <a:pt x="339" y="64"/>
                  <a:pt x="339" y="64"/>
                </a:cubicBezTo>
                <a:cubicBezTo>
                  <a:pt x="339" y="63"/>
                  <a:pt x="340" y="62"/>
                  <a:pt x="340" y="61"/>
                </a:cubicBezTo>
                <a:cubicBezTo>
                  <a:pt x="341" y="60"/>
                  <a:pt x="341" y="59"/>
                  <a:pt x="342" y="58"/>
                </a:cubicBezTo>
                <a:cubicBezTo>
                  <a:pt x="343" y="58"/>
                  <a:pt x="344" y="57"/>
                  <a:pt x="345" y="56"/>
                </a:cubicBezTo>
                <a:cubicBezTo>
                  <a:pt x="351" y="56"/>
                  <a:pt x="351" y="56"/>
                  <a:pt x="351" y="56"/>
                </a:cubicBezTo>
                <a:cubicBezTo>
                  <a:pt x="349" y="58"/>
                  <a:pt x="348" y="59"/>
                  <a:pt x="347" y="61"/>
                </a:cubicBezTo>
                <a:cubicBezTo>
                  <a:pt x="346" y="62"/>
                  <a:pt x="345" y="63"/>
                  <a:pt x="345" y="65"/>
                </a:cubicBezTo>
                <a:cubicBezTo>
                  <a:pt x="345" y="65"/>
                  <a:pt x="345" y="66"/>
                  <a:pt x="346" y="67"/>
                </a:cubicBezTo>
                <a:cubicBezTo>
                  <a:pt x="346" y="67"/>
                  <a:pt x="347" y="67"/>
                  <a:pt x="348" y="67"/>
                </a:cubicBezTo>
                <a:cubicBezTo>
                  <a:pt x="348" y="67"/>
                  <a:pt x="349" y="67"/>
                  <a:pt x="349" y="67"/>
                </a:cubicBezTo>
                <a:cubicBezTo>
                  <a:pt x="350" y="67"/>
                  <a:pt x="350" y="67"/>
                  <a:pt x="351" y="67"/>
                </a:cubicBezTo>
                <a:lnTo>
                  <a:pt x="351" y="72"/>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31" name="Freeform 245">
            <a:extLst>
              <a:ext uri="{FF2B5EF4-FFF2-40B4-BE49-F238E27FC236}">
                <a16:creationId xmlns:a16="http://schemas.microsoft.com/office/drawing/2014/main" id="{8453A60E-D0BF-CE08-95C6-3F2E705DAB39}"/>
              </a:ext>
              <a:ext uri="{C183D7F6-B498-43B3-948B-1728B52AA6E4}">
                <adec:decorative xmlns:adec="http://schemas.microsoft.com/office/drawing/2017/decorative" val="1"/>
              </a:ext>
            </a:extLst>
          </p:cNvPr>
          <p:cNvSpPr>
            <a:spLocks noEditPoints="1"/>
          </p:cNvSpPr>
          <p:nvPr userDrawn="1"/>
        </p:nvSpPr>
        <p:spPr bwMode="auto">
          <a:xfrm rot="16200000">
            <a:off x="2206899" y="4938364"/>
            <a:ext cx="217637" cy="1139516"/>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32" name="Freeform 247">
            <a:extLst>
              <a:ext uri="{FF2B5EF4-FFF2-40B4-BE49-F238E27FC236}">
                <a16:creationId xmlns:a16="http://schemas.microsoft.com/office/drawing/2014/main" id="{F5A6FAB2-0259-9A42-966D-AF4306F607D3}"/>
              </a:ext>
              <a:ext uri="{C183D7F6-B498-43B3-948B-1728B52AA6E4}">
                <adec:decorative xmlns:adec="http://schemas.microsoft.com/office/drawing/2017/decorative" val="1"/>
              </a:ext>
            </a:extLst>
          </p:cNvPr>
          <p:cNvSpPr>
            <a:spLocks noEditPoints="1"/>
          </p:cNvSpPr>
          <p:nvPr userDrawn="1"/>
        </p:nvSpPr>
        <p:spPr bwMode="auto">
          <a:xfrm rot="16200000">
            <a:off x="8406004" y="5108920"/>
            <a:ext cx="382750" cy="1049352"/>
          </a:xfrm>
          <a:custGeom>
            <a:avLst/>
            <a:gdLst>
              <a:gd name="T0" fmla="*/ 114 w 126"/>
              <a:gd name="T1" fmla="*/ 228 h 345"/>
              <a:gd name="T2" fmla="*/ 119 w 126"/>
              <a:gd name="T3" fmla="*/ 243 h 345"/>
              <a:gd name="T4" fmla="*/ 117 w 126"/>
              <a:gd name="T5" fmla="*/ 282 h 345"/>
              <a:gd name="T6" fmla="*/ 103 w 126"/>
              <a:gd name="T7" fmla="*/ 288 h 345"/>
              <a:gd name="T8" fmla="*/ 117 w 126"/>
              <a:gd name="T9" fmla="*/ 282 h 345"/>
              <a:gd name="T10" fmla="*/ 104 w 126"/>
              <a:gd name="T11" fmla="*/ 240 h 345"/>
              <a:gd name="T12" fmla="*/ 107 w 126"/>
              <a:gd name="T13" fmla="*/ 255 h 345"/>
              <a:gd name="T14" fmla="*/ 111 w 126"/>
              <a:gd name="T15" fmla="*/ 267 h 345"/>
              <a:gd name="T16" fmla="*/ 97 w 126"/>
              <a:gd name="T17" fmla="*/ 273 h 345"/>
              <a:gd name="T18" fmla="*/ 111 w 126"/>
              <a:gd name="T19" fmla="*/ 267 h 345"/>
              <a:gd name="T20" fmla="*/ 97 w 126"/>
              <a:gd name="T21" fmla="*/ 225 h 345"/>
              <a:gd name="T22" fmla="*/ 101 w 126"/>
              <a:gd name="T23" fmla="*/ 241 h 345"/>
              <a:gd name="T24" fmla="*/ 47 w 126"/>
              <a:gd name="T25" fmla="*/ 59 h 345"/>
              <a:gd name="T26" fmla="*/ 62 w 126"/>
              <a:gd name="T27" fmla="*/ 27 h 345"/>
              <a:gd name="T28" fmla="*/ 63 w 126"/>
              <a:gd name="T29" fmla="*/ 44 h 345"/>
              <a:gd name="T30" fmla="*/ 58 w 126"/>
              <a:gd name="T31" fmla="*/ 48 h 345"/>
              <a:gd name="T32" fmla="*/ 0 w 126"/>
              <a:gd name="T33" fmla="*/ 27 h 345"/>
              <a:gd name="T34" fmla="*/ 47 w 126"/>
              <a:gd name="T35" fmla="*/ 59 h 345"/>
              <a:gd name="T36" fmla="*/ 80 w 126"/>
              <a:gd name="T37" fmla="*/ 140 h 345"/>
              <a:gd name="T38" fmla="*/ 65 w 126"/>
              <a:gd name="T39" fmla="*/ 149 h 345"/>
              <a:gd name="T40" fmla="*/ 84 w 126"/>
              <a:gd name="T41" fmla="*/ 116 h 345"/>
              <a:gd name="T42" fmla="*/ 75 w 126"/>
              <a:gd name="T43" fmla="*/ 109 h 345"/>
              <a:gd name="T44" fmla="*/ 24 w 126"/>
              <a:gd name="T45" fmla="*/ 86 h 345"/>
              <a:gd name="T46" fmla="*/ 24 w 126"/>
              <a:gd name="T47" fmla="*/ 64 h 345"/>
              <a:gd name="T48" fmla="*/ 16 w 126"/>
              <a:gd name="T49" fmla="*/ 95 h 345"/>
              <a:gd name="T50" fmla="*/ 72 w 126"/>
              <a:gd name="T51" fmla="*/ 155 h 345"/>
              <a:gd name="T52" fmla="*/ 51 w 126"/>
              <a:gd name="T53" fmla="*/ 213 h 345"/>
              <a:gd name="T54" fmla="*/ 52 w 126"/>
              <a:gd name="T55" fmla="*/ 244 h 345"/>
              <a:gd name="T56" fmla="*/ 55 w 126"/>
              <a:gd name="T57" fmla="*/ 317 h 345"/>
              <a:gd name="T58" fmla="*/ 83 w 126"/>
              <a:gd name="T59" fmla="*/ 335 h 345"/>
              <a:gd name="T60" fmla="*/ 88 w 126"/>
              <a:gd name="T61" fmla="*/ 286 h 345"/>
              <a:gd name="T62" fmla="*/ 59 w 126"/>
              <a:gd name="T63" fmla="*/ 288 h 345"/>
              <a:gd name="T64" fmla="*/ 82 w 126"/>
              <a:gd name="T65" fmla="*/ 257 h 345"/>
              <a:gd name="T66" fmla="*/ 74 w 126"/>
              <a:gd name="T67" fmla="*/ 252 h 345"/>
              <a:gd name="T68" fmla="*/ 77 w 126"/>
              <a:gd name="T69" fmla="*/ 243 h 345"/>
              <a:gd name="T70" fmla="*/ 60 w 126"/>
              <a:gd name="T71" fmla="*/ 239 h 345"/>
              <a:gd name="T72" fmla="*/ 77 w 126"/>
              <a:gd name="T73" fmla="*/ 212 h 345"/>
              <a:gd name="T74" fmla="*/ 60 w 126"/>
              <a:gd name="T75" fmla="*/ 207 h 345"/>
              <a:gd name="T76" fmla="*/ 91 w 126"/>
              <a:gd name="T77" fmla="*/ 148 h 345"/>
              <a:gd name="T78" fmla="*/ 115 w 126"/>
              <a:gd name="T79" fmla="*/ 169 h 345"/>
              <a:gd name="T80" fmla="*/ 90 w 126"/>
              <a:gd name="T81" fmla="*/ 128 h 345"/>
              <a:gd name="T82" fmla="*/ 74 w 126"/>
              <a:gd name="T83" fmla="*/ 331 h 345"/>
              <a:gd name="T84" fmla="*/ 66 w 126"/>
              <a:gd name="T85" fmla="*/ 32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345">
                <a:moveTo>
                  <a:pt x="124" y="232"/>
                </a:moveTo>
                <a:cubicBezTo>
                  <a:pt x="121" y="231"/>
                  <a:pt x="117" y="229"/>
                  <a:pt x="114" y="228"/>
                </a:cubicBezTo>
                <a:cubicBezTo>
                  <a:pt x="113" y="231"/>
                  <a:pt x="111" y="235"/>
                  <a:pt x="109" y="238"/>
                </a:cubicBezTo>
                <a:cubicBezTo>
                  <a:pt x="112" y="240"/>
                  <a:pt x="116" y="241"/>
                  <a:pt x="119" y="243"/>
                </a:cubicBezTo>
                <a:cubicBezTo>
                  <a:pt x="121" y="240"/>
                  <a:pt x="122" y="236"/>
                  <a:pt x="124" y="232"/>
                </a:cubicBezTo>
                <a:close/>
                <a:moveTo>
                  <a:pt x="117" y="282"/>
                </a:moveTo>
                <a:cubicBezTo>
                  <a:pt x="114" y="281"/>
                  <a:pt x="111" y="279"/>
                  <a:pt x="109" y="278"/>
                </a:cubicBezTo>
                <a:cubicBezTo>
                  <a:pt x="106" y="281"/>
                  <a:pt x="104" y="284"/>
                  <a:pt x="103" y="288"/>
                </a:cubicBezTo>
                <a:cubicBezTo>
                  <a:pt x="106" y="290"/>
                  <a:pt x="109" y="291"/>
                  <a:pt x="112" y="293"/>
                </a:cubicBezTo>
                <a:cubicBezTo>
                  <a:pt x="114" y="289"/>
                  <a:pt x="116" y="286"/>
                  <a:pt x="117" y="282"/>
                </a:cubicBezTo>
                <a:close/>
                <a:moveTo>
                  <a:pt x="112" y="245"/>
                </a:moveTo>
                <a:cubicBezTo>
                  <a:pt x="109" y="243"/>
                  <a:pt x="106" y="242"/>
                  <a:pt x="104" y="240"/>
                </a:cubicBezTo>
                <a:cubicBezTo>
                  <a:pt x="102" y="244"/>
                  <a:pt x="100" y="247"/>
                  <a:pt x="98" y="250"/>
                </a:cubicBezTo>
                <a:cubicBezTo>
                  <a:pt x="101" y="252"/>
                  <a:pt x="104" y="254"/>
                  <a:pt x="107" y="255"/>
                </a:cubicBezTo>
                <a:cubicBezTo>
                  <a:pt x="109" y="252"/>
                  <a:pt x="111" y="248"/>
                  <a:pt x="112" y="245"/>
                </a:cubicBezTo>
                <a:close/>
                <a:moveTo>
                  <a:pt x="111" y="267"/>
                </a:moveTo>
                <a:cubicBezTo>
                  <a:pt x="108" y="266"/>
                  <a:pt x="105" y="264"/>
                  <a:pt x="102" y="263"/>
                </a:cubicBezTo>
                <a:cubicBezTo>
                  <a:pt x="100" y="266"/>
                  <a:pt x="98" y="269"/>
                  <a:pt x="97" y="273"/>
                </a:cubicBezTo>
                <a:cubicBezTo>
                  <a:pt x="100" y="275"/>
                  <a:pt x="103" y="276"/>
                  <a:pt x="106" y="278"/>
                </a:cubicBezTo>
                <a:cubicBezTo>
                  <a:pt x="108" y="274"/>
                  <a:pt x="110" y="271"/>
                  <a:pt x="111" y="267"/>
                </a:cubicBezTo>
                <a:close/>
                <a:moveTo>
                  <a:pt x="106" y="230"/>
                </a:moveTo>
                <a:cubicBezTo>
                  <a:pt x="103" y="228"/>
                  <a:pt x="100" y="227"/>
                  <a:pt x="97" y="225"/>
                </a:cubicBezTo>
                <a:cubicBezTo>
                  <a:pt x="95" y="229"/>
                  <a:pt x="93" y="232"/>
                  <a:pt x="92" y="236"/>
                </a:cubicBezTo>
                <a:cubicBezTo>
                  <a:pt x="95" y="237"/>
                  <a:pt x="98" y="239"/>
                  <a:pt x="101" y="241"/>
                </a:cubicBezTo>
                <a:cubicBezTo>
                  <a:pt x="103" y="237"/>
                  <a:pt x="105" y="233"/>
                  <a:pt x="106" y="230"/>
                </a:cubicBezTo>
                <a:close/>
                <a:moveTo>
                  <a:pt x="47" y="59"/>
                </a:moveTo>
                <a:cubicBezTo>
                  <a:pt x="73" y="60"/>
                  <a:pt x="87" y="36"/>
                  <a:pt x="63" y="26"/>
                </a:cubicBezTo>
                <a:cubicBezTo>
                  <a:pt x="63" y="26"/>
                  <a:pt x="62" y="27"/>
                  <a:pt x="62" y="27"/>
                </a:cubicBezTo>
                <a:cubicBezTo>
                  <a:pt x="61" y="29"/>
                  <a:pt x="65" y="32"/>
                  <a:pt x="66" y="34"/>
                </a:cubicBezTo>
                <a:cubicBezTo>
                  <a:pt x="66" y="40"/>
                  <a:pt x="64" y="41"/>
                  <a:pt x="63" y="44"/>
                </a:cubicBezTo>
                <a:cubicBezTo>
                  <a:pt x="62" y="45"/>
                  <a:pt x="60" y="47"/>
                  <a:pt x="59" y="48"/>
                </a:cubicBezTo>
                <a:cubicBezTo>
                  <a:pt x="59" y="48"/>
                  <a:pt x="59" y="48"/>
                  <a:pt x="58" y="48"/>
                </a:cubicBezTo>
                <a:cubicBezTo>
                  <a:pt x="58" y="0"/>
                  <a:pt x="27" y="22"/>
                  <a:pt x="0" y="26"/>
                </a:cubicBezTo>
                <a:cubicBezTo>
                  <a:pt x="0" y="26"/>
                  <a:pt x="0" y="27"/>
                  <a:pt x="0" y="27"/>
                </a:cubicBezTo>
                <a:cubicBezTo>
                  <a:pt x="12" y="33"/>
                  <a:pt x="26" y="23"/>
                  <a:pt x="39" y="23"/>
                </a:cubicBezTo>
                <a:cubicBezTo>
                  <a:pt x="47" y="30"/>
                  <a:pt x="48" y="45"/>
                  <a:pt x="47" y="59"/>
                </a:cubicBezTo>
                <a:close/>
                <a:moveTo>
                  <a:pt x="90" y="128"/>
                </a:moveTo>
                <a:cubicBezTo>
                  <a:pt x="86" y="131"/>
                  <a:pt x="82" y="135"/>
                  <a:pt x="80" y="140"/>
                </a:cubicBezTo>
                <a:cubicBezTo>
                  <a:pt x="80" y="140"/>
                  <a:pt x="81" y="141"/>
                  <a:pt x="82" y="141"/>
                </a:cubicBezTo>
                <a:cubicBezTo>
                  <a:pt x="80" y="147"/>
                  <a:pt x="72" y="155"/>
                  <a:pt x="65" y="149"/>
                </a:cubicBezTo>
                <a:cubicBezTo>
                  <a:pt x="60" y="145"/>
                  <a:pt x="58" y="134"/>
                  <a:pt x="59" y="124"/>
                </a:cubicBezTo>
                <a:cubicBezTo>
                  <a:pt x="72" y="124"/>
                  <a:pt x="76" y="119"/>
                  <a:pt x="84" y="116"/>
                </a:cubicBezTo>
                <a:cubicBezTo>
                  <a:pt x="84" y="115"/>
                  <a:pt x="85" y="114"/>
                  <a:pt x="85" y="113"/>
                </a:cubicBezTo>
                <a:cubicBezTo>
                  <a:pt x="82" y="112"/>
                  <a:pt x="79" y="111"/>
                  <a:pt x="75" y="109"/>
                </a:cubicBezTo>
                <a:cubicBezTo>
                  <a:pt x="71" y="113"/>
                  <a:pt x="66" y="118"/>
                  <a:pt x="60" y="119"/>
                </a:cubicBezTo>
                <a:cubicBezTo>
                  <a:pt x="42" y="122"/>
                  <a:pt x="27" y="100"/>
                  <a:pt x="24" y="86"/>
                </a:cubicBezTo>
                <a:cubicBezTo>
                  <a:pt x="22" y="79"/>
                  <a:pt x="25" y="70"/>
                  <a:pt x="27" y="64"/>
                </a:cubicBezTo>
                <a:cubicBezTo>
                  <a:pt x="26" y="64"/>
                  <a:pt x="25" y="64"/>
                  <a:pt x="24" y="64"/>
                </a:cubicBezTo>
                <a:cubicBezTo>
                  <a:pt x="23" y="67"/>
                  <a:pt x="21" y="71"/>
                  <a:pt x="20" y="74"/>
                </a:cubicBezTo>
                <a:cubicBezTo>
                  <a:pt x="18" y="79"/>
                  <a:pt x="14" y="87"/>
                  <a:pt x="16" y="95"/>
                </a:cubicBezTo>
                <a:cubicBezTo>
                  <a:pt x="18" y="106"/>
                  <a:pt x="34" y="124"/>
                  <a:pt x="47" y="124"/>
                </a:cubicBezTo>
                <a:cubicBezTo>
                  <a:pt x="47" y="142"/>
                  <a:pt x="54" y="155"/>
                  <a:pt x="72" y="155"/>
                </a:cubicBezTo>
                <a:cubicBezTo>
                  <a:pt x="61" y="170"/>
                  <a:pt x="47" y="166"/>
                  <a:pt x="47" y="194"/>
                </a:cubicBezTo>
                <a:cubicBezTo>
                  <a:pt x="47" y="203"/>
                  <a:pt x="48" y="208"/>
                  <a:pt x="51" y="213"/>
                </a:cubicBezTo>
                <a:cubicBezTo>
                  <a:pt x="49" y="218"/>
                  <a:pt x="45" y="226"/>
                  <a:pt x="47" y="235"/>
                </a:cubicBezTo>
                <a:cubicBezTo>
                  <a:pt x="48" y="239"/>
                  <a:pt x="50" y="242"/>
                  <a:pt x="52" y="244"/>
                </a:cubicBezTo>
                <a:cubicBezTo>
                  <a:pt x="47" y="247"/>
                  <a:pt x="47" y="257"/>
                  <a:pt x="47" y="266"/>
                </a:cubicBezTo>
                <a:cubicBezTo>
                  <a:pt x="47" y="285"/>
                  <a:pt x="44" y="309"/>
                  <a:pt x="55" y="317"/>
                </a:cubicBezTo>
                <a:cubicBezTo>
                  <a:pt x="52" y="327"/>
                  <a:pt x="47" y="329"/>
                  <a:pt x="47" y="345"/>
                </a:cubicBezTo>
                <a:cubicBezTo>
                  <a:pt x="69" y="345"/>
                  <a:pt x="69" y="340"/>
                  <a:pt x="83" y="335"/>
                </a:cubicBezTo>
                <a:cubicBezTo>
                  <a:pt x="80" y="315"/>
                  <a:pt x="59" y="318"/>
                  <a:pt x="59" y="293"/>
                </a:cubicBezTo>
                <a:cubicBezTo>
                  <a:pt x="72" y="293"/>
                  <a:pt x="82" y="293"/>
                  <a:pt x="88" y="286"/>
                </a:cubicBezTo>
                <a:cubicBezTo>
                  <a:pt x="89" y="286"/>
                  <a:pt x="89" y="286"/>
                  <a:pt x="89" y="286"/>
                </a:cubicBezTo>
                <a:cubicBezTo>
                  <a:pt x="78" y="275"/>
                  <a:pt x="74" y="288"/>
                  <a:pt x="59" y="288"/>
                </a:cubicBezTo>
                <a:cubicBezTo>
                  <a:pt x="59" y="262"/>
                  <a:pt x="59" y="262"/>
                  <a:pt x="59" y="262"/>
                </a:cubicBezTo>
                <a:cubicBezTo>
                  <a:pt x="70" y="262"/>
                  <a:pt x="75" y="260"/>
                  <a:pt x="82" y="257"/>
                </a:cubicBezTo>
                <a:cubicBezTo>
                  <a:pt x="82" y="257"/>
                  <a:pt x="82" y="257"/>
                  <a:pt x="82" y="257"/>
                </a:cubicBezTo>
                <a:cubicBezTo>
                  <a:pt x="79" y="255"/>
                  <a:pt x="77" y="254"/>
                  <a:pt x="74" y="252"/>
                </a:cubicBezTo>
                <a:cubicBezTo>
                  <a:pt x="72" y="255"/>
                  <a:pt x="62" y="262"/>
                  <a:pt x="59" y="256"/>
                </a:cubicBezTo>
                <a:cubicBezTo>
                  <a:pt x="55" y="246"/>
                  <a:pt x="71" y="245"/>
                  <a:pt x="77" y="243"/>
                </a:cubicBezTo>
                <a:cubicBezTo>
                  <a:pt x="77" y="243"/>
                  <a:pt x="77" y="242"/>
                  <a:pt x="77" y="242"/>
                </a:cubicBezTo>
                <a:cubicBezTo>
                  <a:pt x="73" y="241"/>
                  <a:pt x="62" y="242"/>
                  <a:pt x="60" y="239"/>
                </a:cubicBezTo>
                <a:cubicBezTo>
                  <a:pt x="59" y="237"/>
                  <a:pt x="59" y="234"/>
                  <a:pt x="59" y="230"/>
                </a:cubicBezTo>
                <a:cubicBezTo>
                  <a:pt x="59" y="218"/>
                  <a:pt x="67" y="214"/>
                  <a:pt x="77" y="212"/>
                </a:cubicBezTo>
                <a:cubicBezTo>
                  <a:pt x="77" y="212"/>
                  <a:pt x="77" y="212"/>
                  <a:pt x="77" y="211"/>
                </a:cubicBezTo>
                <a:cubicBezTo>
                  <a:pt x="73" y="210"/>
                  <a:pt x="62" y="211"/>
                  <a:pt x="60" y="207"/>
                </a:cubicBezTo>
                <a:cubicBezTo>
                  <a:pt x="58" y="205"/>
                  <a:pt x="58" y="185"/>
                  <a:pt x="59" y="181"/>
                </a:cubicBezTo>
                <a:cubicBezTo>
                  <a:pt x="61" y="174"/>
                  <a:pt x="84" y="157"/>
                  <a:pt x="91" y="148"/>
                </a:cubicBezTo>
                <a:cubicBezTo>
                  <a:pt x="94" y="145"/>
                  <a:pt x="97" y="137"/>
                  <a:pt x="102" y="136"/>
                </a:cubicBezTo>
                <a:cubicBezTo>
                  <a:pt x="107" y="141"/>
                  <a:pt x="113" y="161"/>
                  <a:pt x="115" y="169"/>
                </a:cubicBezTo>
                <a:cubicBezTo>
                  <a:pt x="126" y="169"/>
                  <a:pt x="126" y="169"/>
                  <a:pt x="126" y="169"/>
                </a:cubicBezTo>
                <a:cubicBezTo>
                  <a:pt x="121" y="150"/>
                  <a:pt x="114" y="128"/>
                  <a:pt x="90" y="128"/>
                </a:cubicBezTo>
                <a:close/>
                <a:moveTo>
                  <a:pt x="66" y="323"/>
                </a:moveTo>
                <a:cubicBezTo>
                  <a:pt x="67" y="321"/>
                  <a:pt x="73" y="328"/>
                  <a:pt x="74" y="331"/>
                </a:cubicBezTo>
                <a:cubicBezTo>
                  <a:pt x="71" y="334"/>
                  <a:pt x="65" y="338"/>
                  <a:pt x="60" y="338"/>
                </a:cubicBezTo>
                <a:cubicBezTo>
                  <a:pt x="60" y="332"/>
                  <a:pt x="62" y="326"/>
                  <a:pt x="66" y="323"/>
                </a:cubicBezTo>
                <a:close/>
              </a:path>
            </a:pathLst>
          </a:custGeom>
          <a:solidFill>
            <a:schemeClr val="tx1">
              <a:lumMod val="50000"/>
              <a:lumOff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3" name="Freeform 248">
            <a:extLst>
              <a:ext uri="{FF2B5EF4-FFF2-40B4-BE49-F238E27FC236}">
                <a16:creationId xmlns:a16="http://schemas.microsoft.com/office/drawing/2014/main" id="{9EF40049-B82A-B457-B556-1520B45D0941}"/>
              </a:ext>
              <a:ext uri="{C183D7F6-B498-43B3-948B-1728B52AA6E4}">
                <adec:decorative xmlns:adec="http://schemas.microsoft.com/office/drawing/2017/decorative" val="1"/>
              </a:ext>
            </a:extLst>
          </p:cNvPr>
          <p:cNvSpPr>
            <a:spLocks noEditPoints="1"/>
          </p:cNvSpPr>
          <p:nvPr userDrawn="1"/>
        </p:nvSpPr>
        <p:spPr bwMode="auto">
          <a:xfrm>
            <a:off x="5044752" y="1098787"/>
            <a:ext cx="1128984" cy="453392"/>
          </a:xfrm>
          <a:custGeom>
            <a:avLst/>
            <a:gdLst>
              <a:gd name="T0" fmla="*/ 323 w 372"/>
              <a:gd name="T1" fmla="*/ 16 h 149"/>
              <a:gd name="T2" fmla="*/ 347 w 372"/>
              <a:gd name="T3" fmla="*/ 7 h 149"/>
              <a:gd name="T4" fmla="*/ 297 w 372"/>
              <a:gd name="T5" fmla="*/ 61 h 149"/>
              <a:gd name="T6" fmla="*/ 255 w 372"/>
              <a:gd name="T7" fmla="*/ 85 h 149"/>
              <a:gd name="T8" fmla="*/ 208 w 372"/>
              <a:gd name="T9" fmla="*/ 43 h 149"/>
              <a:gd name="T10" fmla="*/ 242 w 372"/>
              <a:gd name="T11" fmla="*/ 10 h 149"/>
              <a:gd name="T12" fmla="*/ 206 w 372"/>
              <a:gd name="T13" fmla="*/ 65 h 149"/>
              <a:gd name="T14" fmla="*/ 214 w 372"/>
              <a:gd name="T15" fmla="*/ 80 h 149"/>
              <a:gd name="T16" fmla="*/ 169 w 372"/>
              <a:gd name="T17" fmla="*/ 55 h 149"/>
              <a:gd name="T18" fmla="*/ 163 w 372"/>
              <a:gd name="T19" fmla="*/ 76 h 149"/>
              <a:gd name="T20" fmla="*/ 136 w 372"/>
              <a:gd name="T21" fmla="*/ 129 h 149"/>
              <a:gd name="T22" fmla="*/ 108 w 372"/>
              <a:gd name="T23" fmla="*/ 125 h 149"/>
              <a:gd name="T24" fmla="*/ 138 w 372"/>
              <a:gd name="T25" fmla="*/ 144 h 149"/>
              <a:gd name="T26" fmla="*/ 223 w 372"/>
              <a:gd name="T27" fmla="*/ 80 h 149"/>
              <a:gd name="T28" fmla="*/ 285 w 372"/>
              <a:gd name="T29" fmla="*/ 106 h 149"/>
              <a:gd name="T30" fmla="*/ 303 w 372"/>
              <a:gd name="T31" fmla="*/ 105 h 149"/>
              <a:gd name="T32" fmla="*/ 372 w 372"/>
              <a:gd name="T33" fmla="*/ 107 h 149"/>
              <a:gd name="T34" fmla="*/ 367 w 372"/>
              <a:gd name="T35" fmla="*/ 57 h 149"/>
              <a:gd name="T36" fmla="*/ 363 w 372"/>
              <a:gd name="T37" fmla="*/ 82 h 149"/>
              <a:gd name="T38" fmla="*/ 349 w 372"/>
              <a:gd name="T39" fmla="*/ 81 h 149"/>
              <a:gd name="T40" fmla="*/ 337 w 372"/>
              <a:gd name="T41" fmla="*/ 82 h 149"/>
              <a:gd name="T42" fmla="*/ 302 w 372"/>
              <a:gd name="T43" fmla="*/ 62 h 149"/>
              <a:gd name="T44" fmla="*/ 347 w 372"/>
              <a:gd name="T45" fmla="*/ 20 h 149"/>
              <a:gd name="T46" fmla="*/ 329 w 372"/>
              <a:gd name="T47" fmla="*/ 27 h 149"/>
              <a:gd name="T48" fmla="*/ 334 w 372"/>
              <a:gd name="T49" fmla="*/ 51 h 149"/>
              <a:gd name="T50" fmla="*/ 353 w 372"/>
              <a:gd name="T51" fmla="*/ 45 h 149"/>
              <a:gd name="T52" fmla="*/ 347 w 372"/>
              <a:gd name="T53" fmla="*/ 20 h 149"/>
              <a:gd name="T54" fmla="*/ 104 w 372"/>
              <a:gd name="T55" fmla="*/ 60 h 149"/>
              <a:gd name="T56" fmla="*/ 96 w 372"/>
              <a:gd name="T57" fmla="*/ 49 h 149"/>
              <a:gd name="T58" fmla="*/ 99 w 372"/>
              <a:gd name="T59" fmla="*/ 85 h 149"/>
              <a:gd name="T60" fmla="*/ 35 w 372"/>
              <a:gd name="T61" fmla="*/ 68 h 149"/>
              <a:gd name="T62" fmla="*/ 4 w 372"/>
              <a:gd name="T63" fmla="*/ 120 h 149"/>
              <a:gd name="T64" fmla="*/ 51 w 372"/>
              <a:gd name="T65" fmla="*/ 107 h 149"/>
              <a:gd name="T66" fmla="*/ 90 w 372"/>
              <a:gd name="T67" fmla="*/ 114 h 149"/>
              <a:gd name="T68" fmla="*/ 72 w 372"/>
              <a:gd name="T69" fmla="*/ 122 h 149"/>
              <a:gd name="T70" fmla="*/ 78 w 372"/>
              <a:gd name="T71" fmla="*/ 146 h 149"/>
              <a:gd name="T72" fmla="*/ 96 w 372"/>
              <a:gd name="T73" fmla="*/ 139 h 149"/>
              <a:gd name="T74" fmla="*/ 90 w 372"/>
              <a:gd name="T75"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149">
                <a:moveTo>
                  <a:pt x="331" y="0"/>
                </a:moveTo>
                <a:cubicBezTo>
                  <a:pt x="328" y="6"/>
                  <a:pt x="326" y="11"/>
                  <a:pt x="323" y="16"/>
                </a:cubicBezTo>
                <a:cubicBezTo>
                  <a:pt x="328" y="19"/>
                  <a:pt x="333" y="22"/>
                  <a:pt x="338" y="25"/>
                </a:cubicBezTo>
                <a:cubicBezTo>
                  <a:pt x="341" y="19"/>
                  <a:pt x="344" y="13"/>
                  <a:pt x="347" y="7"/>
                </a:cubicBezTo>
                <a:cubicBezTo>
                  <a:pt x="341" y="5"/>
                  <a:pt x="336" y="2"/>
                  <a:pt x="331" y="0"/>
                </a:cubicBezTo>
                <a:close/>
                <a:moveTo>
                  <a:pt x="297" y="61"/>
                </a:moveTo>
                <a:cubicBezTo>
                  <a:pt x="297" y="80"/>
                  <a:pt x="287" y="85"/>
                  <a:pt x="268" y="85"/>
                </a:cubicBezTo>
                <a:cubicBezTo>
                  <a:pt x="264" y="85"/>
                  <a:pt x="259" y="85"/>
                  <a:pt x="255" y="85"/>
                </a:cubicBezTo>
                <a:cubicBezTo>
                  <a:pt x="248" y="83"/>
                  <a:pt x="211" y="52"/>
                  <a:pt x="209" y="47"/>
                </a:cubicBezTo>
                <a:cubicBezTo>
                  <a:pt x="209" y="45"/>
                  <a:pt x="209" y="44"/>
                  <a:pt x="208" y="43"/>
                </a:cubicBezTo>
                <a:cubicBezTo>
                  <a:pt x="214" y="37"/>
                  <a:pt x="232" y="31"/>
                  <a:pt x="242" y="30"/>
                </a:cubicBezTo>
                <a:cubicBezTo>
                  <a:pt x="242" y="23"/>
                  <a:pt x="242" y="16"/>
                  <a:pt x="242" y="10"/>
                </a:cubicBezTo>
                <a:cubicBezTo>
                  <a:pt x="228" y="13"/>
                  <a:pt x="197" y="25"/>
                  <a:pt x="192" y="36"/>
                </a:cubicBezTo>
                <a:cubicBezTo>
                  <a:pt x="186" y="50"/>
                  <a:pt x="198" y="71"/>
                  <a:pt x="206" y="65"/>
                </a:cubicBezTo>
                <a:cubicBezTo>
                  <a:pt x="210" y="67"/>
                  <a:pt x="213" y="70"/>
                  <a:pt x="215" y="74"/>
                </a:cubicBezTo>
                <a:cubicBezTo>
                  <a:pt x="215" y="76"/>
                  <a:pt x="214" y="78"/>
                  <a:pt x="214" y="80"/>
                </a:cubicBezTo>
                <a:cubicBezTo>
                  <a:pt x="206" y="85"/>
                  <a:pt x="193" y="85"/>
                  <a:pt x="179" y="85"/>
                </a:cubicBezTo>
                <a:cubicBezTo>
                  <a:pt x="179" y="70"/>
                  <a:pt x="173" y="64"/>
                  <a:pt x="169" y="55"/>
                </a:cubicBezTo>
                <a:cubicBezTo>
                  <a:pt x="168" y="55"/>
                  <a:pt x="168" y="54"/>
                  <a:pt x="168" y="54"/>
                </a:cubicBezTo>
                <a:cubicBezTo>
                  <a:pt x="166" y="62"/>
                  <a:pt x="164" y="69"/>
                  <a:pt x="163" y="76"/>
                </a:cubicBezTo>
                <a:cubicBezTo>
                  <a:pt x="167" y="81"/>
                  <a:pt x="175" y="89"/>
                  <a:pt x="172" y="99"/>
                </a:cubicBezTo>
                <a:cubicBezTo>
                  <a:pt x="169" y="108"/>
                  <a:pt x="146" y="127"/>
                  <a:pt x="136" y="129"/>
                </a:cubicBezTo>
                <a:cubicBezTo>
                  <a:pt x="123" y="132"/>
                  <a:pt x="117" y="124"/>
                  <a:pt x="109" y="121"/>
                </a:cubicBezTo>
                <a:cubicBezTo>
                  <a:pt x="109" y="122"/>
                  <a:pt x="108" y="124"/>
                  <a:pt x="108" y="125"/>
                </a:cubicBezTo>
                <a:cubicBezTo>
                  <a:pt x="108" y="125"/>
                  <a:pt x="107" y="126"/>
                  <a:pt x="107" y="127"/>
                </a:cubicBezTo>
                <a:cubicBezTo>
                  <a:pt x="118" y="131"/>
                  <a:pt x="126" y="140"/>
                  <a:pt x="138" y="144"/>
                </a:cubicBezTo>
                <a:cubicBezTo>
                  <a:pt x="157" y="149"/>
                  <a:pt x="180" y="123"/>
                  <a:pt x="179" y="107"/>
                </a:cubicBezTo>
                <a:cubicBezTo>
                  <a:pt x="203" y="108"/>
                  <a:pt x="223" y="103"/>
                  <a:pt x="223" y="80"/>
                </a:cubicBezTo>
                <a:cubicBezTo>
                  <a:pt x="223" y="80"/>
                  <a:pt x="223" y="80"/>
                  <a:pt x="223" y="80"/>
                </a:cubicBezTo>
                <a:cubicBezTo>
                  <a:pt x="230" y="94"/>
                  <a:pt x="257" y="117"/>
                  <a:pt x="285" y="106"/>
                </a:cubicBezTo>
                <a:cubicBezTo>
                  <a:pt x="290" y="104"/>
                  <a:pt x="293" y="99"/>
                  <a:pt x="297" y="96"/>
                </a:cubicBezTo>
                <a:cubicBezTo>
                  <a:pt x="299" y="99"/>
                  <a:pt x="301" y="102"/>
                  <a:pt x="303" y="105"/>
                </a:cubicBezTo>
                <a:cubicBezTo>
                  <a:pt x="313" y="113"/>
                  <a:pt x="339" y="106"/>
                  <a:pt x="345" y="102"/>
                </a:cubicBezTo>
                <a:cubicBezTo>
                  <a:pt x="353" y="106"/>
                  <a:pt x="361" y="108"/>
                  <a:pt x="372" y="107"/>
                </a:cubicBezTo>
                <a:cubicBezTo>
                  <a:pt x="372" y="89"/>
                  <a:pt x="372" y="71"/>
                  <a:pt x="369" y="57"/>
                </a:cubicBezTo>
                <a:cubicBezTo>
                  <a:pt x="368" y="57"/>
                  <a:pt x="368" y="57"/>
                  <a:pt x="367" y="57"/>
                </a:cubicBezTo>
                <a:cubicBezTo>
                  <a:pt x="365" y="61"/>
                  <a:pt x="362" y="65"/>
                  <a:pt x="359" y="69"/>
                </a:cubicBezTo>
                <a:cubicBezTo>
                  <a:pt x="359" y="75"/>
                  <a:pt x="361" y="78"/>
                  <a:pt x="363" y="82"/>
                </a:cubicBezTo>
                <a:cubicBezTo>
                  <a:pt x="363" y="83"/>
                  <a:pt x="363" y="84"/>
                  <a:pt x="363" y="85"/>
                </a:cubicBezTo>
                <a:cubicBezTo>
                  <a:pt x="358" y="84"/>
                  <a:pt x="353" y="83"/>
                  <a:pt x="349" y="81"/>
                </a:cubicBezTo>
                <a:cubicBezTo>
                  <a:pt x="349" y="75"/>
                  <a:pt x="349" y="68"/>
                  <a:pt x="349" y="61"/>
                </a:cubicBezTo>
                <a:cubicBezTo>
                  <a:pt x="340" y="68"/>
                  <a:pt x="344" y="77"/>
                  <a:pt x="337" y="82"/>
                </a:cubicBezTo>
                <a:cubicBezTo>
                  <a:pt x="333" y="85"/>
                  <a:pt x="328" y="85"/>
                  <a:pt x="321" y="85"/>
                </a:cubicBezTo>
                <a:cubicBezTo>
                  <a:pt x="302" y="85"/>
                  <a:pt x="302" y="80"/>
                  <a:pt x="302" y="62"/>
                </a:cubicBezTo>
                <a:cubicBezTo>
                  <a:pt x="300" y="62"/>
                  <a:pt x="299" y="61"/>
                  <a:pt x="297" y="61"/>
                </a:cubicBezTo>
                <a:close/>
                <a:moveTo>
                  <a:pt x="347" y="20"/>
                </a:moveTo>
                <a:cubicBezTo>
                  <a:pt x="345" y="24"/>
                  <a:pt x="343" y="28"/>
                  <a:pt x="341" y="32"/>
                </a:cubicBezTo>
                <a:cubicBezTo>
                  <a:pt x="338" y="33"/>
                  <a:pt x="332" y="28"/>
                  <a:pt x="329" y="27"/>
                </a:cubicBezTo>
                <a:cubicBezTo>
                  <a:pt x="325" y="30"/>
                  <a:pt x="321" y="39"/>
                  <a:pt x="320" y="44"/>
                </a:cubicBezTo>
                <a:cubicBezTo>
                  <a:pt x="325" y="46"/>
                  <a:pt x="329" y="49"/>
                  <a:pt x="334" y="51"/>
                </a:cubicBezTo>
                <a:cubicBezTo>
                  <a:pt x="336" y="47"/>
                  <a:pt x="339" y="43"/>
                  <a:pt x="341" y="39"/>
                </a:cubicBezTo>
                <a:cubicBezTo>
                  <a:pt x="345" y="39"/>
                  <a:pt x="349" y="43"/>
                  <a:pt x="353" y="45"/>
                </a:cubicBezTo>
                <a:cubicBezTo>
                  <a:pt x="356" y="40"/>
                  <a:pt x="359" y="34"/>
                  <a:pt x="363" y="29"/>
                </a:cubicBezTo>
                <a:cubicBezTo>
                  <a:pt x="357" y="26"/>
                  <a:pt x="352" y="23"/>
                  <a:pt x="347" y="20"/>
                </a:cubicBezTo>
                <a:close/>
                <a:moveTo>
                  <a:pt x="107" y="107"/>
                </a:moveTo>
                <a:cubicBezTo>
                  <a:pt x="107" y="91"/>
                  <a:pt x="109" y="72"/>
                  <a:pt x="104" y="60"/>
                </a:cubicBezTo>
                <a:cubicBezTo>
                  <a:pt x="102" y="57"/>
                  <a:pt x="100" y="53"/>
                  <a:pt x="97" y="50"/>
                </a:cubicBezTo>
                <a:cubicBezTo>
                  <a:pt x="97" y="49"/>
                  <a:pt x="97" y="49"/>
                  <a:pt x="96" y="49"/>
                </a:cubicBezTo>
                <a:cubicBezTo>
                  <a:pt x="94" y="55"/>
                  <a:pt x="92" y="62"/>
                  <a:pt x="90" y="68"/>
                </a:cubicBezTo>
                <a:cubicBezTo>
                  <a:pt x="93" y="73"/>
                  <a:pt x="98" y="77"/>
                  <a:pt x="99" y="85"/>
                </a:cubicBezTo>
                <a:cubicBezTo>
                  <a:pt x="85" y="85"/>
                  <a:pt x="70" y="85"/>
                  <a:pt x="56" y="85"/>
                </a:cubicBezTo>
                <a:cubicBezTo>
                  <a:pt x="47" y="82"/>
                  <a:pt x="43" y="72"/>
                  <a:pt x="35" y="68"/>
                </a:cubicBezTo>
                <a:cubicBezTo>
                  <a:pt x="20" y="68"/>
                  <a:pt x="2" y="104"/>
                  <a:pt x="0" y="118"/>
                </a:cubicBezTo>
                <a:cubicBezTo>
                  <a:pt x="1" y="119"/>
                  <a:pt x="3" y="119"/>
                  <a:pt x="4" y="120"/>
                </a:cubicBezTo>
                <a:cubicBezTo>
                  <a:pt x="10" y="112"/>
                  <a:pt x="17" y="87"/>
                  <a:pt x="31" y="90"/>
                </a:cubicBezTo>
                <a:cubicBezTo>
                  <a:pt x="39" y="94"/>
                  <a:pt x="42" y="104"/>
                  <a:pt x="51" y="107"/>
                </a:cubicBezTo>
                <a:cubicBezTo>
                  <a:pt x="70" y="107"/>
                  <a:pt x="89" y="107"/>
                  <a:pt x="107" y="107"/>
                </a:cubicBezTo>
                <a:close/>
                <a:moveTo>
                  <a:pt x="90" y="114"/>
                </a:moveTo>
                <a:cubicBezTo>
                  <a:pt x="88" y="119"/>
                  <a:pt x="86" y="123"/>
                  <a:pt x="84" y="127"/>
                </a:cubicBezTo>
                <a:cubicBezTo>
                  <a:pt x="80" y="125"/>
                  <a:pt x="76" y="123"/>
                  <a:pt x="72" y="122"/>
                </a:cubicBezTo>
                <a:cubicBezTo>
                  <a:pt x="69" y="127"/>
                  <a:pt x="66" y="132"/>
                  <a:pt x="63" y="137"/>
                </a:cubicBezTo>
                <a:cubicBezTo>
                  <a:pt x="68" y="140"/>
                  <a:pt x="73" y="143"/>
                  <a:pt x="78" y="146"/>
                </a:cubicBezTo>
                <a:cubicBezTo>
                  <a:pt x="80" y="141"/>
                  <a:pt x="82" y="137"/>
                  <a:pt x="84" y="132"/>
                </a:cubicBezTo>
                <a:cubicBezTo>
                  <a:pt x="89" y="134"/>
                  <a:pt x="92" y="137"/>
                  <a:pt x="96" y="139"/>
                </a:cubicBezTo>
                <a:cubicBezTo>
                  <a:pt x="100" y="133"/>
                  <a:pt x="103" y="128"/>
                  <a:pt x="106" y="123"/>
                </a:cubicBezTo>
                <a:cubicBezTo>
                  <a:pt x="101" y="120"/>
                  <a:pt x="95" y="117"/>
                  <a:pt x="90" y="114"/>
                </a:cubicBez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4364C"/>
              </a:solidFill>
              <a:effectLst/>
              <a:uLnTx/>
              <a:uFillTx/>
              <a:latin typeface="Segoe UI Semilight"/>
              <a:ea typeface="+mn-ea"/>
              <a:cs typeface="+mn-cs"/>
            </a:endParaRPr>
          </a:p>
        </p:txBody>
      </p:sp>
      <p:sp>
        <p:nvSpPr>
          <p:cNvPr id="34" name="Freeform 249">
            <a:extLst>
              <a:ext uri="{FF2B5EF4-FFF2-40B4-BE49-F238E27FC236}">
                <a16:creationId xmlns:a16="http://schemas.microsoft.com/office/drawing/2014/main" id="{1F73C15A-6FCB-5718-6DF5-1DAFA688631A}"/>
              </a:ext>
              <a:ext uri="{C183D7F6-B498-43B3-948B-1728B52AA6E4}">
                <adec:decorative xmlns:adec="http://schemas.microsoft.com/office/drawing/2017/decorative" val="1"/>
              </a:ext>
            </a:extLst>
          </p:cNvPr>
          <p:cNvSpPr>
            <a:spLocks noEditPoints="1"/>
          </p:cNvSpPr>
          <p:nvPr userDrawn="1"/>
        </p:nvSpPr>
        <p:spPr bwMode="auto">
          <a:xfrm>
            <a:off x="3194833" y="4302119"/>
            <a:ext cx="669171" cy="431557"/>
          </a:xfrm>
          <a:custGeom>
            <a:avLst/>
            <a:gdLst>
              <a:gd name="T0" fmla="*/ 0 w 220"/>
              <a:gd name="T1" fmla="*/ 13 h 142"/>
              <a:gd name="T2" fmla="*/ 22 w 220"/>
              <a:gd name="T3" fmla="*/ 0 h 142"/>
              <a:gd name="T4" fmla="*/ 0 w 220"/>
              <a:gd name="T5" fmla="*/ 23 h 142"/>
              <a:gd name="T6" fmla="*/ 22 w 220"/>
              <a:gd name="T7" fmla="*/ 10 h 142"/>
              <a:gd name="T8" fmla="*/ 8 w 220"/>
              <a:gd name="T9" fmla="*/ 39 h 142"/>
              <a:gd name="T10" fmla="*/ 13 w 220"/>
              <a:gd name="T11" fmla="*/ 110 h 142"/>
              <a:gd name="T12" fmla="*/ 20 w 220"/>
              <a:gd name="T13" fmla="*/ 96 h 142"/>
              <a:gd name="T14" fmla="*/ 14 w 220"/>
              <a:gd name="T15" fmla="*/ 27 h 142"/>
              <a:gd name="T16" fmla="*/ 217 w 220"/>
              <a:gd name="T17" fmla="*/ 80 h 142"/>
              <a:gd name="T18" fmla="*/ 213 w 220"/>
              <a:gd name="T19" fmla="*/ 73 h 142"/>
              <a:gd name="T20" fmla="*/ 213 w 220"/>
              <a:gd name="T21" fmla="*/ 96 h 142"/>
              <a:gd name="T22" fmla="*/ 198 w 220"/>
              <a:gd name="T23" fmla="*/ 78 h 142"/>
              <a:gd name="T24" fmla="*/ 186 w 220"/>
              <a:gd name="T25" fmla="*/ 97 h 142"/>
              <a:gd name="T26" fmla="*/ 167 w 220"/>
              <a:gd name="T27" fmla="*/ 78 h 142"/>
              <a:gd name="T28" fmla="*/ 140 w 220"/>
              <a:gd name="T29" fmla="*/ 86 h 142"/>
              <a:gd name="T30" fmla="*/ 106 w 220"/>
              <a:gd name="T31" fmla="*/ 53 h 142"/>
              <a:gd name="T32" fmla="*/ 139 w 220"/>
              <a:gd name="T33" fmla="*/ 28 h 142"/>
              <a:gd name="T34" fmla="*/ 108 w 220"/>
              <a:gd name="T35" fmla="*/ 74 h 142"/>
              <a:gd name="T36" fmla="*/ 138 w 220"/>
              <a:gd name="T37" fmla="*/ 95 h 142"/>
              <a:gd name="T38" fmla="*/ 92 w 220"/>
              <a:gd name="T39" fmla="*/ 97 h 142"/>
              <a:gd name="T40" fmla="*/ 81 w 220"/>
              <a:gd name="T41" fmla="*/ 69 h 142"/>
              <a:gd name="T42" fmla="*/ 87 w 220"/>
              <a:gd name="T43" fmla="*/ 104 h 142"/>
              <a:gd name="T44" fmla="*/ 31 w 220"/>
              <a:gd name="T45" fmla="*/ 132 h 142"/>
              <a:gd name="T46" fmla="*/ 63 w 220"/>
              <a:gd name="T47" fmla="*/ 140 h 142"/>
              <a:gd name="T48" fmla="*/ 168 w 220"/>
              <a:gd name="T49" fmla="*/ 104 h 142"/>
              <a:gd name="T50" fmla="*/ 218 w 220"/>
              <a:gd name="T51" fmla="*/ 108 h 142"/>
              <a:gd name="T52" fmla="*/ 184 w 220"/>
              <a:gd name="T53" fmla="*/ 40 h 142"/>
              <a:gd name="T54" fmla="*/ 199 w 220"/>
              <a:gd name="T55" fmla="*/ 36 h 142"/>
              <a:gd name="T56" fmla="*/ 201 w 220"/>
              <a:gd name="T57" fmla="*/ 42 h 142"/>
              <a:gd name="T58" fmla="*/ 207 w 220"/>
              <a:gd name="T59" fmla="*/ 57 h 142"/>
              <a:gd name="T60" fmla="*/ 201 w 220"/>
              <a:gd name="T61" fmla="*/ 42 h 142"/>
              <a:gd name="T62" fmla="*/ 181 w 220"/>
              <a:gd name="T63" fmla="*/ 58 h 142"/>
              <a:gd name="T64" fmla="*/ 197 w 220"/>
              <a:gd name="T65" fmla="*/ 5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0" h="142">
                <a:moveTo>
                  <a:pt x="22" y="0"/>
                </a:moveTo>
                <a:cubicBezTo>
                  <a:pt x="15" y="4"/>
                  <a:pt x="2" y="4"/>
                  <a:pt x="0" y="13"/>
                </a:cubicBezTo>
                <a:cubicBezTo>
                  <a:pt x="8" y="11"/>
                  <a:pt x="18" y="7"/>
                  <a:pt x="23" y="2"/>
                </a:cubicBezTo>
                <a:cubicBezTo>
                  <a:pt x="22" y="0"/>
                  <a:pt x="23" y="1"/>
                  <a:pt x="22" y="0"/>
                </a:cubicBezTo>
                <a:close/>
                <a:moveTo>
                  <a:pt x="22" y="10"/>
                </a:moveTo>
                <a:cubicBezTo>
                  <a:pt x="15" y="14"/>
                  <a:pt x="2" y="14"/>
                  <a:pt x="0" y="23"/>
                </a:cubicBezTo>
                <a:cubicBezTo>
                  <a:pt x="6" y="22"/>
                  <a:pt x="19" y="18"/>
                  <a:pt x="22" y="13"/>
                </a:cubicBezTo>
                <a:cubicBezTo>
                  <a:pt x="23" y="12"/>
                  <a:pt x="23" y="11"/>
                  <a:pt x="22" y="10"/>
                </a:cubicBezTo>
                <a:close/>
                <a:moveTo>
                  <a:pt x="14" y="27"/>
                </a:moveTo>
                <a:cubicBezTo>
                  <a:pt x="11" y="31"/>
                  <a:pt x="10" y="35"/>
                  <a:pt x="8" y="39"/>
                </a:cubicBezTo>
                <a:cubicBezTo>
                  <a:pt x="9" y="46"/>
                  <a:pt x="9" y="54"/>
                  <a:pt x="10" y="61"/>
                </a:cubicBezTo>
                <a:cubicBezTo>
                  <a:pt x="13" y="77"/>
                  <a:pt x="14" y="93"/>
                  <a:pt x="13" y="110"/>
                </a:cubicBezTo>
                <a:cubicBezTo>
                  <a:pt x="13" y="110"/>
                  <a:pt x="14" y="110"/>
                  <a:pt x="14" y="110"/>
                </a:cubicBezTo>
                <a:cubicBezTo>
                  <a:pt x="16" y="105"/>
                  <a:pt x="19" y="102"/>
                  <a:pt x="20" y="96"/>
                </a:cubicBezTo>
                <a:cubicBezTo>
                  <a:pt x="23" y="83"/>
                  <a:pt x="18" y="58"/>
                  <a:pt x="16" y="46"/>
                </a:cubicBezTo>
                <a:cubicBezTo>
                  <a:pt x="15" y="40"/>
                  <a:pt x="14" y="34"/>
                  <a:pt x="14" y="27"/>
                </a:cubicBezTo>
                <a:close/>
                <a:moveTo>
                  <a:pt x="218" y="108"/>
                </a:moveTo>
                <a:cubicBezTo>
                  <a:pt x="218" y="99"/>
                  <a:pt x="220" y="87"/>
                  <a:pt x="217" y="80"/>
                </a:cubicBezTo>
                <a:cubicBezTo>
                  <a:pt x="216" y="78"/>
                  <a:pt x="215" y="76"/>
                  <a:pt x="213" y="73"/>
                </a:cubicBezTo>
                <a:cubicBezTo>
                  <a:pt x="213" y="73"/>
                  <a:pt x="213" y="73"/>
                  <a:pt x="213" y="73"/>
                </a:cubicBezTo>
                <a:cubicBezTo>
                  <a:pt x="212" y="76"/>
                  <a:pt x="210" y="78"/>
                  <a:pt x="209" y="81"/>
                </a:cubicBezTo>
                <a:cubicBezTo>
                  <a:pt x="211" y="83"/>
                  <a:pt x="219" y="93"/>
                  <a:pt x="213" y="96"/>
                </a:cubicBezTo>
                <a:cubicBezTo>
                  <a:pt x="202" y="101"/>
                  <a:pt x="202" y="84"/>
                  <a:pt x="199" y="78"/>
                </a:cubicBezTo>
                <a:cubicBezTo>
                  <a:pt x="199" y="78"/>
                  <a:pt x="199" y="78"/>
                  <a:pt x="198" y="78"/>
                </a:cubicBezTo>
                <a:cubicBezTo>
                  <a:pt x="197" y="82"/>
                  <a:pt x="198" y="93"/>
                  <a:pt x="195" y="95"/>
                </a:cubicBezTo>
                <a:cubicBezTo>
                  <a:pt x="193" y="97"/>
                  <a:pt x="189" y="97"/>
                  <a:pt x="186" y="97"/>
                </a:cubicBezTo>
                <a:cubicBezTo>
                  <a:pt x="174" y="97"/>
                  <a:pt x="169" y="88"/>
                  <a:pt x="168" y="78"/>
                </a:cubicBezTo>
                <a:cubicBezTo>
                  <a:pt x="167" y="78"/>
                  <a:pt x="167" y="78"/>
                  <a:pt x="167" y="78"/>
                </a:cubicBezTo>
                <a:cubicBezTo>
                  <a:pt x="161" y="93"/>
                  <a:pt x="171" y="97"/>
                  <a:pt x="146" y="97"/>
                </a:cubicBezTo>
                <a:cubicBezTo>
                  <a:pt x="144" y="93"/>
                  <a:pt x="142" y="90"/>
                  <a:pt x="140" y="86"/>
                </a:cubicBezTo>
                <a:cubicBezTo>
                  <a:pt x="134" y="78"/>
                  <a:pt x="127" y="71"/>
                  <a:pt x="119" y="65"/>
                </a:cubicBezTo>
                <a:cubicBezTo>
                  <a:pt x="115" y="62"/>
                  <a:pt x="107" y="58"/>
                  <a:pt x="106" y="53"/>
                </a:cubicBezTo>
                <a:cubicBezTo>
                  <a:pt x="110" y="47"/>
                  <a:pt x="131" y="41"/>
                  <a:pt x="139" y="39"/>
                </a:cubicBezTo>
                <a:cubicBezTo>
                  <a:pt x="139" y="35"/>
                  <a:pt x="139" y="32"/>
                  <a:pt x="139" y="28"/>
                </a:cubicBezTo>
                <a:cubicBezTo>
                  <a:pt x="120" y="33"/>
                  <a:pt x="97" y="40"/>
                  <a:pt x="98" y="65"/>
                </a:cubicBezTo>
                <a:cubicBezTo>
                  <a:pt x="100" y="68"/>
                  <a:pt x="104" y="72"/>
                  <a:pt x="108" y="74"/>
                </a:cubicBezTo>
                <a:cubicBezTo>
                  <a:pt x="110" y="75"/>
                  <a:pt x="110" y="75"/>
                  <a:pt x="111" y="73"/>
                </a:cubicBezTo>
                <a:cubicBezTo>
                  <a:pt x="123" y="77"/>
                  <a:pt x="129" y="88"/>
                  <a:pt x="138" y="95"/>
                </a:cubicBezTo>
                <a:cubicBezTo>
                  <a:pt x="138" y="96"/>
                  <a:pt x="138" y="96"/>
                  <a:pt x="138" y="97"/>
                </a:cubicBezTo>
                <a:cubicBezTo>
                  <a:pt x="123" y="97"/>
                  <a:pt x="107" y="97"/>
                  <a:pt x="92" y="97"/>
                </a:cubicBezTo>
                <a:cubicBezTo>
                  <a:pt x="92" y="83"/>
                  <a:pt x="88" y="79"/>
                  <a:pt x="84" y="71"/>
                </a:cubicBezTo>
                <a:cubicBezTo>
                  <a:pt x="83" y="71"/>
                  <a:pt x="82" y="70"/>
                  <a:pt x="81" y="69"/>
                </a:cubicBezTo>
                <a:cubicBezTo>
                  <a:pt x="80" y="73"/>
                  <a:pt x="79" y="76"/>
                  <a:pt x="77" y="80"/>
                </a:cubicBezTo>
                <a:cubicBezTo>
                  <a:pt x="81" y="85"/>
                  <a:pt x="90" y="93"/>
                  <a:pt x="87" y="104"/>
                </a:cubicBezTo>
                <a:cubicBezTo>
                  <a:pt x="83" y="123"/>
                  <a:pt x="56" y="138"/>
                  <a:pt x="32" y="129"/>
                </a:cubicBezTo>
                <a:cubicBezTo>
                  <a:pt x="31" y="130"/>
                  <a:pt x="31" y="131"/>
                  <a:pt x="31" y="132"/>
                </a:cubicBezTo>
                <a:cubicBezTo>
                  <a:pt x="35" y="133"/>
                  <a:pt x="38" y="135"/>
                  <a:pt x="42" y="136"/>
                </a:cubicBezTo>
                <a:cubicBezTo>
                  <a:pt x="47" y="138"/>
                  <a:pt x="55" y="142"/>
                  <a:pt x="63" y="140"/>
                </a:cubicBezTo>
                <a:cubicBezTo>
                  <a:pt x="74" y="138"/>
                  <a:pt x="92" y="122"/>
                  <a:pt x="92" y="108"/>
                </a:cubicBezTo>
                <a:cubicBezTo>
                  <a:pt x="113" y="108"/>
                  <a:pt x="156" y="112"/>
                  <a:pt x="168" y="104"/>
                </a:cubicBezTo>
                <a:cubicBezTo>
                  <a:pt x="176" y="108"/>
                  <a:pt x="194" y="111"/>
                  <a:pt x="200" y="104"/>
                </a:cubicBezTo>
                <a:cubicBezTo>
                  <a:pt x="203" y="108"/>
                  <a:pt x="211" y="108"/>
                  <a:pt x="218" y="108"/>
                </a:cubicBezTo>
                <a:close/>
                <a:moveTo>
                  <a:pt x="188" y="31"/>
                </a:moveTo>
                <a:cubicBezTo>
                  <a:pt x="187" y="34"/>
                  <a:pt x="185" y="37"/>
                  <a:pt x="184" y="40"/>
                </a:cubicBezTo>
                <a:cubicBezTo>
                  <a:pt x="187" y="42"/>
                  <a:pt x="191" y="44"/>
                  <a:pt x="194" y="46"/>
                </a:cubicBezTo>
                <a:cubicBezTo>
                  <a:pt x="196" y="42"/>
                  <a:pt x="198" y="39"/>
                  <a:pt x="199" y="36"/>
                </a:cubicBezTo>
                <a:cubicBezTo>
                  <a:pt x="195" y="34"/>
                  <a:pt x="192" y="32"/>
                  <a:pt x="188" y="31"/>
                </a:cubicBezTo>
                <a:close/>
                <a:moveTo>
                  <a:pt x="201" y="42"/>
                </a:moveTo>
                <a:cubicBezTo>
                  <a:pt x="199" y="45"/>
                  <a:pt x="198" y="48"/>
                  <a:pt x="196" y="51"/>
                </a:cubicBezTo>
                <a:cubicBezTo>
                  <a:pt x="200" y="53"/>
                  <a:pt x="203" y="55"/>
                  <a:pt x="207" y="57"/>
                </a:cubicBezTo>
                <a:cubicBezTo>
                  <a:pt x="208" y="54"/>
                  <a:pt x="210" y="51"/>
                  <a:pt x="212" y="47"/>
                </a:cubicBezTo>
                <a:cubicBezTo>
                  <a:pt x="208" y="46"/>
                  <a:pt x="204" y="44"/>
                  <a:pt x="201" y="42"/>
                </a:cubicBezTo>
                <a:close/>
                <a:moveTo>
                  <a:pt x="186" y="48"/>
                </a:moveTo>
                <a:cubicBezTo>
                  <a:pt x="184" y="52"/>
                  <a:pt x="183" y="55"/>
                  <a:pt x="181" y="58"/>
                </a:cubicBezTo>
                <a:cubicBezTo>
                  <a:pt x="185" y="60"/>
                  <a:pt x="188" y="62"/>
                  <a:pt x="192" y="63"/>
                </a:cubicBezTo>
                <a:cubicBezTo>
                  <a:pt x="193" y="60"/>
                  <a:pt x="195" y="57"/>
                  <a:pt x="197" y="53"/>
                </a:cubicBezTo>
                <a:cubicBezTo>
                  <a:pt x="193" y="52"/>
                  <a:pt x="189" y="50"/>
                  <a:pt x="186" y="48"/>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5" name="Freeform 250">
            <a:extLst>
              <a:ext uri="{FF2B5EF4-FFF2-40B4-BE49-F238E27FC236}">
                <a16:creationId xmlns:a16="http://schemas.microsoft.com/office/drawing/2014/main" id="{22C12871-92B5-306D-6C37-B7F12F364BD6}"/>
              </a:ext>
              <a:ext uri="{C183D7F6-B498-43B3-948B-1728B52AA6E4}">
                <adec:decorative xmlns:adec="http://schemas.microsoft.com/office/drawing/2017/decorative" val="1"/>
              </a:ext>
            </a:extLst>
          </p:cNvPr>
          <p:cNvSpPr>
            <a:spLocks noEditPoints="1"/>
          </p:cNvSpPr>
          <p:nvPr userDrawn="1"/>
        </p:nvSpPr>
        <p:spPr bwMode="auto">
          <a:xfrm>
            <a:off x="6286327" y="4213039"/>
            <a:ext cx="883665" cy="288989"/>
          </a:xfrm>
          <a:custGeom>
            <a:avLst/>
            <a:gdLst>
              <a:gd name="T0" fmla="*/ 42 w 291"/>
              <a:gd name="T1" fmla="*/ 54 h 95"/>
              <a:gd name="T2" fmla="*/ 80 w 291"/>
              <a:gd name="T3" fmla="*/ 59 h 95"/>
              <a:gd name="T4" fmla="*/ 41 w 291"/>
              <a:gd name="T5" fmla="*/ 82 h 95"/>
              <a:gd name="T6" fmla="*/ 6 w 291"/>
              <a:gd name="T7" fmla="*/ 72 h 95"/>
              <a:gd name="T8" fmla="*/ 31 w 291"/>
              <a:gd name="T9" fmla="*/ 20 h 95"/>
              <a:gd name="T10" fmla="*/ 30 w 291"/>
              <a:gd name="T11" fmla="*/ 21 h 95"/>
              <a:gd name="T12" fmla="*/ 28 w 291"/>
              <a:gd name="T13" fmla="*/ 16 h 95"/>
              <a:gd name="T14" fmla="*/ 38 w 291"/>
              <a:gd name="T15" fmla="*/ 15 h 95"/>
              <a:gd name="T16" fmla="*/ 76 w 291"/>
              <a:gd name="T17" fmla="*/ 19 h 95"/>
              <a:gd name="T18" fmla="*/ 37 w 291"/>
              <a:gd name="T19" fmla="*/ 40 h 95"/>
              <a:gd name="T20" fmla="*/ 34 w 291"/>
              <a:gd name="T21" fmla="*/ 62 h 95"/>
              <a:gd name="T22" fmla="*/ 32 w 291"/>
              <a:gd name="T23" fmla="*/ 63 h 95"/>
              <a:gd name="T24" fmla="*/ 106 w 291"/>
              <a:gd name="T25" fmla="*/ 3 h 95"/>
              <a:gd name="T26" fmla="*/ 125 w 291"/>
              <a:gd name="T27" fmla="*/ 14 h 95"/>
              <a:gd name="T28" fmla="*/ 96 w 291"/>
              <a:gd name="T29" fmla="*/ 18 h 95"/>
              <a:gd name="T30" fmla="*/ 100 w 291"/>
              <a:gd name="T31" fmla="*/ 31 h 95"/>
              <a:gd name="T32" fmla="*/ 111 w 291"/>
              <a:gd name="T33" fmla="*/ 34 h 95"/>
              <a:gd name="T34" fmla="*/ 101 w 291"/>
              <a:gd name="T35" fmla="*/ 46 h 95"/>
              <a:gd name="T36" fmla="*/ 112 w 291"/>
              <a:gd name="T37" fmla="*/ 49 h 95"/>
              <a:gd name="T38" fmla="*/ 127 w 291"/>
              <a:gd name="T39" fmla="*/ 61 h 95"/>
              <a:gd name="T40" fmla="*/ 102 w 291"/>
              <a:gd name="T41" fmla="*/ 57 h 95"/>
              <a:gd name="T42" fmla="*/ 107 w 291"/>
              <a:gd name="T43" fmla="*/ 82 h 95"/>
              <a:gd name="T44" fmla="*/ 125 w 291"/>
              <a:gd name="T45" fmla="*/ 64 h 95"/>
              <a:gd name="T46" fmla="*/ 107 w 291"/>
              <a:gd name="T47" fmla="*/ 63 h 95"/>
              <a:gd name="T48" fmla="*/ 160 w 291"/>
              <a:gd name="T49" fmla="*/ 16 h 95"/>
              <a:gd name="T50" fmla="*/ 147 w 291"/>
              <a:gd name="T51" fmla="*/ 9 h 95"/>
              <a:gd name="T52" fmla="*/ 138 w 291"/>
              <a:gd name="T53" fmla="*/ 16 h 95"/>
              <a:gd name="T54" fmla="*/ 130 w 291"/>
              <a:gd name="T55" fmla="*/ 59 h 95"/>
              <a:gd name="T56" fmla="*/ 121 w 291"/>
              <a:gd name="T57" fmla="*/ 92 h 95"/>
              <a:gd name="T58" fmla="*/ 141 w 291"/>
              <a:gd name="T59" fmla="*/ 85 h 95"/>
              <a:gd name="T60" fmla="*/ 157 w 291"/>
              <a:gd name="T61" fmla="*/ 19 h 95"/>
              <a:gd name="T62" fmla="*/ 138 w 291"/>
              <a:gd name="T63" fmla="*/ 29 h 95"/>
              <a:gd name="T64" fmla="*/ 138 w 291"/>
              <a:gd name="T65" fmla="*/ 42 h 95"/>
              <a:gd name="T66" fmla="*/ 138 w 291"/>
              <a:gd name="T67" fmla="*/ 44 h 95"/>
              <a:gd name="T68" fmla="*/ 181 w 291"/>
              <a:gd name="T69" fmla="*/ 29 h 95"/>
              <a:gd name="T70" fmla="*/ 181 w 291"/>
              <a:gd name="T71" fmla="*/ 85 h 95"/>
              <a:gd name="T72" fmla="*/ 174 w 291"/>
              <a:gd name="T73" fmla="*/ 85 h 95"/>
              <a:gd name="T74" fmla="*/ 162 w 291"/>
              <a:gd name="T75" fmla="*/ 33 h 95"/>
              <a:gd name="T76" fmla="*/ 184 w 291"/>
              <a:gd name="T77" fmla="*/ 6 h 95"/>
              <a:gd name="T78" fmla="*/ 161 w 291"/>
              <a:gd name="T79" fmla="*/ 41 h 95"/>
              <a:gd name="T80" fmla="*/ 167 w 291"/>
              <a:gd name="T81" fmla="*/ 56 h 95"/>
              <a:gd name="T82" fmla="*/ 232 w 291"/>
              <a:gd name="T83" fmla="*/ 15 h 95"/>
              <a:gd name="T84" fmla="*/ 201 w 291"/>
              <a:gd name="T85" fmla="*/ 10 h 95"/>
              <a:gd name="T86" fmla="*/ 206 w 291"/>
              <a:gd name="T87" fmla="*/ 72 h 95"/>
              <a:gd name="T88" fmla="*/ 228 w 291"/>
              <a:gd name="T89" fmla="*/ 17 h 95"/>
              <a:gd name="T90" fmla="*/ 223 w 291"/>
              <a:gd name="T91" fmla="*/ 41 h 95"/>
              <a:gd name="T92" fmla="*/ 206 w 291"/>
              <a:gd name="T93" fmla="*/ 44 h 95"/>
              <a:gd name="T94" fmla="*/ 282 w 291"/>
              <a:gd name="T95" fmla="*/ 26 h 95"/>
              <a:gd name="T96" fmla="*/ 291 w 291"/>
              <a:gd name="T97" fmla="*/ 12 h 95"/>
              <a:gd name="T98" fmla="*/ 233 w 291"/>
              <a:gd name="T99" fmla="*/ 12 h 95"/>
              <a:gd name="T100" fmla="*/ 240 w 291"/>
              <a:gd name="T101" fmla="*/ 30 h 95"/>
              <a:gd name="T102" fmla="*/ 240 w 291"/>
              <a:gd name="T103" fmla="*/ 90 h 95"/>
              <a:gd name="T104" fmla="*/ 285 w 291"/>
              <a:gd name="T105" fmla="*/ 89 h 95"/>
              <a:gd name="T106" fmla="*/ 255 w 291"/>
              <a:gd name="T107" fmla="*/ 12 h 95"/>
              <a:gd name="T108" fmla="*/ 255 w 291"/>
              <a:gd name="T109" fmla="*/ 12 h 95"/>
              <a:gd name="T110" fmla="*/ 240 w 291"/>
              <a:gd name="T111" fmla="*/ 69 h 95"/>
              <a:gd name="T112" fmla="*/ 252 w 291"/>
              <a:gd name="T113" fmla="*/ 55 h 95"/>
              <a:gd name="T114" fmla="*/ 269 w 291"/>
              <a:gd name="T115" fmla="*/ 64 h 95"/>
              <a:gd name="T116" fmla="*/ 271 w 291"/>
              <a:gd name="T117" fmla="*/ 59 h 95"/>
              <a:gd name="T118" fmla="*/ 279 w 291"/>
              <a:gd name="T119"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95">
                <a:moveTo>
                  <a:pt x="46" y="41"/>
                </a:moveTo>
                <a:cubicBezTo>
                  <a:pt x="53" y="48"/>
                  <a:pt x="53" y="48"/>
                  <a:pt x="53" y="48"/>
                </a:cubicBezTo>
                <a:cubicBezTo>
                  <a:pt x="49" y="49"/>
                  <a:pt x="49" y="49"/>
                  <a:pt x="49" y="49"/>
                </a:cubicBezTo>
                <a:cubicBezTo>
                  <a:pt x="48" y="49"/>
                  <a:pt x="46" y="51"/>
                  <a:pt x="42" y="54"/>
                </a:cubicBezTo>
                <a:cubicBezTo>
                  <a:pt x="74" y="54"/>
                  <a:pt x="74" y="54"/>
                  <a:pt x="74" y="54"/>
                </a:cubicBezTo>
                <a:cubicBezTo>
                  <a:pt x="78" y="50"/>
                  <a:pt x="78" y="50"/>
                  <a:pt x="78" y="50"/>
                </a:cubicBezTo>
                <a:cubicBezTo>
                  <a:pt x="85" y="56"/>
                  <a:pt x="85" y="56"/>
                  <a:pt x="85" y="56"/>
                </a:cubicBezTo>
                <a:cubicBezTo>
                  <a:pt x="80" y="59"/>
                  <a:pt x="80" y="59"/>
                  <a:pt x="80" y="59"/>
                </a:cubicBezTo>
                <a:cubicBezTo>
                  <a:pt x="67" y="73"/>
                  <a:pt x="54" y="82"/>
                  <a:pt x="41" y="86"/>
                </a:cubicBezTo>
                <a:cubicBezTo>
                  <a:pt x="27" y="91"/>
                  <a:pt x="14" y="94"/>
                  <a:pt x="0" y="95"/>
                </a:cubicBezTo>
                <a:cubicBezTo>
                  <a:pt x="0" y="93"/>
                  <a:pt x="0" y="93"/>
                  <a:pt x="0" y="93"/>
                </a:cubicBezTo>
                <a:cubicBezTo>
                  <a:pt x="15" y="91"/>
                  <a:pt x="29" y="87"/>
                  <a:pt x="41" y="82"/>
                </a:cubicBezTo>
                <a:cubicBezTo>
                  <a:pt x="53" y="76"/>
                  <a:pt x="64" y="68"/>
                  <a:pt x="74" y="56"/>
                </a:cubicBezTo>
                <a:cubicBezTo>
                  <a:pt x="41" y="56"/>
                  <a:pt x="41" y="56"/>
                  <a:pt x="41" y="56"/>
                </a:cubicBezTo>
                <a:cubicBezTo>
                  <a:pt x="31" y="63"/>
                  <a:pt x="20" y="69"/>
                  <a:pt x="7" y="74"/>
                </a:cubicBezTo>
                <a:cubicBezTo>
                  <a:pt x="6" y="72"/>
                  <a:pt x="6" y="72"/>
                  <a:pt x="6" y="72"/>
                </a:cubicBezTo>
                <a:cubicBezTo>
                  <a:pt x="15" y="68"/>
                  <a:pt x="22" y="64"/>
                  <a:pt x="28" y="59"/>
                </a:cubicBezTo>
                <a:cubicBezTo>
                  <a:pt x="35" y="54"/>
                  <a:pt x="41" y="48"/>
                  <a:pt x="46" y="41"/>
                </a:cubicBezTo>
                <a:close/>
                <a:moveTo>
                  <a:pt x="36" y="17"/>
                </a:moveTo>
                <a:cubicBezTo>
                  <a:pt x="31" y="20"/>
                  <a:pt x="31" y="20"/>
                  <a:pt x="31" y="20"/>
                </a:cubicBezTo>
                <a:cubicBezTo>
                  <a:pt x="36" y="23"/>
                  <a:pt x="40" y="26"/>
                  <a:pt x="41" y="28"/>
                </a:cubicBezTo>
                <a:cubicBezTo>
                  <a:pt x="42" y="30"/>
                  <a:pt x="42" y="32"/>
                  <a:pt x="40" y="34"/>
                </a:cubicBezTo>
                <a:cubicBezTo>
                  <a:pt x="38" y="37"/>
                  <a:pt x="37" y="36"/>
                  <a:pt x="36" y="33"/>
                </a:cubicBezTo>
                <a:cubicBezTo>
                  <a:pt x="35" y="30"/>
                  <a:pt x="33" y="26"/>
                  <a:pt x="30" y="21"/>
                </a:cubicBezTo>
                <a:cubicBezTo>
                  <a:pt x="26" y="23"/>
                  <a:pt x="22" y="25"/>
                  <a:pt x="18" y="27"/>
                </a:cubicBezTo>
                <a:cubicBezTo>
                  <a:pt x="14" y="29"/>
                  <a:pt x="9" y="32"/>
                  <a:pt x="4" y="34"/>
                </a:cubicBezTo>
                <a:cubicBezTo>
                  <a:pt x="3" y="32"/>
                  <a:pt x="3" y="32"/>
                  <a:pt x="3" y="32"/>
                </a:cubicBezTo>
                <a:cubicBezTo>
                  <a:pt x="14" y="27"/>
                  <a:pt x="22" y="22"/>
                  <a:pt x="28" y="16"/>
                </a:cubicBezTo>
                <a:cubicBezTo>
                  <a:pt x="35" y="10"/>
                  <a:pt x="40" y="5"/>
                  <a:pt x="42" y="1"/>
                </a:cubicBezTo>
                <a:cubicBezTo>
                  <a:pt x="49" y="7"/>
                  <a:pt x="49" y="7"/>
                  <a:pt x="49" y="7"/>
                </a:cubicBezTo>
                <a:cubicBezTo>
                  <a:pt x="45" y="9"/>
                  <a:pt x="45" y="9"/>
                  <a:pt x="45" y="9"/>
                </a:cubicBezTo>
                <a:cubicBezTo>
                  <a:pt x="38" y="15"/>
                  <a:pt x="38" y="15"/>
                  <a:pt x="38" y="15"/>
                </a:cubicBezTo>
                <a:cubicBezTo>
                  <a:pt x="68" y="15"/>
                  <a:pt x="68" y="15"/>
                  <a:pt x="68" y="15"/>
                </a:cubicBezTo>
                <a:cubicBezTo>
                  <a:pt x="73" y="10"/>
                  <a:pt x="73" y="10"/>
                  <a:pt x="73" y="10"/>
                </a:cubicBezTo>
                <a:cubicBezTo>
                  <a:pt x="80" y="18"/>
                  <a:pt x="80" y="18"/>
                  <a:pt x="80" y="18"/>
                </a:cubicBezTo>
                <a:cubicBezTo>
                  <a:pt x="76" y="19"/>
                  <a:pt x="76" y="19"/>
                  <a:pt x="76" y="19"/>
                </a:cubicBezTo>
                <a:cubicBezTo>
                  <a:pt x="68" y="26"/>
                  <a:pt x="58" y="33"/>
                  <a:pt x="47" y="40"/>
                </a:cubicBezTo>
                <a:cubicBezTo>
                  <a:pt x="36" y="46"/>
                  <a:pt x="21" y="50"/>
                  <a:pt x="1" y="53"/>
                </a:cubicBezTo>
                <a:cubicBezTo>
                  <a:pt x="1" y="52"/>
                  <a:pt x="1" y="52"/>
                  <a:pt x="1" y="52"/>
                </a:cubicBezTo>
                <a:cubicBezTo>
                  <a:pt x="14" y="49"/>
                  <a:pt x="26" y="45"/>
                  <a:pt x="37" y="40"/>
                </a:cubicBezTo>
                <a:cubicBezTo>
                  <a:pt x="48" y="35"/>
                  <a:pt x="59" y="28"/>
                  <a:pt x="68" y="17"/>
                </a:cubicBezTo>
                <a:cubicBezTo>
                  <a:pt x="36" y="17"/>
                  <a:pt x="36" y="17"/>
                  <a:pt x="36" y="17"/>
                </a:cubicBezTo>
                <a:cubicBezTo>
                  <a:pt x="36" y="17"/>
                  <a:pt x="36" y="17"/>
                  <a:pt x="36" y="17"/>
                </a:cubicBezTo>
                <a:close/>
                <a:moveTo>
                  <a:pt x="34" y="62"/>
                </a:moveTo>
                <a:cubicBezTo>
                  <a:pt x="39" y="65"/>
                  <a:pt x="41" y="68"/>
                  <a:pt x="43" y="71"/>
                </a:cubicBezTo>
                <a:cubicBezTo>
                  <a:pt x="44" y="73"/>
                  <a:pt x="44" y="76"/>
                  <a:pt x="41" y="78"/>
                </a:cubicBezTo>
                <a:cubicBezTo>
                  <a:pt x="39" y="80"/>
                  <a:pt x="37" y="80"/>
                  <a:pt x="37" y="76"/>
                </a:cubicBezTo>
                <a:cubicBezTo>
                  <a:pt x="36" y="72"/>
                  <a:pt x="35" y="68"/>
                  <a:pt x="32" y="63"/>
                </a:cubicBezTo>
                <a:cubicBezTo>
                  <a:pt x="34" y="62"/>
                  <a:pt x="34" y="62"/>
                  <a:pt x="34" y="62"/>
                </a:cubicBezTo>
                <a:cubicBezTo>
                  <a:pt x="34" y="62"/>
                  <a:pt x="34" y="62"/>
                  <a:pt x="34" y="62"/>
                </a:cubicBezTo>
                <a:close/>
                <a:moveTo>
                  <a:pt x="105" y="4"/>
                </a:moveTo>
                <a:cubicBezTo>
                  <a:pt x="106" y="3"/>
                  <a:pt x="106" y="3"/>
                  <a:pt x="106" y="3"/>
                </a:cubicBezTo>
                <a:cubicBezTo>
                  <a:pt x="112" y="6"/>
                  <a:pt x="116" y="9"/>
                  <a:pt x="117" y="11"/>
                </a:cubicBezTo>
                <a:cubicBezTo>
                  <a:pt x="118" y="13"/>
                  <a:pt x="117" y="16"/>
                  <a:pt x="114" y="18"/>
                </a:cubicBezTo>
                <a:cubicBezTo>
                  <a:pt x="121" y="18"/>
                  <a:pt x="121" y="18"/>
                  <a:pt x="121" y="18"/>
                </a:cubicBezTo>
                <a:cubicBezTo>
                  <a:pt x="125" y="14"/>
                  <a:pt x="125" y="14"/>
                  <a:pt x="125" y="14"/>
                </a:cubicBezTo>
                <a:cubicBezTo>
                  <a:pt x="131" y="20"/>
                  <a:pt x="131" y="20"/>
                  <a:pt x="131" y="20"/>
                </a:cubicBezTo>
                <a:cubicBezTo>
                  <a:pt x="107" y="20"/>
                  <a:pt x="107" y="20"/>
                  <a:pt x="107" y="20"/>
                </a:cubicBezTo>
                <a:cubicBezTo>
                  <a:pt x="105" y="20"/>
                  <a:pt x="103" y="21"/>
                  <a:pt x="99" y="22"/>
                </a:cubicBezTo>
                <a:cubicBezTo>
                  <a:pt x="96" y="18"/>
                  <a:pt x="96" y="18"/>
                  <a:pt x="96" y="18"/>
                </a:cubicBezTo>
                <a:cubicBezTo>
                  <a:pt x="112" y="18"/>
                  <a:pt x="112" y="18"/>
                  <a:pt x="112" y="18"/>
                </a:cubicBezTo>
                <a:cubicBezTo>
                  <a:pt x="112" y="16"/>
                  <a:pt x="112" y="15"/>
                  <a:pt x="111" y="13"/>
                </a:cubicBezTo>
                <a:cubicBezTo>
                  <a:pt x="110" y="10"/>
                  <a:pt x="108" y="8"/>
                  <a:pt x="105" y="4"/>
                </a:cubicBezTo>
                <a:close/>
                <a:moveTo>
                  <a:pt x="100" y="31"/>
                </a:moveTo>
                <a:cubicBezTo>
                  <a:pt x="118" y="31"/>
                  <a:pt x="118" y="31"/>
                  <a:pt x="118" y="31"/>
                </a:cubicBezTo>
                <a:cubicBezTo>
                  <a:pt x="122" y="28"/>
                  <a:pt x="122" y="28"/>
                  <a:pt x="122" y="28"/>
                </a:cubicBezTo>
                <a:cubicBezTo>
                  <a:pt x="128" y="34"/>
                  <a:pt x="128" y="34"/>
                  <a:pt x="128" y="34"/>
                </a:cubicBezTo>
                <a:cubicBezTo>
                  <a:pt x="111" y="34"/>
                  <a:pt x="111" y="34"/>
                  <a:pt x="111" y="34"/>
                </a:cubicBezTo>
                <a:cubicBezTo>
                  <a:pt x="109" y="34"/>
                  <a:pt x="106" y="34"/>
                  <a:pt x="103" y="35"/>
                </a:cubicBezTo>
                <a:cubicBezTo>
                  <a:pt x="100" y="31"/>
                  <a:pt x="100" y="31"/>
                  <a:pt x="100" y="31"/>
                </a:cubicBezTo>
                <a:cubicBezTo>
                  <a:pt x="100" y="31"/>
                  <a:pt x="100" y="31"/>
                  <a:pt x="100" y="31"/>
                </a:cubicBezTo>
                <a:close/>
                <a:moveTo>
                  <a:pt x="101" y="46"/>
                </a:moveTo>
                <a:cubicBezTo>
                  <a:pt x="118" y="46"/>
                  <a:pt x="118" y="46"/>
                  <a:pt x="118" y="46"/>
                </a:cubicBezTo>
                <a:cubicBezTo>
                  <a:pt x="122" y="42"/>
                  <a:pt x="122" y="42"/>
                  <a:pt x="122" y="42"/>
                </a:cubicBezTo>
                <a:cubicBezTo>
                  <a:pt x="128" y="49"/>
                  <a:pt x="128" y="49"/>
                  <a:pt x="128" y="49"/>
                </a:cubicBezTo>
                <a:cubicBezTo>
                  <a:pt x="112" y="49"/>
                  <a:pt x="112" y="49"/>
                  <a:pt x="112" y="49"/>
                </a:cubicBezTo>
                <a:cubicBezTo>
                  <a:pt x="110" y="49"/>
                  <a:pt x="107" y="49"/>
                  <a:pt x="104" y="50"/>
                </a:cubicBezTo>
                <a:cubicBezTo>
                  <a:pt x="101" y="46"/>
                  <a:pt x="101" y="46"/>
                  <a:pt x="101" y="46"/>
                </a:cubicBezTo>
                <a:cubicBezTo>
                  <a:pt x="101" y="46"/>
                  <a:pt x="101" y="46"/>
                  <a:pt x="101" y="46"/>
                </a:cubicBezTo>
                <a:close/>
                <a:moveTo>
                  <a:pt x="127" y="61"/>
                </a:moveTo>
                <a:cubicBezTo>
                  <a:pt x="127" y="61"/>
                  <a:pt x="127" y="61"/>
                  <a:pt x="122" y="56"/>
                </a:cubicBezTo>
                <a:cubicBezTo>
                  <a:pt x="122" y="56"/>
                  <a:pt x="122" y="56"/>
                  <a:pt x="120" y="60"/>
                </a:cubicBezTo>
                <a:cubicBezTo>
                  <a:pt x="120" y="60"/>
                  <a:pt x="120" y="60"/>
                  <a:pt x="108" y="60"/>
                </a:cubicBezTo>
                <a:cubicBezTo>
                  <a:pt x="108" y="60"/>
                  <a:pt x="108" y="60"/>
                  <a:pt x="102" y="57"/>
                </a:cubicBezTo>
                <a:cubicBezTo>
                  <a:pt x="102" y="60"/>
                  <a:pt x="102" y="66"/>
                  <a:pt x="102" y="74"/>
                </a:cubicBezTo>
                <a:cubicBezTo>
                  <a:pt x="102" y="82"/>
                  <a:pt x="102" y="88"/>
                  <a:pt x="102" y="90"/>
                </a:cubicBezTo>
                <a:cubicBezTo>
                  <a:pt x="102" y="90"/>
                  <a:pt x="102" y="90"/>
                  <a:pt x="107" y="88"/>
                </a:cubicBezTo>
                <a:cubicBezTo>
                  <a:pt x="107" y="88"/>
                  <a:pt x="107" y="88"/>
                  <a:pt x="107" y="82"/>
                </a:cubicBezTo>
                <a:cubicBezTo>
                  <a:pt x="107" y="82"/>
                  <a:pt x="107" y="82"/>
                  <a:pt x="120" y="82"/>
                </a:cubicBezTo>
                <a:cubicBezTo>
                  <a:pt x="120" y="82"/>
                  <a:pt x="120" y="82"/>
                  <a:pt x="120" y="87"/>
                </a:cubicBezTo>
                <a:cubicBezTo>
                  <a:pt x="120" y="87"/>
                  <a:pt x="120" y="87"/>
                  <a:pt x="125" y="84"/>
                </a:cubicBezTo>
                <a:cubicBezTo>
                  <a:pt x="125" y="79"/>
                  <a:pt x="125" y="73"/>
                  <a:pt x="125" y="64"/>
                </a:cubicBezTo>
                <a:cubicBezTo>
                  <a:pt x="125" y="64"/>
                  <a:pt x="125" y="64"/>
                  <a:pt x="127" y="61"/>
                </a:cubicBezTo>
                <a:close/>
                <a:moveTo>
                  <a:pt x="120" y="80"/>
                </a:moveTo>
                <a:cubicBezTo>
                  <a:pt x="120" y="80"/>
                  <a:pt x="120" y="80"/>
                  <a:pt x="107" y="80"/>
                </a:cubicBezTo>
                <a:cubicBezTo>
                  <a:pt x="107" y="80"/>
                  <a:pt x="107" y="80"/>
                  <a:pt x="107" y="63"/>
                </a:cubicBezTo>
                <a:cubicBezTo>
                  <a:pt x="120" y="63"/>
                  <a:pt x="120" y="63"/>
                  <a:pt x="120" y="63"/>
                </a:cubicBezTo>
                <a:cubicBezTo>
                  <a:pt x="120" y="63"/>
                  <a:pt x="120" y="63"/>
                  <a:pt x="120" y="80"/>
                </a:cubicBezTo>
                <a:close/>
                <a:moveTo>
                  <a:pt x="157" y="19"/>
                </a:moveTo>
                <a:cubicBezTo>
                  <a:pt x="157" y="19"/>
                  <a:pt x="157" y="19"/>
                  <a:pt x="160" y="16"/>
                </a:cubicBezTo>
                <a:cubicBezTo>
                  <a:pt x="160" y="16"/>
                  <a:pt x="160" y="16"/>
                  <a:pt x="154" y="12"/>
                </a:cubicBezTo>
                <a:cubicBezTo>
                  <a:pt x="154" y="12"/>
                  <a:pt x="154" y="12"/>
                  <a:pt x="152" y="16"/>
                </a:cubicBezTo>
                <a:cubicBezTo>
                  <a:pt x="152" y="16"/>
                  <a:pt x="152" y="16"/>
                  <a:pt x="143" y="16"/>
                </a:cubicBezTo>
                <a:cubicBezTo>
                  <a:pt x="144" y="13"/>
                  <a:pt x="146" y="11"/>
                  <a:pt x="147" y="9"/>
                </a:cubicBezTo>
                <a:cubicBezTo>
                  <a:pt x="149" y="6"/>
                  <a:pt x="150" y="5"/>
                  <a:pt x="151" y="4"/>
                </a:cubicBezTo>
                <a:cubicBezTo>
                  <a:pt x="151" y="4"/>
                  <a:pt x="151" y="4"/>
                  <a:pt x="144" y="0"/>
                </a:cubicBezTo>
                <a:cubicBezTo>
                  <a:pt x="144" y="4"/>
                  <a:pt x="143" y="9"/>
                  <a:pt x="141" y="16"/>
                </a:cubicBezTo>
                <a:cubicBezTo>
                  <a:pt x="141" y="16"/>
                  <a:pt x="141" y="16"/>
                  <a:pt x="138" y="16"/>
                </a:cubicBezTo>
                <a:cubicBezTo>
                  <a:pt x="138" y="16"/>
                  <a:pt x="138" y="16"/>
                  <a:pt x="133" y="13"/>
                </a:cubicBezTo>
                <a:cubicBezTo>
                  <a:pt x="133" y="13"/>
                  <a:pt x="133" y="13"/>
                  <a:pt x="133" y="55"/>
                </a:cubicBezTo>
                <a:cubicBezTo>
                  <a:pt x="126" y="55"/>
                  <a:pt x="126" y="55"/>
                  <a:pt x="126" y="55"/>
                </a:cubicBezTo>
                <a:cubicBezTo>
                  <a:pt x="126" y="55"/>
                  <a:pt x="126" y="55"/>
                  <a:pt x="130" y="59"/>
                </a:cubicBezTo>
                <a:cubicBezTo>
                  <a:pt x="133" y="58"/>
                  <a:pt x="135" y="58"/>
                  <a:pt x="137" y="58"/>
                </a:cubicBezTo>
                <a:cubicBezTo>
                  <a:pt x="137" y="58"/>
                  <a:pt x="137" y="58"/>
                  <a:pt x="147" y="58"/>
                </a:cubicBezTo>
                <a:cubicBezTo>
                  <a:pt x="141" y="71"/>
                  <a:pt x="132" y="82"/>
                  <a:pt x="120" y="91"/>
                </a:cubicBezTo>
                <a:cubicBezTo>
                  <a:pt x="120" y="91"/>
                  <a:pt x="120" y="91"/>
                  <a:pt x="121" y="92"/>
                </a:cubicBezTo>
                <a:cubicBezTo>
                  <a:pt x="135" y="85"/>
                  <a:pt x="145" y="74"/>
                  <a:pt x="153" y="58"/>
                </a:cubicBezTo>
                <a:cubicBezTo>
                  <a:pt x="153" y="58"/>
                  <a:pt x="153" y="58"/>
                  <a:pt x="153" y="82"/>
                </a:cubicBezTo>
                <a:cubicBezTo>
                  <a:pt x="153" y="84"/>
                  <a:pt x="152" y="85"/>
                  <a:pt x="150" y="85"/>
                </a:cubicBezTo>
                <a:cubicBezTo>
                  <a:pt x="148" y="85"/>
                  <a:pt x="146" y="85"/>
                  <a:pt x="141" y="85"/>
                </a:cubicBezTo>
                <a:cubicBezTo>
                  <a:pt x="141" y="85"/>
                  <a:pt x="141" y="85"/>
                  <a:pt x="141" y="86"/>
                </a:cubicBezTo>
                <a:cubicBezTo>
                  <a:pt x="146" y="88"/>
                  <a:pt x="150" y="90"/>
                  <a:pt x="150" y="94"/>
                </a:cubicBezTo>
                <a:cubicBezTo>
                  <a:pt x="155" y="92"/>
                  <a:pt x="158" y="89"/>
                  <a:pt x="157" y="85"/>
                </a:cubicBezTo>
                <a:cubicBezTo>
                  <a:pt x="157" y="85"/>
                  <a:pt x="157" y="85"/>
                  <a:pt x="157" y="19"/>
                </a:cubicBezTo>
                <a:close/>
                <a:moveTo>
                  <a:pt x="138" y="18"/>
                </a:moveTo>
                <a:cubicBezTo>
                  <a:pt x="153" y="18"/>
                  <a:pt x="153" y="18"/>
                  <a:pt x="153" y="18"/>
                </a:cubicBezTo>
                <a:cubicBezTo>
                  <a:pt x="153" y="18"/>
                  <a:pt x="153" y="18"/>
                  <a:pt x="153" y="29"/>
                </a:cubicBezTo>
                <a:cubicBezTo>
                  <a:pt x="153" y="29"/>
                  <a:pt x="153" y="29"/>
                  <a:pt x="138" y="29"/>
                </a:cubicBezTo>
                <a:cubicBezTo>
                  <a:pt x="138" y="29"/>
                  <a:pt x="138" y="29"/>
                  <a:pt x="138" y="18"/>
                </a:cubicBezTo>
                <a:close/>
                <a:moveTo>
                  <a:pt x="153" y="31"/>
                </a:moveTo>
                <a:cubicBezTo>
                  <a:pt x="153" y="31"/>
                  <a:pt x="153" y="31"/>
                  <a:pt x="153" y="42"/>
                </a:cubicBezTo>
                <a:cubicBezTo>
                  <a:pt x="153" y="42"/>
                  <a:pt x="153" y="42"/>
                  <a:pt x="138" y="42"/>
                </a:cubicBezTo>
                <a:cubicBezTo>
                  <a:pt x="138" y="42"/>
                  <a:pt x="138" y="42"/>
                  <a:pt x="138" y="31"/>
                </a:cubicBezTo>
                <a:lnTo>
                  <a:pt x="153" y="31"/>
                </a:lnTo>
                <a:close/>
                <a:moveTo>
                  <a:pt x="138" y="55"/>
                </a:moveTo>
                <a:cubicBezTo>
                  <a:pt x="138" y="55"/>
                  <a:pt x="138" y="55"/>
                  <a:pt x="138" y="44"/>
                </a:cubicBezTo>
                <a:cubicBezTo>
                  <a:pt x="153" y="44"/>
                  <a:pt x="153" y="44"/>
                  <a:pt x="153" y="44"/>
                </a:cubicBezTo>
                <a:cubicBezTo>
                  <a:pt x="153" y="44"/>
                  <a:pt x="153" y="44"/>
                  <a:pt x="153" y="55"/>
                </a:cubicBezTo>
                <a:cubicBezTo>
                  <a:pt x="153" y="55"/>
                  <a:pt x="153" y="55"/>
                  <a:pt x="138" y="55"/>
                </a:cubicBezTo>
                <a:close/>
                <a:moveTo>
                  <a:pt x="181" y="29"/>
                </a:moveTo>
                <a:cubicBezTo>
                  <a:pt x="185" y="25"/>
                  <a:pt x="185" y="25"/>
                  <a:pt x="185" y="25"/>
                </a:cubicBezTo>
                <a:cubicBezTo>
                  <a:pt x="191" y="31"/>
                  <a:pt x="191" y="31"/>
                  <a:pt x="191" y="31"/>
                </a:cubicBezTo>
                <a:cubicBezTo>
                  <a:pt x="181" y="31"/>
                  <a:pt x="181" y="31"/>
                  <a:pt x="181" y="31"/>
                </a:cubicBezTo>
                <a:cubicBezTo>
                  <a:pt x="181" y="85"/>
                  <a:pt x="181" y="85"/>
                  <a:pt x="181" y="85"/>
                </a:cubicBezTo>
                <a:cubicBezTo>
                  <a:pt x="181" y="89"/>
                  <a:pt x="178" y="91"/>
                  <a:pt x="173" y="94"/>
                </a:cubicBezTo>
                <a:cubicBezTo>
                  <a:pt x="173" y="90"/>
                  <a:pt x="170" y="87"/>
                  <a:pt x="163" y="85"/>
                </a:cubicBezTo>
                <a:cubicBezTo>
                  <a:pt x="163" y="84"/>
                  <a:pt x="163" y="84"/>
                  <a:pt x="163" y="84"/>
                </a:cubicBezTo>
                <a:cubicBezTo>
                  <a:pt x="169" y="85"/>
                  <a:pt x="172" y="85"/>
                  <a:pt x="174" y="85"/>
                </a:cubicBezTo>
                <a:cubicBezTo>
                  <a:pt x="175" y="85"/>
                  <a:pt x="176" y="84"/>
                  <a:pt x="176" y="82"/>
                </a:cubicBezTo>
                <a:cubicBezTo>
                  <a:pt x="176" y="31"/>
                  <a:pt x="176" y="31"/>
                  <a:pt x="176" y="31"/>
                </a:cubicBezTo>
                <a:cubicBezTo>
                  <a:pt x="170" y="31"/>
                  <a:pt x="170" y="31"/>
                  <a:pt x="170" y="31"/>
                </a:cubicBezTo>
                <a:cubicBezTo>
                  <a:pt x="168" y="31"/>
                  <a:pt x="165" y="32"/>
                  <a:pt x="162" y="33"/>
                </a:cubicBezTo>
                <a:cubicBezTo>
                  <a:pt x="159" y="29"/>
                  <a:pt x="159" y="29"/>
                  <a:pt x="159" y="29"/>
                </a:cubicBezTo>
                <a:cubicBezTo>
                  <a:pt x="176" y="29"/>
                  <a:pt x="176" y="29"/>
                  <a:pt x="176" y="29"/>
                </a:cubicBezTo>
                <a:cubicBezTo>
                  <a:pt x="176" y="16"/>
                  <a:pt x="176" y="7"/>
                  <a:pt x="176" y="3"/>
                </a:cubicBezTo>
                <a:cubicBezTo>
                  <a:pt x="184" y="6"/>
                  <a:pt x="184" y="6"/>
                  <a:pt x="184" y="6"/>
                </a:cubicBezTo>
                <a:cubicBezTo>
                  <a:pt x="181" y="9"/>
                  <a:pt x="181" y="9"/>
                  <a:pt x="181" y="9"/>
                </a:cubicBezTo>
                <a:cubicBezTo>
                  <a:pt x="181" y="29"/>
                  <a:pt x="181" y="29"/>
                  <a:pt x="181" y="29"/>
                </a:cubicBezTo>
                <a:cubicBezTo>
                  <a:pt x="181" y="29"/>
                  <a:pt x="181" y="29"/>
                  <a:pt x="181" y="29"/>
                </a:cubicBezTo>
                <a:close/>
                <a:moveTo>
                  <a:pt x="161" y="41"/>
                </a:moveTo>
                <a:cubicBezTo>
                  <a:pt x="167" y="45"/>
                  <a:pt x="171" y="48"/>
                  <a:pt x="172" y="50"/>
                </a:cubicBezTo>
                <a:cubicBezTo>
                  <a:pt x="173" y="53"/>
                  <a:pt x="173" y="54"/>
                  <a:pt x="172" y="56"/>
                </a:cubicBezTo>
                <a:cubicBezTo>
                  <a:pt x="171" y="57"/>
                  <a:pt x="171" y="59"/>
                  <a:pt x="169" y="60"/>
                </a:cubicBezTo>
                <a:cubicBezTo>
                  <a:pt x="168" y="60"/>
                  <a:pt x="167" y="59"/>
                  <a:pt x="167" y="56"/>
                </a:cubicBezTo>
                <a:cubicBezTo>
                  <a:pt x="166" y="52"/>
                  <a:pt x="163" y="48"/>
                  <a:pt x="160" y="43"/>
                </a:cubicBezTo>
                <a:cubicBezTo>
                  <a:pt x="161" y="41"/>
                  <a:pt x="161" y="41"/>
                  <a:pt x="161" y="41"/>
                </a:cubicBezTo>
                <a:cubicBezTo>
                  <a:pt x="161" y="41"/>
                  <a:pt x="161" y="41"/>
                  <a:pt x="161" y="41"/>
                </a:cubicBezTo>
                <a:close/>
                <a:moveTo>
                  <a:pt x="232" y="15"/>
                </a:moveTo>
                <a:cubicBezTo>
                  <a:pt x="232" y="15"/>
                  <a:pt x="232" y="15"/>
                  <a:pt x="225" y="10"/>
                </a:cubicBezTo>
                <a:cubicBezTo>
                  <a:pt x="225" y="10"/>
                  <a:pt x="225" y="10"/>
                  <a:pt x="222" y="13"/>
                </a:cubicBezTo>
                <a:cubicBezTo>
                  <a:pt x="222" y="13"/>
                  <a:pt x="222" y="13"/>
                  <a:pt x="206" y="13"/>
                </a:cubicBezTo>
                <a:cubicBezTo>
                  <a:pt x="206" y="13"/>
                  <a:pt x="206" y="13"/>
                  <a:pt x="201" y="10"/>
                </a:cubicBezTo>
                <a:cubicBezTo>
                  <a:pt x="201" y="16"/>
                  <a:pt x="201" y="28"/>
                  <a:pt x="201" y="47"/>
                </a:cubicBezTo>
                <a:cubicBezTo>
                  <a:pt x="201" y="66"/>
                  <a:pt x="201" y="78"/>
                  <a:pt x="201" y="83"/>
                </a:cubicBezTo>
                <a:cubicBezTo>
                  <a:pt x="206" y="80"/>
                  <a:pt x="206" y="80"/>
                  <a:pt x="206" y="80"/>
                </a:cubicBezTo>
                <a:cubicBezTo>
                  <a:pt x="206" y="80"/>
                  <a:pt x="206" y="80"/>
                  <a:pt x="206" y="72"/>
                </a:cubicBezTo>
                <a:cubicBezTo>
                  <a:pt x="206" y="72"/>
                  <a:pt x="206" y="72"/>
                  <a:pt x="223" y="72"/>
                </a:cubicBezTo>
                <a:cubicBezTo>
                  <a:pt x="223" y="72"/>
                  <a:pt x="223" y="72"/>
                  <a:pt x="223" y="79"/>
                </a:cubicBezTo>
                <a:cubicBezTo>
                  <a:pt x="223" y="79"/>
                  <a:pt x="223" y="79"/>
                  <a:pt x="229" y="77"/>
                </a:cubicBezTo>
                <a:cubicBezTo>
                  <a:pt x="228" y="73"/>
                  <a:pt x="228" y="54"/>
                  <a:pt x="228" y="17"/>
                </a:cubicBezTo>
                <a:cubicBezTo>
                  <a:pt x="228" y="17"/>
                  <a:pt x="228" y="17"/>
                  <a:pt x="232" y="15"/>
                </a:cubicBezTo>
                <a:close/>
                <a:moveTo>
                  <a:pt x="206" y="16"/>
                </a:moveTo>
                <a:cubicBezTo>
                  <a:pt x="223" y="16"/>
                  <a:pt x="223" y="16"/>
                  <a:pt x="223" y="16"/>
                </a:cubicBezTo>
                <a:cubicBezTo>
                  <a:pt x="223" y="16"/>
                  <a:pt x="223" y="16"/>
                  <a:pt x="223" y="41"/>
                </a:cubicBezTo>
                <a:cubicBezTo>
                  <a:pt x="223" y="41"/>
                  <a:pt x="223" y="41"/>
                  <a:pt x="206" y="41"/>
                </a:cubicBezTo>
                <a:cubicBezTo>
                  <a:pt x="206" y="41"/>
                  <a:pt x="206" y="41"/>
                  <a:pt x="206" y="16"/>
                </a:cubicBezTo>
                <a:close/>
                <a:moveTo>
                  <a:pt x="206" y="69"/>
                </a:moveTo>
                <a:cubicBezTo>
                  <a:pt x="206" y="69"/>
                  <a:pt x="206" y="69"/>
                  <a:pt x="206" y="44"/>
                </a:cubicBezTo>
                <a:cubicBezTo>
                  <a:pt x="223" y="43"/>
                  <a:pt x="223" y="43"/>
                  <a:pt x="223" y="43"/>
                </a:cubicBezTo>
                <a:cubicBezTo>
                  <a:pt x="223" y="43"/>
                  <a:pt x="223" y="43"/>
                  <a:pt x="223" y="69"/>
                </a:cubicBezTo>
                <a:cubicBezTo>
                  <a:pt x="223" y="69"/>
                  <a:pt x="223" y="69"/>
                  <a:pt x="206" y="69"/>
                </a:cubicBezTo>
                <a:close/>
                <a:moveTo>
                  <a:pt x="282" y="26"/>
                </a:moveTo>
                <a:cubicBezTo>
                  <a:pt x="282" y="26"/>
                  <a:pt x="282" y="26"/>
                  <a:pt x="279" y="29"/>
                </a:cubicBezTo>
                <a:cubicBezTo>
                  <a:pt x="279" y="29"/>
                  <a:pt x="279" y="29"/>
                  <a:pt x="268" y="30"/>
                </a:cubicBezTo>
                <a:cubicBezTo>
                  <a:pt x="268" y="30"/>
                  <a:pt x="268" y="30"/>
                  <a:pt x="268" y="12"/>
                </a:cubicBezTo>
                <a:cubicBezTo>
                  <a:pt x="268" y="12"/>
                  <a:pt x="268" y="12"/>
                  <a:pt x="291" y="12"/>
                </a:cubicBezTo>
                <a:cubicBezTo>
                  <a:pt x="291" y="12"/>
                  <a:pt x="291" y="12"/>
                  <a:pt x="284" y="4"/>
                </a:cubicBezTo>
                <a:cubicBezTo>
                  <a:pt x="284" y="4"/>
                  <a:pt x="284" y="4"/>
                  <a:pt x="278" y="9"/>
                </a:cubicBezTo>
                <a:cubicBezTo>
                  <a:pt x="278" y="9"/>
                  <a:pt x="278" y="9"/>
                  <a:pt x="229" y="9"/>
                </a:cubicBezTo>
                <a:cubicBezTo>
                  <a:pt x="229" y="9"/>
                  <a:pt x="229" y="9"/>
                  <a:pt x="233" y="12"/>
                </a:cubicBezTo>
                <a:cubicBezTo>
                  <a:pt x="233" y="12"/>
                  <a:pt x="233" y="12"/>
                  <a:pt x="238" y="12"/>
                </a:cubicBezTo>
                <a:cubicBezTo>
                  <a:pt x="238" y="12"/>
                  <a:pt x="238" y="12"/>
                  <a:pt x="250" y="12"/>
                </a:cubicBezTo>
                <a:cubicBezTo>
                  <a:pt x="250" y="12"/>
                  <a:pt x="250" y="12"/>
                  <a:pt x="250" y="30"/>
                </a:cubicBezTo>
                <a:cubicBezTo>
                  <a:pt x="250" y="30"/>
                  <a:pt x="250" y="30"/>
                  <a:pt x="240" y="30"/>
                </a:cubicBezTo>
                <a:cubicBezTo>
                  <a:pt x="240" y="30"/>
                  <a:pt x="240" y="30"/>
                  <a:pt x="234" y="26"/>
                </a:cubicBezTo>
                <a:cubicBezTo>
                  <a:pt x="234" y="37"/>
                  <a:pt x="235" y="48"/>
                  <a:pt x="235" y="61"/>
                </a:cubicBezTo>
                <a:cubicBezTo>
                  <a:pt x="235" y="73"/>
                  <a:pt x="234" y="84"/>
                  <a:pt x="234" y="93"/>
                </a:cubicBezTo>
                <a:cubicBezTo>
                  <a:pt x="240" y="90"/>
                  <a:pt x="240" y="90"/>
                  <a:pt x="240" y="90"/>
                </a:cubicBezTo>
                <a:cubicBezTo>
                  <a:pt x="240" y="90"/>
                  <a:pt x="240" y="90"/>
                  <a:pt x="240" y="84"/>
                </a:cubicBezTo>
                <a:cubicBezTo>
                  <a:pt x="240" y="84"/>
                  <a:pt x="240" y="84"/>
                  <a:pt x="279" y="84"/>
                </a:cubicBezTo>
                <a:cubicBezTo>
                  <a:pt x="279" y="84"/>
                  <a:pt x="279" y="84"/>
                  <a:pt x="279" y="91"/>
                </a:cubicBezTo>
                <a:cubicBezTo>
                  <a:pt x="279" y="91"/>
                  <a:pt x="279" y="91"/>
                  <a:pt x="285" y="89"/>
                </a:cubicBezTo>
                <a:cubicBezTo>
                  <a:pt x="285" y="79"/>
                  <a:pt x="285" y="61"/>
                  <a:pt x="285" y="33"/>
                </a:cubicBezTo>
                <a:cubicBezTo>
                  <a:pt x="285" y="33"/>
                  <a:pt x="285" y="33"/>
                  <a:pt x="288" y="31"/>
                </a:cubicBezTo>
                <a:cubicBezTo>
                  <a:pt x="288" y="31"/>
                  <a:pt x="288" y="31"/>
                  <a:pt x="282" y="26"/>
                </a:cubicBezTo>
                <a:close/>
                <a:moveTo>
                  <a:pt x="255" y="12"/>
                </a:moveTo>
                <a:cubicBezTo>
                  <a:pt x="263" y="12"/>
                  <a:pt x="263" y="12"/>
                  <a:pt x="263" y="12"/>
                </a:cubicBezTo>
                <a:cubicBezTo>
                  <a:pt x="263" y="12"/>
                  <a:pt x="263" y="12"/>
                  <a:pt x="263" y="30"/>
                </a:cubicBezTo>
                <a:cubicBezTo>
                  <a:pt x="263" y="30"/>
                  <a:pt x="263" y="30"/>
                  <a:pt x="255" y="30"/>
                </a:cubicBezTo>
                <a:cubicBezTo>
                  <a:pt x="255" y="30"/>
                  <a:pt x="255" y="30"/>
                  <a:pt x="255" y="12"/>
                </a:cubicBezTo>
                <a:close/>
                <a:moveTo>
                  <a:pt x="240" y="32"/>
                </a:moveTo>
                <a:cubicBezTo>
                  <a:pt x="250" y="32"/>
                  <a:pt x="250" y="32"/>
                  <a:pt x="250" y="32"/>
                </a:cubicBezTo>
                <a:cubicBezTo>
                  <a:pt x="250" y="40"/>
                  <a:pt x="249" y="47"/>
                  <a:pt x="248" y="53"/>
                </a:cubicBezTo>
                <a:cubicBezTo>
                  <a:pt x="247" y="58"/>
                  <a:pt x="244" y="63"/>
                  <a:pt x="240" y="69"/>
                </a:cubicBezTo>
                <a:cubicBezTo>
                  <a:pt x="240" y="69"/>
                  <a:pt x="240" y="69"/>
                  <a:pt x="240" y="32"/>
                </a:cubicBezTo>
                <a:close/>
                <a:moveTo>
                  <a:pt x="240" y="81"/>
                </a:moveTo>
                <a:cubicBezTo>
                  <a:pt x="240" y="81"/>
                  <a:pt x="240" y="81"/>
                  <a:pt x="240" y="71"/>
                </a:cubicBezTo>
                <a:cubicBezTo>
                  <a:pt x="246" y="66"/>
                  <a:pt x="250" y="61"/>
                  <a:pt x="252" y="55"/>
                </a:cubicBezTo>
                <a:cubicBezTo>
                  <a:pt x="254" y="49"/>
                  <a:pt x="255" y="41"/>
                  <a:pt x="255" y="32"/>
                </a:cubicBezTo>
                <a:cubicBezTo>
                  <a:pt x="263" y="32"/>
                  <a:pt x="263" y="32"/>
                  <a:pt x="263" y="32"/>
                </a:cubicBezTo>
                <a:cubicBezTo>
                  <a:pt x="263" y="32"/>
                  <a:pt x="263" y="32"/>
                  <a:pt x="263" y="58"/>
                </a:cubicBezTo>
                <a:cubicBezTo>
                  <a:pt x="263" y="62"/>
                  <a:pt x="265" y="64"/>
                  <a:pt x="269" y="64"/>
                </a:cubicBezTo>
                <a:cubicBezTo>
                  <a:pt x="269" y="64"/>
                  <a:pt x="269" y="64"/>
                  <a:pt x="273" y="64"/>
                </a:cubicBezTo>
                <a:cubicBezTo>
                  <a:pt x="278" y="64"/>
                  <a:pt x="280" y="63"/>
                  <a:pt x="279" y="61"/>
                </a:cubicBezTo>
                <a:cubicBezTo>
                  <a:pt x="278" y="58"/>
                  <a:pt x="277" y="57"/>
                  <a:pt x="276" y="58"/>
                </a:cubicBezTo>
                <a:cubicBezTo>
                  <a:pt x="274" y="58"/>
                  <a:pt x="273" y="59"/>
                  <a:pt x="271" y="59"/>
                </a:cubicBezTo>
                <a:cubicBezTo>
                  <a:pt x="269" y="59"/>
                  <a:pt x="268" y="58"/>
                  <a:pt x="268" y="55"/>
                </a:cubicBezTo>
                <a:cubicBezTo>
                  <a:pt x="268" y="55"/>
                  <a:pt x="268" y="55"/>
                  <a:pt x="268" y="32"/>
                </a:cubicBezTo>
                <a:cubicBezTo>
                  <a:pt x="268" y="32"/>
                  <a:pt x="268" y="32"/>
                  <a:pt x="279" y="32"/>
                </a:cubicBezTo>
                <a:cubicBezTo>
                  <a:pt x="279" y="32"/>
                  <a:pt x="279" y="32"/>
                  <a:pt x="279" y="81"/>
                </a:cubicBezTo>
                <a:cubicBezTo>
                  <a:pt x="279" y="81"/>
                  <a:pt x="279" y="81"/>
                  <a:pt x="240" y="8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6" name="Freeform 251">
            <a:extLst>
              <a:ext uri="{FF2B5EF4-FFF2-40B4-BE49-F238E27FC236}">
                <a16:creationId xmlns:a16="http://schemas.microsoft.com/office/drawing/2014/main" id="{44EF7C3A-B0B9-2E73-8CCA-DD9D2A9FCAB9}"/>
              </a:ext>
              <a:ext uri="{C183D7F6-B498-43B3-948B-1728B52AA6E4}">
                <adec:decorative xmlns:adec="http://schemas.microsoft.com/office/drawing/2017/decorative" val="1"/>
              </a:ext>
            </a:extLst>
          </p:cNvPr>
          <p:cNvSpPr>
            <a:spLocks noEditPoints="1"/>
          </p:cNvSpPr>
          <p:nvPr userDrawn="1"/>
        </p:nvSpPr>
        <p:spPr bwMode="auto">
          <a:xfrm rot="16200000">
            <a:off x="9061686" y="652374"/>
            <a:ext cx="225756" cy="1408983"/>
          </a:xfrm>
          <a:custGeom>
            <a:avLst/>
            <a:gdLst>
              <a:gd name="T0" fmla="*/ 31 w 72"/>
              <a:gd name="T1" fmla="*/ 4 h 448"/>
              <a:gd name="T2" fmla="*/ 62 w 72"/>
              <a:gd name="T3" fmla="*/ 4 h 448"/>
              <a:gd name="T4" fmla="*/ 62 w 72"/>
              <a:gd name="T5" fmla="*/ 30 h 448"/>
              <a:gd name="T6" fmla="*/ 1 w 72"/>
              <a:gd name="T7" fmla="*/ 31 h 448"/>
              <a:gd name="T8" fmla="*/ 0 w 72"/>
              <a:gd name="T9" fmla="*/ 64 h 448"/>
              <a:gd name="T10" fmla="*/ 63 w 72"/>
              <a:gd name="T11" fmla="*/ 66 h 448"/>
              <a:gd name="T12" fmla="*/ 11 w 72"/>
              <a:gd name="T13" fmla="*/ 82 h 448"/>
              <a:gd name="T14" fmla="*/ 51 w 72"/>
              <a:gd name="T15" fmla="*/ 47 h 448"/>
              <a:gd name="T16" fmla="*/ 67 w 72"/>
              <a:gd name="T17" fmla="*/ 56 h 448"/>
              <a:gd name="T18" fmla="*/ 71 w 72"/>
              <a:gd name="T19" fmla="*/ 60 h 448"/>
              <a:gd name="T20" fmla="*/ 66 w 72"/>
              <a:gd name="T21" fmla="*/ 72 h 448"/>
              <a:gd name="T22" fmla="*/ 72 w 72"/>
              <a:gd name="T23" fmla="*/ 72 h 448"/>
              <a:gd name="T24" fmla="*/ 66 w 72"/>
              <a:gd name="T25" fmla="*/ 72 h 448"/>
              <a:gd name="T26" fmla="*/ 7 w 72"/>
              <a:gd name="T27" fmla="*/ 128 h 448"/>
              <a:gd name="T28" fmla="*/ 39 w 72"/>
              <a:gd name="T29" fmla="*/ 106 h 448"/>
              <a:gd name="T30" fmla="*/ 61 w 72"/>
              <a:gd name="T31" fmla="*/ 133 h 448"/>
              <a:gd name="T32" fmla="*/ 48 w 72"/>
              <a:gd name="T33" fmla="*/ 108 h 448"/>
              <a:gd name="T34" fmla="*/ 16 w 72"/>
              <a:gd name="T35" fmla="*/ 136 h 448"/>
              <a:gd name="T36" fmla="*/ 3 w 72"/>
              <a:gd name="T37" fmla="*/ 104 h 448"/>
              <a:gd name="T38" fmla="*/ 1 w 72"/>
              <a:gd name="T39" fmla="*/ 144 h 448"/>
              <a:gd name="T40" fmla="*/ 62 w 72"/>
              <a:gd name="T41" fmla="*/ 146 h 448"/>
              <a:gd name="T42" fmla="*/ 54 w 72"/>
              <a:gd name="T43" fmla="*/ 203 h 448"/>
              <a:gd name="T44" fmla="*/ 8 w 72"/>
              <a:gd name="T45" fmla="*/ 244 h 448"/>
              <a:gd name="T46" fmla="*/ 54 w 72"/>
              <a:gd name="T47" fmla="*/ 203 h 448"/>
              <a:gd name="T48" fmla="*/ 4 w 72"/>
              <a:gd name="T49" fmla="*/ 223 h 448"/>
              <a:gd name="T50" fmla="*/ 59 w 72"/>
              <a:gd name="T51" fmla="*/ 223 h 448"/>
              <a:gd name="T52" fmla="*/ 69 w 72"/>
              <a:gd name="T53" fmla="*/ 213 h 448"/>
              <a:gd name="T54" fmla="*/ 69 w 72"/>
              <a:gd name="T55" fmla="*/ 219 h 448"/>
              <a:gd name="T56" fmla="*/ 67 w 72"/>
              <a:gd name="T57" fmla="*/ 228 h 448"/>
              <a:gd name="T58" fmla="*/ 71 w 72"/>
              <a:gd name="T59" fmla="*/ 232 h 448"/>
              <a:gd name="T60" fmla="*/ 1 w 72"/>
              <a:gd name="T61" fmla="*/ 307 h 448"/>
              <a:gd name="T62" fmla="*/ 54 w 72"/>
              <a:gd name="T63" fmla="*/ 268 h 448"/>
              <a:gd name="T64" fmla="*/ 62 w 72"/>
              <a:gd name="T65" fmla="*/ 264 h 448"/>
              <a:gd name="T66" fmla="*/ 9 w 72"/>
              <a:gd name="T67" fmla="*/ 306 h 448"/>
              <a:gd name="T68" fmla="*/ 1 w 72"/>
              <a:gd name="T69" fmla="*/ 310 h 448"/>
              <a:gd name="T70" fmla="*/ 8 w 72"/>
              <a:gd name="T71" fmla="*/ 330 h 448"/>
              <a:gd name="T72" fmla="*/ 54 w 72"/>
              <a:gd name="T73" fmla="*/ 371 h 448"/>
              <a:gd name="T74" fmla="*/ 32 w 72"/>
              <a:gd name="T75" fmla="*/ 375 h 448"/>
              <a:gd name="T76" fmla="*/ 31 w 72"/>
              <a:gd name="T77" fmla="*/ 327 h 448"/>
              <a:gd name="T78" fmla="*/ 66 w 72"/>
              <a:gd name="T79" fmla="*/ 344 h 448"/>
              <a:gd name="T80" fmla="*/ 72 w 72"/>
              <a:gd name="T81" fmla="*/ 344 h 448"/>
              <a:gd name="T82" fmla="*/ 66 w 72"/>
              <a:gd name="T83" fmla="*/ 344 h 448"/>
              <a:gd name="T84" fmla="*/ 71 w 72"/>
              <a:gd name="T85" fmla="*/ 356 h 448"/>
              <a:gd name="T86" fmla="*/ 67 w 72"/>
              <a:gd name="T87" fmla="*/ 360 h 448"/>
              <a:gd name="T88" fmla="*/ 53 w 72"/>
              <a:gd name="T89" fmla="*/ 444 h 448"/>
              <a:gd name="T90" fmla="*/ 1 w 72"/>
              <a:gd name="T91" fmla="*/ 419 h 448"/>
              <a:gd name="T92" fmla="*/ 45 w 72"/>
              <a:gd name="T93" fmla="*/ 396 h 448"/>
              <a:gd name="T94" fmla="*/ 62 w 72"/>
              <a:gd name="T95" fmla="*/ 395 h 448"/>
              <a:gd name="T96" fmla="*/ 8 w 72"/>
              <a:gd name="T97" fmla="*/ 420 h 448"/>
              <a:gd name="T98" fmla="*/ 62 w 72"/>
              <a:gd name="T99" fmla="*/ 44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48">
                <a:moveTo>
                  <a:pt x="1" y="31"/>
                </a:moveTo>
                <a:cubicBezTo>
                  <a:pt x="30" y="5"/>
                  <a:pt x="30" y="5"/>
                  <a:pt x="30" y="5"/>
                </a:cubicBezTo>
                <a:cubicBezTo>
                  <a:pt x="30" y="5"/>
                  <a:pt x="31" y="4"/>
                  <a:pt x="31" y="4"/>
                </a:cubicBezTo>
                <a:cubicBezTo>
                  <a:pt x="31" y="4"/>
                  <a:pt x="31" y="4"/>
                  <a:pt x="31" y="4"/>
                </a:cubicBezTo>
                <a:cubicBezTo>
                  <a:pt x="1" y="4"/>
                  <a:pt x="1" y="4"/>
                  <a:pt x="1" y="4"/>
                </a:cubicBezTo>
                <a:cubicBezTo>
                  <a:pt x="1" y="0"/>
                  <a:pt x="1" y="0"/>
                  <a:pt x="1" y="0"/>
                </a:cubicBezTo>
                <a:cubicBezTo>
                  <a:pt x="62" y="0"/>
                  <a:pt x="62" y="0"/>
                  <a:pt x="62" y="0"/>
                </a:cubicBezTo>
                <a:cubicBezTo>
                  <a:pt x="62" y="4"/>
                  <a:pt x="62" y="4"/>
                  <a:pt x="62" y="4"/>
                </a:cubicBezTo>
                <a:cubicBezTo>
                  <a:pt x="33" y="4"/>
                  <a:pt x="33" y="4"/>
                  <a:pt x="33" y="4"/>
                </a:cubicBezTo>
                <a:cubicBezTo>
                  <a:pt x="33" y="4"/>
                  <a:pt x="33" y="4"/>
                  <a:pt x="33" y="4"/>
                </a:cubicBezTo>
                <a:cubicBezTo>
                  <a:pt x="34" y="4"/>
                  <a:pt x="34" y="5"/>
                  <a:pt x="34" y="5"/>
                </a:cubicBezTo>
                <a:cubicBezTo>
                  <a:pt x="62" y="30"/>
                  <a:pt x="62" y="30"/>
                  <a:pt x="62" y="30"/>
                </a:cubicBezTo>
                <a:cubicBezTo>
                  <a:pt x="62" y="35"/>
                  <a:pt x="62" y="35"/>
                  <a:pt x="62" y="35"/>
                </a:cubicBezTo>
                <a:cubicBezTo>
                  <a:pt x="32" y="8"/>
                  <a:pt x="32" y="8"/>
                  <a:pt x="32" y="8"/>
                </a:cubicBezTo>
                <a:cubicBezTo>
                  <a:pt x="1" y="37"/>
                  <a:pt x="1" y="37"/>
                  <a:pt x="1" y="37"/>
                </a:cubicBezTo>
                <a:lnTo>
                  <a:pt x="1" y="31"/>
                </a:lnTo>
                <a:close/>
                <a:moveTo>
                  <a:pt x="54" y="44"/>
                </a:moveTo>
                <a:cubicBezTo>
                  <a:pt x="48" y="39"/>
                  <a:pt x="40" y="36"/>
                  <a:pt x="31" y="36"/>
                </a:cubicBezTo>
                <a:cubicBezTo>
                  <a:pt x="22" y="36"/>
                  <a:pt x="14" y="39"/>
                  <a:pt x="8" y="44"/>
                </a:cubicBezTo>
                <a:cubicBezTo>
                  <a:pt x="3" y="49"/>
                  <a:pt x="0" y="56"/>
                  <a:pt x="0" y="64"/>
                </a:cubicBezTo>
                <a:cubicBezTo>
                  <a:pt x="0" y="73"/>
                  <a:pt x="3" y="80"/>
                  <a:pt x="8" y="85"/>
                </a:cubicBezTo>
                <a:cubicBezTo>
                  <a:pt x="14" y="90"/>
                  <a:pt x="22" y="93"/>
                  <a:pt x="32" y="93"/>
                </a:cubicBezTo>
                <a:cubicBezTo>
                  <a:pt x="41" y="93"/>
                  <a:pt x="49" y="91"/>
                  <a:pt x="54" y="85"/>
                </a:cubicBezTo>
                <a:cubicBezTo>
                  <a:pt x="60" y="80"/>
                  <a:pt x="63" y="74"/>
                  <a:pt x="63" y="66"/>
                </a:cubicBezTo>
                <a:cubicBezTo>
                  <a:pt x="63" y="57"/>
                  <a:pt x="60" y="49"/>
                  <a:pt x="54" y="44"/>
                </a:cubicBezTo>
                <a:close/>
                <a:moveTo>
                  <a:pt x="52" y="82"/>
                </a:moveTo>
                <a:cubicBezTo>
                  <a:pt x="47" y="87"/>
                  <a:pt x="40" y="89"/>
                  <a:pt x="32" y="89"/>
                </a:cubicBezTo>
                <a:cubicBezTo>
                  <a:pt x="23" y="89"/>
                  <a:pt x="16" y="87"/>
                  <a:pt x="11" y="82"/>
                </a:cubicBezTo>
                <a:cubicBezTo>
                  <a:pt x="6" y="78"/>
                  <a:pt x="4" y="72"/>
                  <a:pt x="4" y="64"/>
                </a:cubicBezTo>
                <a:cubicBezTo>
                  <a:pt x="4" y="57"/>
                  <a:pt x="6" y="51"/>
                  <a:pt x="11" y="47"/>
                </a:cubicBezTo>
                <a:cubicBezTo>
                  <a:pt x="16" y="43"/>
                  <a:pt x="23" y="41"/>
                  <a:pt x="31" y="41"/>
                </a:cubicBezTo>
                <a:cubicBezTo>
                  <a:pt x="39" y="41"/>
                  <a:pt x="46" y="43"/>
                  <a:pt x="51" y="47"/>
                </a:cubicBezTo>
                <a:cubicBezTo>
                  <a:pt x="56" y="52"/>
                  <a:pt x="59" y="58"/>
                  <a:pt x="59" y="65"/>
                </a:cubicBezTo>
                <a:cubicBezTo>
                  <a:pt x="59" y="72"/>
                  <a:pt x="56" y="78"/>
                  <a:pt x="52" y="82"/>
                </a:cubicBezTo>
                <a:close/>
                <a:moveTo>
                  <a:pt x="66" y="58"/>
                </a:moveTo>
                <a:cubicBezTo>
                  <a:pt x="66" y="57"/>
                  <a:pt x="66" y="56"/>
                  <a:pt x="67" y="56"/>
                </a:cubicBezTo>
                <a:cubicBezTo>
                  <a:pt x="67" y="55"/>
                  <a:pt x="68" y="55"/>
                  <a:pt x="69" y="55"/>
                </a:cubicBezTo>
                <a:cubicBezTo>
                  <a:pt x="70" y="55"/>
                  <a:pt x="70" y="55"/>
                  <a:pt x="71" y="56"/>
                </a:cubicBezTo>
                <a:cubicBezTo>
                  <a:pt x="71" y="56"/>
                  <a:pt x="72" y="57"/>
                  <a:pt x="72" y="58"/>
                </a:cubicBezTo>
                <a:cubicBezTo>
                  <a:pt x="72" y="59"/>
                  <a:pt x="71" y="59"/>
                  <a:pt x="71" y="60"/>
                </a:cubicBezTo>
                <a:cubicBezTo>
                  <a:pt x="70" y="61"/>
                  <a:pt x="70" y="61"/>
                  <a:pt x="69" y="61"/>
                </a:cubicBezTo>
                <a:cubicBezTo>
                  <a:pt x="68" y="61"/>
                  <a:pt x="67" y="61"/>
                  <a:pt x="67" y="60"/>
                </a:cubicBezTo>
                <a:cubicBezTo>
                  <a:pt x="66" y="59"/>
                  <a:pt x="66" y="59"/>
                  <a:pt x="66" y="58"/>
                </a:cubicBezTo>
                <a:close/>
                <a:moveTo>
                  <a:pt x="66" y="72"/>
                </a:moveTo>
                <a:cubicBezTo>
                  <a:pt x="66" y="71"/>
                  <a:pt x="66" y="70"/>
                  <a:pt x="67" y="70"/>
                </a:cubicBezTo>
                <a:cubicBezTo>
                  <a:pt x="67" y="69"/>
                  <a:pt x="68" y="69"/>
                  <a:pt x="69" y="69"/>
                </a:cubicBezTo>
                <a:cubicBezTo>
                  <a:pt x="70" y="69"/>
                  <a:pt x="70" y="69"/>
                  <a:pt x="71" y="70"/>
                </a:cubicBezTo>
                <a:cubicBezTo>
                  <a:pt x="71" y="70"/>
                  <a:pt x="72" y="71"/>
                  <a:pt x="72" y="72"/>
                </a:cubicBezTo>
                <a:cubicBezTo>
                  <a:pt x="72" y="73"/>
                  <a:pt x="71" y="73"/>
                  <a:pt x="71" y="74"/>
                </a:cubicBezTo>
                <a:cubicBezTo>
                  <a:pt x="70" y="75"/>
                  <a:pt x="70" y="75"/>
                  <a:pt x="69" y="75"/>
                </a:cubicBezTo>
                <a:cubicBezTo>
                  <a:pt x="68" y="75"/>
                  <a:pt x="67" y="75"/>
                  <a:pt x="67" y="74"/>
                </a:cubicBezTo>
                <a:cubicBezTo>
                  <a:pt x="66" y="74"/>
                  <a:pt x="66" y="73"/>
                  <a:pt x="66" y="72"/>
                </a:cubicBezTo>
                <a:close/>
                <a:moveTo>
                  <a:pt x="3" y="104"/>
                </a:moveTo>
                <a:cubicBezTo>
                  <a:pt x="8" y="104"/>
                  <a:pt x="8" y="104"/>
                  <a:pt x="8" y="104"/>
                </a:cubicBezTo>
                <a:cubicBezTo>
                  <a:pt x="5" y="108"/>
                  <a:pt x="4" y="112"/>
                  <a:pt x="4" y="117"/>
                </a:cubicBezTo>
                <a:cubicBezTo>
                  <a:pt x="4" y="122"/>
                  <a:pt x="5" y="125"/>
                  <a:pt x="7" y="128"/>
                </a:cubicBezTo>
                <a:cubicBezTo>
                  <a:pt x="9" y="130"/>
                  <a:pt x="11" y="131"/>
                  <a:pt x="15" y="131"/>
                </a:cubicBezTo>
                <a:cubicBezTo>
                  <a:pt x="18" y="131"/>
                  <a:pt x="20" y="130"/>
                  <a:pt x="22" y="129"/>
                </a:cubicBezTo>
                <a:cubicBezTo>
                  <a:pt x="24" y="127"/>
                  <a:pt x="27" y="124"/>
                  <a:pt x="30" y="118"/>
                </a:cubicBezTo>
                <a:cubicBezTo>
                  <a:pt x="33" y="112"/>
                  <a:pt x="36" y="108"/>
                  <a:pt x="39" y="106"/>
                </a:cubicBezTo>
                <a:cubicBezTo>
                  <a:pt x="41" y="105"/>
                  <a:pt x="44" y="104"/>
                  <a:pt x="47" y="104"/>
                </a:cubicBezTo>
                <a:cubicBezTo>
                  <a:pt x="52" y="104"/>
                  <a:pt x="55" y="106"/>
                  <a:pt x="58" y="109"/>
                </a:cubicBezTo>
                <a:cubicBezTo>
                  <a:pt x="61" y="112"/>
                  <a:pt x="63" y="117"/>
                  <a:pt x="63" y="122"/>
                </a:cubicBezTo>
                <a:cubicBezTo>
                  <a:pt x="63" y="126"/>
                  <a:pt x="62" y="129"/>
                  <a:pt x="61" y="133"/>
                </a:cubicBezTo>
                <a:cubicBezTo>
                  <a:pt x="56" y="133"/>
                  <a:pt x="56" y="133"/>
                  <a:pt x="56" y="133"/>
                </a:cubicBezTo>
                <a:cubicBezTo>
                  <a:pt x="58" y="130"/>
                  <a:pt x="59" y="126"/>
                  <a:pt x="59" y="122"/>
                </a:cubicBezTo>
                <a:cubicBezTo>
                  <a:pt x="59" y="118"/>
                  <a:pt x="58" y="114"/>
                  <a:pt x="56" y="112"/>
                </a:cubicBezTo>
                <a:cubicBezTo>
                  <a:pt x="54" y="109"/>
                  <a:pt x="51" y="108"/>
                  <a:pt x="48" y="108"/>
                </a:cubicBezTo>
                <a:cubicBezTo>
                  <a:pt x="45" y="108"/>
                  <a:pt x="42" y="109"/>
                  <a:pt x="40" y="111"/>
                </a:cubicBezTo>
                <a:cubicBezTo>
                  <a:pt x="38" y="112"/>
                  <a:pt x="36" y="116"/>
                  <a:pt x="33" y="121"/>
                </a:cubicBezTo>
                <a:cubicBezTo>
                  <a:pt x="30" y="127"/>
                  <a:pt x="27" y="131"/>
                  <a:pt x="24" y="133"/>
                </a:cubicBezTo>
                <a:cubicBezTo>
                  <a:pt x="22" y="135"/>
                  <a:pt x="19" y="136"/>
                  <a:pt x="16" y="136"/>
                </a:cubicBezTo>
                <a:cubicBezTo>
                  <a:pt x="11" y="136"/>
                  <a:pt x="7" y="134"/>
                  <a:pt x="4" y="131"/>
                </a:cubicBezTo>
                <a:cubicBezTo>
                  <a:pt x="1" y="127"/>
                  <a:pt x="0" y="123"/>
                  <a:pt x="0" y="117"/>
                </a:cubicBezTo>
                <a:cubicBezTo>
                  <a:pt x="0" y="115"/>
                  <a:pt x="0" y="113"/>
                  <a:pt x="1" y="110"/>
                </a:cubicBezTo>
                <a:cubicBezTo>
                  <a:pt x="1" y="107"/>
                  <a:pt x="2" y="105"/>
                  <a:pt x="3" y="104"/>
                </a:cubicBezTo>
                <a:close/>
                <a:moveTo>
                  <a:pt x="5" y="150"/>
                </a:moveTo>
                <a:cubicBezTo>
                  <a:pt x="5" y="186"/>
                  <a:pt x="5" y="186"/>
                  <a:pt x="5" y="186"/>
                </a:cubicBezTo>
                <a:cubicBezTo>
                  <a:pt x="1" y="186"/>
                  <a:pt x="1" y="186"/>
                  <a:pt x="1" y="186"/>
                </a:cubicBezTo>
                <a:cubicBezTo>
                  <a:pt x="1" y="144"/>
                  <a:pt x="1" y="144"/>
                  <a:pt x="1" y="144"/>
                </a:cubicBezTo>
                <a:cubicBezTo>
                  <a:pt x="2" y="144"/>
                  <a:pt x="2" y="144"/>
                  <a:pt x="2" y="144"/>
                </a:cubicBezTo>
                <a:cubicBezTo>
                  <a:pt x="58" y="180"/>
                  <a:pt x="58" y="180"/>
                  <a:pt x="58" y="180"/>
                </a:cubicBezTo>
                <a:cubicBezTo>
                  <a:pt x="58" y="146"/>
                  <a:pt x="58" y="146"/>
                  <a:pt x="58" y="146"/>
                </a:cubicBezTo>
                <a:cubicBezTo>
                  <a:pt x="62" y="146"/>
                  <a:pt x="62" y="146"/>
                  <a:pt x="62" y="146"/>
                </a:cubicBezTo>
                <a:cubicBezTo>
                  <a:pt x="62" y="187"/>
                  <a:pt x="62" y="187"/>
                  <a:pt x="62" y="187"/>
                </a:cubicBezTo>
                <a:cubicBezTo>
                  <a:pt x="60" y="187"/>
                  <a:pt x="60" y="187"/>
                  <a:pt x="60" y="187"/>
                </a:cubicBezTo>
                <a:lnTo>
                  <a:pt x="5" y="150"/>
                </a:lnTo>
                <a:close/>
                <a:moveTo>
                  <a:pt x="54" y="203"/>
                </a:moveTo>
                <a:cubicBezTo>
                  <a:pt x="48" y="197"/>
                  <a:pt x="40" y="195"/>
                  <a:pt x="31" y="195"/>
                </a:cubicBezTo>
                <a:cubicBezTo>
                  <a:pt x="22" y="195"/>
                  <a:pt x="14" y="197"/>
                  <a:pt x="8" y="202"/>
                </a:cubicBezTo>
                <a:cubicBezTo>
                  <a:pt x="3" y="207"/>
                  <a:pt x="0" y="214"/>
                  <a:pt x="0" y="223"/>
                </a:cubicBezTo>
                <a:cubicBezTo>
                  <a:pt x="0" y="232"/>
                  <a:pt x="3" y="239"/>
                  <a:pt x="8" y="244"/>
                </a:cubicBezTo>
                <a:cubicBezTo>
                  <a:pt x="14" y="249"/>
                  <a:pt x="22" y="252"/>
                  <a:pt x="32" y="252"/>
                </a:cubicBezTo>
                <a:cubicBezTo>
                  <a:pt x="41" y="252"/>
                  <a:pt x="49" y="249"/>
                  <a:pt x="54" y="244"/>
                </a:cubicBezTo>
                <a:cubicBezTo>
                  <a:pt x="60" y="239"/>
                  <a:pt x="63" y="232"/>
                  <a:pt x="63" y="224"/>
                </a:cubicBezTo>
                <a:cubicBezTo>
                  <a:pt x="63" y="215"/>
                  <a:pt x="60" y="208"/>
                  <a:pt x="54" y="203"/>
                </a:cubicBezTo>
                <a:close/>
                <a:moveTo>
                  <a:pt x="52" y="241"/>
                </a:moveTo>
                <a:cubicBezTo>
                  <a:pt x="47" y="245"/>
                  <a:pt x="40" y="247"/>
                  <a:pt x="32" y="247"/>
                </a:cubicBezTo>
                <a:cubicBezTo>
                  <a:pt x="23" y="247"/>
                  <a:pt x="16" y="245"/>
                  <a:pt x="11" y="241"/>
                </a:cubicBezTo>
                <a:cubicBezTo>
                  <a:pt x="6" y="236"/>
                  <a:pt x="4" y="230"/>
                  <a:pt x="4" y="223"/>
                </a:cubicBezTo>
                <a:cubicBezTo>
                  <a:pt x="4" y="216"/>
                  <a:pt x="6" y="210"/>
                  <a:pt x="11" y="206"/>
                </a:cubicBezTo>
                <a:cubicBezTo>
                  <a:pt x="16" y="201"/>
                  <a:pt x="23" y="199"/>
                  <a:pt x="31" y="199"/>
                </a:cubicBezTo>
                <a:cubicBezTo>
                  <a:pt x="39" y="199"/>
                  <a:pt x="46" y="201"/>
                  <a:pt x="51" y="206"/>
                </a:cubicBezTo>
                <a:cubicBezTo>
                  <a:pt x="56" y="210"/>
                  <a:pt x="59" y="216"/>
                  <a:pt x="59" y="223"/>
                </a:cubicBezTo>
                <a:cubicBezTo>
                  <a:pt x="59" y="231"/>
                  <a:pt x="56" y="237"/>
                  <a:pt x="52" y="241"/>
                </a:cubicBezTo>
                <a:close/>
                <a:moveTo>
                  <a:pt x="66" y="216"/>
                </a:moveTo>
                <a:cubicBezTo>
                  <a:pt x="66" y="215"/>
                  <a:pt x="66" y="215"/>
                  <a:pt x="67" y="214"/>
                </a:cubicBezTo>
                <a:cubicBezTo>
                  <a:pt x="67" y="214"/>
                  <a:pt x="68" y="213"/>
                  <a:pt x="69" y="213"/>
                </a:cubicBezTo>
                <a:cubicBezTo>
                  <a:pt x="70" y="213"/>
                  <a:pt x="70" y="214"/>
                  <a:pt x="71" y="214"/>
                </a:cubicBezTo>
                <a:cubicBezTo>
                  <a:pt x="71" y="215"/>
                  <a:pt x="72" y="215"/>
                  <a:pt x="72" y="216"/>
                </a:cubicBezTo>
                <a:cubicBezTo>
                  <a:pt x="72" y="217"/>
                  <a:pt x="71" y="218"/>
                  <a:pt x="71" y="218"/>
                </a:cubicBezTo>
                <a:cubicBezTo>
                  <a:pt x="70" y="219"/>
                  <a:pt x="70" y="219"/>
                  <a:pt x="69" y="219"/>
                </a:cubicBezTo>
                <a:cubicBezTo>
                  <a:pt x="68" y="219"/>
                  <a:pt x="67" y="219"/>
                  <a:pt x="67" y="218"/>
                </a:cubicBezTo>
                <a:cubicBezTo>
                  <a:pt x="66" y="218"/>
                  <a:pt x="66" y="217"/>
                  <a:pt x="66" y="216"/>
                </a:cubicBezTo>
                <a:close/>
                <a:moveTo>
                  <a:pt x="66" y="230"/>
                </a:moveTo>
                <a:cubicBezTo>
                  <a:pt x="66" y="230"/>
                  <a:pt x="66" y="229"/>
                  <a:pt x="67" y="228"/>
                </a:cubicBezTo>
                <a:cubicBezTo>
                  <a:pt x="67" y="228"/>
                  <a:pt x="68" y="227"/>
                  <a:pt x="69" y="227"/>
                </a:cubicBezTo>
                <a:cubicBezTo>
                  <a:pt x="70" y="227"/>
                  <a:pt x="70" y="228"/>
                  <a:pt x="71" y="228"/>
                </a:cubicBezTo>
                <a:cubicBezTo>
                  <a:pt x="71" y="229"/>
                  <a:pt x="72" y="230"/>
                  <a:pt x="72" y="230"/>
                </a:cubicBezTo>
                <a:cubicBezTo>
                  <a:pt x="72" y="231"/>
                  <a:pt x="71" y="232"/>
                  <a:pt x="71" y="232"/>
                </a:cubicBezTo>
                <a:cubicBezTo>
                  <a:pt x="70" y="233"/>
                  <a:pt x="70" y="233"/>
                  <a:pt x="69" y="233"/>
                </a:cubicBezTo>
                <a:cubicBezTo>
                  <a:pt x="68" y="233"/>
                  <a:pt x="67" y="233"/>
                  <a:pt x="67" y="233"/>
                </a:cubicBezTo>
                <a:cubicBezTo>
                  <a:pt x="66" y="232"/>
                  <a:pt x="66" y="231"/>
                  <a:pt x="66" y="230"/>
                </a:cubicBezTo>
                <a:close/>
                <a:moveTo>
                  <a:pt x="1" y="307"/>
                </a:moveTo>
                <a:cubicBezTo>
                  <a:pt x="50" y="271"/>
                  <a:pt x="50" y="271"/>
                  <a:pt x="50" y="271"/>
                </a:cubicBezTo>
                <a:cubicBezTo>
                  <a:pt x="51" y="270"/>
                  <a:pt x="52" y="269"/>
                  <a:pt x="53" y="269"/>
                </a:cubicBezTo>
                <a:cubicBezTo>
                  <a:pt x="54" y="268"/>
                  <a:pt x="54" y="268"/>
                  <a:pt x="54" y="268"/>
                </a:cubicBezTo>
                <a:cubicBezTo>
                  <a:pt x="54" y="268"/>
                  <a:pt x="54" y="268"/>
                  <a:pt x="54" y="268"/>
                </a:cubicBezTo>
                <a:cubicBezTo>
                  <a:pt x="53" y="268"/>
                  <a:pt x="52" y="268"/>
                  <a:pt x="51" y="268"/>
                </a:cubicBezTo>
                <a:cubicBezTo>
                  <a:pt x="1" y="268"/>
                  <a:pt x="1" y="268"/>
                  <a:pt x="1" y="268"/>
                </a:cubicBezTo>
                <a:cubicBezTo>
                  <a:pt x="1" y="264"/>
                  <a:pt x="1" y="264"/>
                  <a:pt x="1" y="264"/>
                </a:cubicBezTo>
                <a:cubicBezTo>
                  <a:pt x="62" y="264"/>
                  <a:pt x="62" y="264"/>
                  <a:pt x="62" y="264"/>
                </a:cubicBezTo>
                <a:cubicBezTo>
                  <a:pt x="62" y="267"/>
                  <a:pt x="62" y="267"/>
                  <a:pt x="62" y="267"/>
                </a:cubicBezTo>
                <a:cubicBezTo>
                  <a:pt x="13" y="303"/>
                  <a:pt x="13" y="303"/>
                  <a:pt x="13" y="303"/>
                </a:cubicBezTo>
                <a:cubicBezTo>
                  <a:pt x="12" y="304"/>
                  <a:pt x="11" y="305"/>
                  <a:pt x="9" y="306"/>
                </a:cubicBezTo>
                <a:cubicBezTo>
                  <a:pt x="9" y="306"/>
                  <a:pt x="9" y="306"/>
                  <a:pt x="9" y="306"/>
                </a:cubicBezTo>
                <a:cubicBezTo>
                  <a:pt x="11" y="306"/>
                  <a:pt x="13" y="306"/>
                  <a:pt x="14" y="306"/>
                </a:cubicBezTo>
                <a:cubicBezTo>
                  <a:pt x="62" y="306"/>
                  <a:pt x="62" y="306"/>
                  <a:pt x="62" y="306"/>
                </a:cubicBezTo>
                <a:cubicBezTo>
                  <a:pt x="62" y="310"/>
                  <a:pt x="62" y="310"/>
                  <a:pt x="62" y="310"/>
                </a:cubicBezTo>
                <a:cubicBezTo>
                  <a:pt x="1" y="310"/>
                  <a:pt x="1" y="310"/>
                  <a:pt x="1" y="310"/>
                </a:cubicBezTo>
                <a:lnTo>
                  <a:pt x="1" y="307"/>
                </a:lnTo>
                <a:close/>
                <a:moveTo>
                  <a:pt x="54" y="330"/>
                </a:moveTo>
                <a:cubicBezTo>
                  <a:pt x="48" y="325"/>
                  <a:pt x="40" y="322"/>
                  <a:pt x="31" y="322"/>
                </a:cubicBezTo>
                <a:cubicBezTo>
                  <a:pt x="22" y="322"/>
                  <a:pt x="14" y="325"/>
                  <a:pt x="8" y="330"/>
                </a:cubicBezTo>
                <a:cubicBezTo>
                  <a:pt x="3" y="335"/>
                  <a:pt x="0" y="342"/>
                  <a:pt x="0" y="350"/>
                </a:cubicBezTo>
                <a:cubicBezTo>
                  <a:pt x="0" y="359"/>
                  <a:pt x="3" y="366"/>
                  <a:pt x="8" y="371"/>
                </a:cubicBezTo>
                <a:cubicBezTo>
                  <a:pt x="14" y="376"/>
                  <a:pt x="22" y="379"/>
                  <a:pt x="32" y="379"/>
                </a:cubicBezTo>
                <a:cubicBezTo>
                  <a:pt x="41" y="379"/>
                  <a:pt x="49" y="376"/>
                  <a:pt x="54" y="371"/>
                </a:cubicBezTo>
                <a:cubicBezTo>
                  <a:pt x="60" y="366"/>
                  <a:pt x="63" y="360"/>
                  <a:pt x="63" y="351"/>
                </a:cubicBezTo>
                <a:cubicBezTo>
                  <a:pt x="63" y="342"/>
                  <a:pt x="60" y="335"/>
                  <a:pt x="54" y="330"/>
                </a:cubicBezTo>
                <a:close/>
                <a:moveTo>
                  <a:pt x="52" y="368"/>
                </a:moveTo>
                <a:cubicBezTo>
                  <a:pt x="47" y="372"/>
                  <a:pt x="40" y="375"/>
                  <a:pt x="32" y="375"/>
                </a:cubicBezTo>
                <a:cubicBezTo>
                  <a:pt x="23" y="375"/>
                  <a:pt x="16" y="372"/>
                  <a:pt x="11" y="368"/>
                </a:cubicBezTo>
                <a:cubicBezTo>
                  <a:pt x="6" y="364"/>
                  <a:pt x="4" y="358"/>
                  <a:pt x="4" y="350"/>
                </a:cubicBezTo>
                <a:cubicBezTo>
                  <a:pt x="4" y="343"/>
                  <a:pt x="6" y="337"/>
                  <a:pt x="11" y="333"/>
                </a:cubicBezTo>
                <a:cubicBezTo>
                  <a:pt x="16" y="329"/>
                  <a:pt x="23" y="327"/>
                  <a:pt x="31" y="327"/>
                </a:cubicBezTo>
                <a:cubicBezTo>
                  <a:pt x="39" y="327"/>
                  <a:pt x="46" y="329"/>
                  <a:pt x="51" y="333"/>
                </a:cubicBezTo>
                <a:cubicBezTo>
                  <a:pt x="56" y="338"/>
                  <a:pt x="59" y="344"/>
                  <a:pt x="59" y="351"/>
                </a:cubicBezTo>
                <a:cubicBezTo>
                  <a:pt x="59" y="358"/>
                  <a:pt x="56" y="364"/>
                  <a:pt x="52" y="368"/>
                </a:cubicBezTo>
                <a:close/>
                <a:moveTo>
                  <a:pt x="66" y="344"/>
                </a:moveTo>
                <a:cubicBezTo>
                  <a:pt x="66" y="343"/>
                  <a:pt x="66" y="342"/>
                  <a:pt x="67" y="342"/>
                </a:cubicBezTo>
                <a:cubicBezTo>
                  <a:pt x="67" y="341"/>
                  <a:pt x="68" y="341"/>
                  <a:pt x="69" y="341"/>
                </a:cubicBezTo>
                <a:cubicBezTo>
                  <a:pt x="70" y="341"/>
                  <a:pt x="70" y="341"/>
                  <a:pt x="71" y="342"/>
                </a:cubicBezTo>
                <a:cubicBezTo>
                  <a:pt x="71" y="342"/>
                  <a:pt x="72" y="343"/>
                  <a:pt x="72" y="344"/>
                </a:cubicBezTo>
                <a:cubicBezTo>
                  <a:pt x="72" y="344"/>
                  <a:pt x="71" y="345"/>
                  <a:pt x="71" y="346"/>
                </a:cubicBezTo>
                <a:cubicBezTo>
                  <a:pt x="70" y="346"/>
                  <a:pt x="70" y="347"/>
                  <a:pt x="69" y="347"/>
                </a:cubicBezTo>
                <a:cubicBezTo>
                  <a:pt x="68" y="347"/>
                  <a:pt x="67" y="346"/>
                  <a:pt x="67" y="346"/>
                </a:cubicBezTo>
                <a:cubicBezTo>
                  <a:pt x="66" y="345"/>
                  <a:pt x="66" y="345"/>
                  <a:pt x="66" y="344"/>
                </a:cubicBezTo>
                <a:close/>
                <a:moveTo>
                  <a:pt x="66" y="358"/>
                </a:moveTo>
                <a:cubicBezTo>
                  <a:pt x="66" y="357"/>
                  <a:pt x="66" y="356"/>
                  <a:pt x="67" y="356"/>
                </a:cubicBezTo>
                <a:cubicBezTo>
                  <a:pt x="67" y="355"/>
                  <a:pt x="68" y="355"/>
                  <a:pt x="69" y="355"/>
                </a:cubicBezTo>
                <a:cubicBezTo>
                  <a:pt x="70" y="355"/>
                  <a:pt x="70" y="355"/>
                  <a:pt x="71" y="356"/>
                </a:cubicBezTo>
                <a:cubicBezTo>
                  <a:pt x="71" y="356"/>
                  <a:pt x="72" y="357"/>
                  <a:pt x="72" y="358"/>
                </a:cubicBezTo>
                <a:cubicBezTo>
                  <a:pt x="72" y="359"/>
                  <a:pt x="71" y="359"/>
                  <a:pt x="71" y="360"/>
                </a:cubicBezTo>
                <a:cubicBezTo>
                  <a:pt x="70" y="361"/>
                  <a:pt x="70" y="361"/>
                  <a:pt x="69" y="361"/>
                </a:cubicBezTo>
                <a:cubicBezTo>
                  <a:pt x="68" y="361"/>
                  <a:pt x="67" y="361"/>
                  <a:pt x="67" y="360"/>
                </a:cubicBezTo>
                <a:cubicBezTo>
                  <a:pt x="66" y="359"/>
                  <a:pt x="66" y="359"/>
                  <a:pt x="66" y="358"/>
                </a:cubicBezTo>
                <a:close/>
                <a:moveTo>
                  <a:pt x="1" y="444"/>
                </a:moveTo>
                <a:cubicBezTo>
                  <a:pt x="44" y="444"/>
                  <a:pt x="44" y="444"/>
                  <a:pt x="44" y="444"/>
                </a:cubicBezTo>
                <a:cubicBezTo>
                  <a:pt x="45" y="444"/>
                  <a:pt x="48" y="444"/>
                  <a:pt x="53" y="444"/>
                </a:cubicBezTo>
                <a:cubicBezTo>
                  <a:pt x="53" y="444"/>
                  <a:pt x="53" y="444"/>
                  <a:pt x="53" y="444"/>
                </a:cubicBezTo>
                <a:cubicBezTo>
                  <a:pt x="51" y="443"/>
                  <a:pt x="49" y="443"/>
                  <a:pt x="48" y="442"/>
                </a:cubicBezTo>
                <a:cubicBezTo>
                  <a:pt x="1" y="420"/>
                  <a:pt x="1" y="420"/>
                  <a:pt x="1" y="420"/>
                </a:cubicBezTo>
                <a:cubicBezTo>
                  <a:pt x="1" y="419"/>
                  <a:pt x="1" y="419"/>
                  <a:pt x="1" y="419"/>
                </a:cubicBezTo>
                <a:cubicBezTo>
                  <a:pt x="47" y="397"/>
                  <a:pt x="47" y="397"/>
                  <a:pt x="47" y="397"/>
                </a:cubicBezTo>
                <a:cubicBezTo>
                  <a:pt x="49" y="397"/>
                  <a:pt x="51" y="396"/>
                  <a:pt x="53" y="395"/>
                </a:cubicBezTo>
                <a:cubicBezTo>
                  <a:pt x="53" y="395"/>
                  <a:pt x="53" y="395"/>
                  <a:pt x="53" y="395"/>
                </a:cubicBezTo>
                <a:cubicBezTo>
                  <a:pt x="50" y="395"/>
                  <a:pt x="48" y="396"/>
                  <a:pt x="45" y="396"/>
                </a:cubicBezTo>
                <a:cubicBezTo>
                  <a:pt x="1" y="396"/>
                  <a:pt x="1" y="396"/>
                  <a:pt x="1" y="396"/>
                </a:cubicBezTo>
                <a:cubicBezTo>
                  <a:pt x="1" y="391"/>
                  <a:pt x="1" y="391"/>
                  <a:pt x="1" y="391"/>
                </a:cubicBezTo>
                <a:cubicBezTo>
                  <a:pt x="62" y="391"/>
                  <a:pt x="62" y="391"/>
                  <a:pt x="62" y="391"/>
                </a:cubicBezTo>
                <a:cubicBezTo>
                  <a:pt x="62" y="395"/>
                  <a:pt x="62" y="395"/>
                  <a:pt x="62" y="395"/>
                </a:cubicBezTo>
                <a:cubicBezTo>
                  <a:pt x="13" y="418"/>
                  <a:pt x="13" y="418"/>
                  <a:pt x="13" y="418"/>
                </a:cubicBezTo>
                <a:cubicBezTo>
                  <a:pt x="12" y="418"/>
                  <a:pt x="12" y="418"/>
                  <a:pt x="12" y="418"/>
                </a:cubicBezTo>
                <a:cubicBezTo>
                  <a:pt x="11" y="419"/>
                  <a:pt x="11" y="419"/>
                  <a:pt x="10" y="419"/>
                </a:cubicBezTo>
                <a:cubicBezTo>
                  <a:pt x="9" y="419"/>
                  <a:pt x="9" y="419"/>
                  <a:pt x="8" y="420"/>
                </a:cubicBezTo>
                <a:cubicBezTo>
                  <a:pt x="8" y="420"/>
                  <a:pt x="8" y="420"/>
                  <a:pt x="8" y="420"/>
                </a:cubicBezTo>
                <a:cubicBezTo>
                  <a:pt x="9" y="421"/>
                  <a:pt x="9" y="421"/>
                  <a:pt x="9" y="421"/>
                </a:cubicBezTo>
                <a:cubicBezTo>
                  <a:pt x="9" y="421"/>
                  <a:pt x="10" y="421"/>
                  <a:pt x="13" y="422"/>
                </a:cubicBezTo>
                <a:cubicBezTo>
                  <a:pt x="62" y="444"/>
                  <a:pt x="62" y="444"/>
                  <a:pt x="62" y="444"/>
                </a:cubicBezTo>
                <a:cubicBezTo>
                  <a:pt x="62" y="448"/>
                  <a:pt x="62" y="448"/>
                  <a:pt x="62" y="448"/>
                </a:cubicBezTo>
                <a:cubicBezTo>
                  <a:pt x="1" y="448"/>
                  <a:pt x="1" y="448"/>
                  <a:pt x="1" y="448"/>
                </a:cubicBezTo>
                <a:lnTo>
                  <a:pt x="1" y="444"/>
                </a:lnTo>
                <a:close/>
              </a:path>
            </a:pathLst>
          </a:custGeom>
          <a:solidFill>
            <a:srgbClr val="FF5C39"/>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7" name="Freeform 252">
            <a:extLst>
              <a:ext uri="{FF2B5EF4-FFF2-40B4-BE49-F238E27FC236}">
                <a16:creationId xmlns:a16="http://schemas.microsoft.com/office/drawing/2014/main" id="{F02F1339-3011-38D3-BE70-8EE946D520C6}"/>
              </a:ext>
              <a:ext uri="{C183D7F6-B498-43B3-948B-1728B52AA6E4}">
                <adec:decorative xmlns:adec="http://schemas.microsoft.com/office/drawing/2017/decorative" val="1"/>
              </a:ext>
            </a:extLst>
          </p:cNvPr>
          <p:cNvSpPr>
            <a:spLocks noEditPoints="1"/>
          </p:cNvSpPr>
          <p:nvPr userDrawn="1"/>
        </p:nvSpPr>
        <p:spPr bwMode="auto">
          <a:xfrm rot="16200000">
            <a:off x="6854383" y="5099479"/>
            <a:ext cx="267154" cy="1080177"/>
          </a:xfrm>
          <a:custGeom>
            <a:avLst/>
            <a:gdLst>
              <a:gd name="T0" fmla="*/ 0 w 88"/>
              <a:gd name="T1" fmla="*/ 31 h 355"/>
              <a:gd name="T2" fmla="*/ 33 w 88"/>
              <a:gd name="T3" fmla="*/ 0 h 355"/>
              <a:gd name="T4" fmla="*/ 69 w 88"/>
              <a:gd name="T5" fmla="*/ 34 h 355"/>
              <a:gd name="T6" fmla="*/ 62 w 88"/>
              <a:gd name="T7" fmla="*/ 49 h 355"/>
              <a:gd name="T8" fmla="*/ 56 w 88"/>
              <a:gd name="T9" fmla="*/ 13 h 355"/>
              <a:gd name="T10" fmla="*/ 12 w 88"/>
              <a:gd name="T11" fmla="*/ 13 h 355"/>
              <a:gd name="T12" fmla="*/ 7 w 88"/>
              <a:gd name="T13" fmla="*/ 49 h 355"/>
              <a:gd name="T14" fmla="*/ 1 w 88"/>
              <a:gd name="T15" fmla="*/ 58 h 355"/>
              <a:gd name="T16" fmla="*/ 22 w 88"/>
              <a:gd name="T17" fmla="*/ 70 h 355"/>
              <a:gd name="T18" fmla="*/ 1 w 88"/>
              <a:gd name="T19" fmla="*/ 107 h 355"/>
              <a:gd name="T20" fmla="*/ 68 w 88"/>
              <a:gd name="T21" fmla="*/ 87 h 355"/>
              <a:gd name="T22" fmla="*/ 1 w 88"/>
              <a:gd name="T23" fmla="*/ 58 h 355"/>
              <a:gd name="T24" fmla="*/ 60 w 88"/>
              <a:gd name="T25" fmla="*/ 86 h 355"/>
              <a:gd name="T26" fmla="*/ 26 w 88"/>
              <a:gd name="T27" fmla="*/ 98 h 355"/>
              <a:gd name="T28" fmla="*/ 57 w 88"/>
              <a:gd name="T29" fmla="*/ 83 h 355"/>
              <a:gd name="T30" fmla="*/ 73 w 88"/>
              <a:gd name="T31" fmla="*/ 81 h 355"/>
              <a:gd name="T32" fmla="*/ 88 w 88"/>
              <a:gd name="T33" fmla="*/ 88 h 355"/>
              <a:gd name="T34" fmla="*/ 73 w 88"/>
              <a:gd name="T35" fmla="*/ 81 h 355"/>
              <a:gd name="T36" fmla="*/ 49 w 88"/>
              <a:gd name="T37" fmla="*/ 183 h 355"/>
              <a:gd name="T38" fmla="*/ 58 w 88"/>
              <a:gd name="T39" fmla="*/ 183 h 355"/>
              <a:gd name="T40" fmla="*/ 1 w 88"/>
              <a:gd name="T41" fmla="*/ 156 h 355"/>
              <a:gd name="T42" fmla="*/ 52 w 88"/>
              <a:gd name="T43" fmla="*/ 131 h 355"/>
              <a:gd name="T44" fmla="*/ 59 w 88"/>
              <a:gd name="T45" fmla="*/ 128 h 355"/>
              <a:gd name="T46" fmla="*/ 1 w 88"/>
              <a:gd name="T47" fmla="*/ 129 h 355"/>
              <a:gd name="T48" fmla="*/ 68 w 88"/>
              <a:gd name="T49" fmla="*/ 124 h 355"/>
              <a:gd name="T50" fmla="*/ 14 w 88"/>
              <a:gd name="T51" fmla="*/ 154 h 355"/>
              <a:gd name="T52" fmla="*/ 11 w 88"/>
              <a:gd name="T53" fmla="*/ 155 h 355"/>
              <a:gd name="T54" fmla="*/ 8 w 88"/>
              <a:gd name="T55" fmla="*/ 156 h 355"/>
              <a:gd name="T56" fmla="*/ 14 w 88"/>
              <a:gd name="T57" fmla="*/ 158 h 355"/>
              <a:gd name="T58" fmla="*/ 68 w 88"/>
              <a:gd name="T59" fmla="*/ 187 h 355"/>
              <a:gd name="T60" fmla="*/ 1 w 88"/>
              <a:gd name="T61" fmla="*/ 183 h 355"/>
              <a:gd name="T62" fmla="*/ 67 w 88"/>
              <a:gd name="T63" fmla="*/ 291 h 355"/>
              <a:gd name="T64" fmla="*/ 64 w 88"/>
              <a:gd name="T65" fmla="*/ 286 h 355"/>
              <a:gd name="T66" fmla="*/ 64 w 88"/>
              <a:gd name="T67" fmla="*/ 280 h 355"/>
              <a:gd name="T68" fmla="*/ 69 w 88"/>
              <a:gd name="T69" fmla="*/ 260 h 355"/>
              <a:gd name="T70" fmla="*/ 60 w 88"/>
              <a:gd name="T71" fmla="*/ 236 h 355"/>
              <a:gd name="T72" fmla="*/ 34 w 88"/>
              <a:gd name="T73" fmla="*/ 227 h 355"/>
              <a:gd name="T74" fmla="*/ 9 w 88"/>
              <a:gd name="T75" fmla="*/ 236 h 355"/>
              <a:gd name="T76" fmla="*/ 0 w 88"/>
              <a:gd name="T77" fmla="*/ 258 h 355"/>
              <a:gd name="T78" fmla="*/ 9 w 88"/>
              <a:gd name="T79" fmla="*/ 282 h 355"/>
              <a:gd name="T80" fmla="*/ 35 w 88"/>
              <a:gd name="T81" fmla="*/ 290 h 355"/>
              <a:gd name="T82" fmla="*/ 60 w 88"/>
              <a:gd name="T83" fmla="*/ 284 h 355"/>
              <a:gd name="T84" fmla="*/ 70 w 88"/>
              <a:gd name="T85" fmla="*/ 296 h 355"/>
              <a:gd name="T86" fmla="*/ 76 w 88"/>
              <a:gd name="T87" fmla="*/ 295 h 355"/>
              <a:gd name="T88" fmla="*/ 70 w 88"/>
              <a:gd name="T89" fmla="*/ 291 h 355"/>
              <a:gd name="T90" fmla="*/ 47 w 88"/>
              <a:gd name="T91" fmla="*/ 284 h 355"/>
              <a:gd name="T92" fmla="*/ 22 w 88"/>
              <a:gd name="T93" fmla="*/ 284 h 355"/>
              <a:gd name="T94" fmla="*/ 6 w 88"/>
              <a:gd name="T95" fmla="*/ 270 h 355"/>
              <a:gd name="T96" fmla="*/ 6 w 88"/>
              <a:gd name="T97" fmla="*/ 247 h 355"/>
              <a:gd name="T98" fmla="*/ 22 w 88"/>
              <a:gd name="T99" fmla="*/ 234 h 355"/>
              <a:gd name="T100" fmla="*/ 47 w 88"/>
              <a:gd name="T101" fmla="*/ 234 h 355"/>
              <a:gd name="T102" fmla="*/ 63 w 88"/>
              <a:gd name="T103" fmla="*/ 248 h 355"/>
              <a:gd name="T104" fmla="*/ 63 w 88"/>
              <a:gd name="T105" fmla="*/ 270 h 355"/>
              <a:gd name="T106" fmla="*/ 1 w 88"/>
              <a:gd name="T107" fmla="*/ 352 h 355"/>
              <a:gd name="T108" fmla="*/ 58 w 88"/>
              <a:gd name="T109" fmla="*/ 309 h 355"/>
              <a:gd name="T110" fmla="*/ 59 w 88"/>
              <a:gd name="T111" fmla="*/ 309 h 355"/>
              <a:gd name="T112" fmla="*/ 1 w 88"/>
              <a:gd name="T113" fmla="*/ 309 h 355"/>
              <a:gd name="T114" fmla="*/ 68 w 88"/>
              <a:gd name="T115" fmla="*/ 304 h 355"/>
              <a:gd name="T116" fmla="*/ 14 w 88"/>
              <a:gd name="T117" fmla="*/ 347 h 355"/>
              <a:gd name="T118" fmla="*/ 10 w 88"/>
              <a:gd name="T119" fmla="*/ 351 h 355"/>
              <a:gd name="T120" fmla="*/ 68 w 88"/>
              <a:gd name="T121" fmla="*/ 350 h 355"/>
              <a:gd name="T122" fmla="*/ 1 w 88"/>
              <a:gd name="T12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355">
                <a:moveTo>
                  <a:pt x="3" y="49"/>
                </a:moveTo>
                <a:cubicBezTo>
                  <a:pt x="1" y="43"/>
                  <a:pt x="0" y="37"/>
                  <a:pt x="0" y="31"/>
                </a:cubicBezTo>
                <a:cubicBezTo>
                  <a:pt x="0" y="22"/>
                  <a:pt x="3" y="15"/>
                  <a:pt x="9" y="9"/>
                </a:cubicBezTo>
                <a:cubicBezTo>
                  <a:pt x="15" y="3"/>
                  <a:pt x="23" y="0"/>
                  <a:pt x="33" y="0"/>
                </a:cubicBezTo>
                <a:cubicBezTo>
                  <a:pt x="44" y="0"/>
                  <a:pt x="53" y="3"/>
                  <a:pt x="59" y="10"/>
                </a:cubicBezTo>
                <a:cubicBezTo>
                  <a:pt x="66" y="16"/>
                  <a:pt x="69" y="24"/>
                  <a:pt x="69" y="34"/>
                </a:cubicBezTo>
                <a:cubicBezTo>
                  <a:pt x="69" y="39"/>
                  <a:pt x="68" y="44"/>
                  <a:pt x="67" y="49"/>
                </a:cubicBezTo>
                <a:cubicBezTo>
                  <a:pt x="62" y="49"/>
                  <a:pt x="62" y="49"/>
                  <a:pt x="62" y="49"/>
                </a:cubicBezTo>
                <a:cubicBezTo>
                  <a:pt x="64" y="44"/>
                  <a:pt x="65" y="39"/>
                  <a:pt x="65" y="34"/>
                </a:cubicBezTo>
                <a:cubicBezTo>
                  <a:pt x="65" y="25"/>
                  <a:pt x="62" y="18"/>
                  <a:pt x="56" y="13"/>
                </a:cubicBezTo>
                <a:cubicBezTo>
                  <a:pt x="51" y="8"/>
                  <a:pt x="43" y="5"/>
                  <a:pt x="34" y="5"/>
                </a:cubicBezTo>
                <a:cubicBezTo>
                  <a:pt x="24" y="5"/>
                  <a:pt x="17" y="7"/>
                  <a:pt x="12" y="13"/>
                </a:cubicBezTo>
                <a:cubicBezTo>
                  <a:pt x="6" y="18"/>
                  <a:pt x="4" y="24"/>
                  <a:pt x="4" y="32"/>
                </a:cubicBezTo>
                <a:cubicBezTo>
                  <a:pt x="4" y="38"/>
                  <a:pt x="5" y="44"/>
                  <a:pt x="7" y="49"/>
                </a:cubicBezTo>
                <a:lnTo>
                  <a:pt x="3" y="49"/>
                </a:lnTo>
                <a:close/>
                <a:moveTo>
                  <a:pt x="1" y="58"/>
                </a:moveTo>
                <a:cubicBezTo>
                  <a:pt x="1" y="63"/>
                  <a:pt x="1" y="63"/>
                  <a:pt x="1" y="63"/>
                </a:cubicBezTo>
                <a:cubicBezTo>
                  <a:pt x="22" y="70"/>
                  <a:pt x="22" y="70"/>
                  <a:pt x="22" y="70"/>
                </a:cubicBezTo>
                <a:cubicBezTo>
                  <a:pt x="22" y="100"/>
                  <a:pt x="22" y="100"/>
                  <a:pt x="22" y="100"/>
                </a:cubicBezTo>
                <a:cubicBezTo>
                  <a:pt x="1" y="107"/>
                  <a:pt x="1" y="107"/>
                  <a:pt x="1" y="107"/>
                </a:cubicBezTo>
                <a:cubicBezTo>
                  <a:pt x="1" y="113"/>
                  <a:pt x="1" y="113"/>
                  <a:pt x="1" y="113"/>
                </a:cubicBezTo>
                <a:cubicBezTo>
                  <a:pt x="68" y="87"/>
                  <a:pt x="68" y="87"/>
                  <a:pt x="68" y="87"/>
                </a:cubicBezTo>
                <a:cubicBezTo>
                  <a:pt x="68" y="83"/>
                  <a:pt x="68" y="83"/>
                  <a:pt x="68" y="83"/>
                </a:cubicBezTo>
                <a:lnTo>
                  <a:pt x="1" y="58"/>
                </a:lnTo>
                <a:close/>
                <a:moveTo>
                  <a:pt x="62" y="85"/>
                </a:moveTo>
                <a:cubicBezTo>
                  <a:pt x="61" y="85"/>
                  <a:pt x="61" y="86"/>
                  <a:pt x="60" y="86"/>
                </a:cubicBezTo>
                <a:cubicBezTo>
                  <a:pt x="59" y="86"/>
                  <a:pt x="58" y="86"/>
                  <a:pt x="57" y="87"/>
                </a:cubicBezTo>
                <a:cubicBezTo>
                  <a:pt x="26" y="98"/>
                  <a:pt x="26" y="98"/>
                  <a:pt x="26" y="98"/>
                </a:cubicBezTo>
                <a:cubicBezTo>
                  <a:pt x="26" y="72"/>
                  <a:pt x="26" y="72"/>
                  <a:pt x="26" y="72"/>
                </a:cubicBezTo>
                <a:cubicBezTo>
                  <a:pt x="57" y="83"/>
                  <a:pt x="57" y="83"/>
                  <a:pt x="57" y="83"/>
                </a:cubicBezTo>
                <a:cubicBezTo>
                  <a:pt x="58" y="84"/>
                  <a:pt x="60" y="84"/>
                  <a:pt x="62" y="85"/>
                </a:cubicBezTo>
                <a:close/>
                <a:moveTo>
                  <a:pt x="73" y="81"/>
                </a:moveTo>
                <a:cubicBezTo>
                  <a:pt x="73" y="77"/>
                  <a:pt x="73" y="77"/>
                  <a:pt x="73" y="77"/>
                </a:cubicBezTo>
                <a:cubicBezTo>
                  <a:pt x="88" y="88"/>
                  <a:pt x="88" y="88"/>
                  <a:pt x="88" y="88"/>
                </a:cubicBezTo>
                <a:cubicBezTo>
                  <a:pt x="88" y="93"/>
                  <a:pt x="88" y="93"/>
                  <a:pt x="88" y="93"/>
                </a:cubicBezTo>
                <a:lnTo>
                  <a:pt x="73" y="81"/>
                </a:lnTo>
                <a:close/>
                <a:moveTo>
                  <a:pt x="1" y="183"/>
                </a:moveTo>
                <a:cubicBezTo>
                  <a:pt x="49" y="183"/>
                  <a:pt x="49" y="183"/>
                  <a:pt x="49" y="183"/>
                </a:cubicBezTo>
                <a:cubicBezTo>
                  <a:pt x="50" y="183"/>
                  <a:pt x="53" y="183"/>
                  <a:pt x="58" y="183"/>
                </a:cubicBezTo>
                <a:cubicBezTo>
                  <a:pt x="58" y="183"/>
                  <a:pt x="58" y="183"/>
                  <a:pt x="58" y="183"/>
                </a:cubicBezTo>
                <a:cubicBezTo>
                  <a:pt x="56" y="182"/>
                  <a:pt x="54" y="181"/>
                  <a:pt x="53" y="180"/>
                </a:cubicBezTo>
                <a:cubicBezTo>
                  <a:pt x="1" y="156"/>
                  <a:pt x="1" y="156"/>
                  <a:pt x="1" y="156"/>
                </a:cubicBezTo>
                <a:cubicBezTo>
                  <a:pt x="1" y="155"/>
                  <a:pt x="1" y="155"/>
                  <a:pt x="1" y="155"/>
                </a:cubicBezTo>
                <a:cubicBezTo>
                  <a:pt x="52" y="131"/>
                  <a:pt x="52" y="131"/>
                  <a:pt x="52" y="131"/>
                </a:cubicBezTo>
                <a:cubicBezTo>
                  <a:pt x="54" y="130"/>
                  <a:pt x="56" y="129"/>
                  <a:pt x="59" y="129"/>
                </a:cubicBezTo>
                <a:cubicBezTo>
                  <a:pt x="59" y="128"/>
                  <a:pt x="59" y="128"/>
                  <a:pt x="59" y="128"/>
                </a:cubicBezTo>
                <a:cubicBezTo>
                  <a:pt x="56" y="129"/>
                  <a:pt x="53" y="129"/>
                  <a:pt x="50" y="129"/>
                </a:cubicBezTo>
                <a:cubicBezTo>
                  <a:pt x="1" y="129"/>
                  <a:pt x="1" y="129"/>
                  <a:pt x="1" y="129"/>
                </a:cubicBezTo>
                <a:cubicBezTo>
                  <a:pt x="1" y="124"/>
                  <a:pt x="1" y="124"/>
                  <a:pt x="1" y="124"/>
                </a:cubicBezTo>
                <a:cubicBezTo>
                  <a:pt x="68" y="124"/>
                  <a:pt x="68" y="124"/>
                  <a:pt x="68" y="124"/>
                </a:cubicBezTo>
                <a:cubicBezTo>
                  <a:pt x="68" y="128"/>
                  <a:pt x="68" y="128"/>
                  <a:pt x="68" y="128"/>
                </a:cubicBezTo>
                <a:cubicBezTo>
                  <a:pt x="14" y="154"/>
                  <a:pt x="14" y="154"/>
                  <a:pt x="14" y="154"/>
                </a:cubicBezTo>
                <a:cubicBezTo>
                  <a:pt x="13" y="154"/>
                  <a:pt x="13" y="154"/>
                  <a:pt x="13" y="154"/>
                </a:cubicBezTo>
                <a:cubicBezTo>
                  <a:pt x="12" y="154"/>
                  <a:pt x="11" y="154"/>
                  <a:pt x="11" y="155"/>
                </a:cubicBezTo>
                <a:cubicBezTo>
                  <a:pt x="10" y="155"/>
                  <a:pt x="9" y="155"/>
                  <a:pt x="8" y="156"/>
                </a:cubicBezTo>
                <a:cubicBezTo>
                  <a:pt x="8" y="156"/>
                  <a:pt x="8" y="156"/>
                  <a:pt x="8" y="156"/>
                </a:cubicBezTo>
                <a:cubicBezTo>
                  <a:pt x="10" y="156"/>
                  <a:pt x="10" y="156"/>
                  <a:pt x="10" y="156"/>
                </a:cubicBezTo>
                <a:cubicBezTo>
                  <a:pt x="10" y="157"/>
                  <a:pt x="11" y="157"/>
                  <a:pt x="14" y="158"/>
                </a:cubicBezTo>
                <a:cubicBezTo>
                  <a:pt x="68" y="183"/>
                  <a:pt x="68" y="183"/>
                  <a:pt x="68" y="183"/>
                </a:cubicBezTo>
                <a:cubicBezTo>
                  <a:pt x="68" y="187"/>
                  <a:pt x="68" y="187"/>
                  <a:pt x="68" y="187"/>
                </a:cubicBezTo>
                <a:cubicBezTo>
                  <a:pt x="1" y="187"/>
                  <a:pt x="1" y="187"/>
                  <a:pt x="1" y="187"/>
                </a:cubicBezTo>
                <a:lnTo>
                  <a:pt x="1" y="183"/>
                </a:lnTo>
                <a:close/>
                <a:moveTo>
                  <a:pt x="70" y="291"/>
                </a:moveTo>
                <a:cubicBezTo>
                  <a:pt x="69" y="291"/>
                  <a:pt x="68" y="291"/>
                  <a:pt x="67" y="291"/>
                </a:cubicBezTo>
                <a:cubicBezTo>
                  <a:pt x="66" y="290"/>
                  <a:pt x="66" y="290"/>
                  <a:pt x="65" y="289"/>
                </a:cubicBezTo>
                <a:cubicBezTo>
                  <a:pt x="65" y="288"/>
                  <a:pt x="64" y="287"/>
                  <a:pt x="64" y="286"/>
                </a:cubicBezTo>
                <a:cubicBezTo>
                  <a:pt x="64" y="285"/>
                  <a:pt x="64" y="284"/>
                  <a:pt x="64" y="282"/>
                </a:cubicBezTo>
                <a:cubicBezTo>
                  <a:pt x="64" y="281"/>
                  <a:pt x="64" y="280"/>
                  <a:pt x="64" y="280"/>
                </a:cubicBezTo>
                <a:cubicBezTo>
                  <a:pt x="64" y="279"/>
                  <a:pt x="64" y="278"/>
                  <a:pt x="64" y="277"/>
                </a:cubicBezTo>
                <a:cubicBezTo>
                  <a:pt x="67" y="272"/>
                  <a:pt x="69" y="267"/>
                  <a:pt x="69" y="260"/>
                </a:cubicBezTo>
                <a:cubicBezTo>
                  <a:pt x="69" y="255"/>
                  <a:pt x="68" y="250"/>
                  <a:pt x="67" y="246"/>
                </a:cubicBezTo>
                <a:cubicBezTo>
                  <a:pt x="65" y="242"/>
                  <a:pt x="63" y="239"/>
                  <a:pt x="60" y="236"/>
                </a:cubicBezTo>
                <a:cubicBezTo>
                  <a:pt x="56" y="233"/>
                  <a:pt x="53" y="231"/>
                  <a:pt x="48" y="229"/>
                </a:cubicBezTo>
                <a:cubicBezTo>
                  <a:pt x="44" y="228"/>
                  <a:pt x="39" y="227"/>
                  <a:pt x="34" y="227"/>
                </a:cubicBezTo>
                <a:cubicBezTo>
                  <a:pt x="29" y="227"/>
                  <a:pt x="24" y="228"/>
                  <a:pt x="20" y="229"/>
                </a:cubicBezTo>
                <a:cubicBezTo>
                  <a:pt x="16" y="231"/>
                  <a:pt x="12" y="233"/>
                  <a:pt x="9" y="236"/>
                </a:cubicBezTo>
                <a:cubicBezTo>
                  <a:pt x="6" y="238"/>
                  <a:pt x="4" y="242"/>
                  <a:pt x="2" y="245"/>
                </a:cubicBezTo>
                <a:cubicBezTo>
                  <a:pt x="0" y="249"/>
                  <a:pt x="0" y="254"/>
                  <a:pt x="0" y="258"/>
                </a:cubicBezTo>
                <a:cubicBezTo>
                  <a:pt x="0" y="263"/>
                  <a:pt x="0" y="268"/>
                  <a:pt x="2" y="271"/>
                </a:cubicBezTo>
                <a:cubicBezTo>
                  <a:pt x="4" y="275"/>
                  <a:pt x="6" y="279"/>
                  <a:pt x="9" y="282"/>
                </a:cubicBezTo>
                <a:cubicBezTo>
                  <a:pt x="12" y="284"/>
                  <a:pt x="16" y="286"/>
                  <a:pt x="20" y="288"/>
                </a:cubicBezTo>
                <a:cubicBezTo>
                  <a:pt x="25" y="289"/>
                  <a:pt x="30" y="290"/>
                  <a:pt x="35" y="290"/>
                </a:cubicBezTo>
                <a:cubicBezTo>
                  <a:pt x="45" y="290"/>
                  <a:pt x="53" y="287"/>
                  <a:pt x="60" y="282"/>
                </a:cubicBezTo>
                <a:cubicBezTo>
                  <a:pt x="60" y="284"/>
                  <a:pt x="60" y="284"/>
                  <a:pt x="60" y="284"/>
                </a:cubicBezTo>
                <a:cubicBezTo>
                  <a:pt x="60" y="288"/>
                  <a:pt x="60" y="291"/>
                  <a:pt x="62" y="293"/>
                </a:cubicBezTo>
                <a:cubicBezTo>
                  <a:pt x="64" y="295"/>
                  <a:pt x="66" y="296"/>
                  <a:pt x="70" y="296"/>
                </a:cubicBezTo>
                <a:cubicBezTo>
                  <a:pt x="71" y="296"/>
                  <a:pt x="72" y="296"/>
                  <a:pt x="73" y="296"/>
                </a:cubicBezTo>
                <a:cubicBezTo>
                  <a:pt x="74" y="295"/>
                  <a:pt x="75" y="295"/>
                  <a:pt x="76" y="295"/>
                </a:cubicBezTo>
                <a:cubicBezTo>
                  <a:pt x="76" y="290"/>
                  <a:pt x="76" y="290"/>
                  <a:pt x="76" y="290"/>
                </a:cubicBezTo>
                <a:cubicBezTo>
                  <a:pt x="74" y="291"/>
                  <a:pt x="72" y="291"/>
                  <a:pt x="70" y="291"/>
                </a:cubicBezTo>
                <a:close/>
                <a:moveTo>
                  <a:pt x="57" y="278"/>
                </a:moveTo>
                <a:cubicBezTo>
                  <a:pt x="54" y="281"/>
                  <a:pt x="51" y="282"/>
                  <a:pt x="47" y="284"/>
                </a:cubicBezTo>
                <a:cubicBezTo>
                  <a:pt x="44" y="285"/>
                  <a:pt x="39" y="285"/>
                  <a:pt x="35" y="285"/>
                </a:cubicBezTo>
                <a:cubicBezTo>
                  <a:pt x="30" y="285"/>
                  <a:pt x="25" y="285"/>
                  <a:pt x="22" y="284"/>
                </a:cubicBezTo>
                <a:cubicBezTo>
                  <a:pt x="18" y="282"/>
                  <a:pt x="15" y="280"/>
                  <a:pt x="12" y="278"/>
                </a:cubicBezTo>
                <a:cubicBezTo>
                  <a:pt x="9" y="276"/>
                  <a:pt x="7" y="273"/>
                  <a:pt x="6" y="270"/>
                </a:cubicBezTo>
                <a:cubicBezTo>
                  <a:pt x="4" y="266"/>
                  <a:pt x="4" y="262"/>
                  <a:pt x="4" y="258"/>
                </a:cubicBezTo>
                <a:cubicBezTo>
                  <a:pt x="4" y="254"/>
                  <a:pt x="5" y="251"/>
                  <a:pt x="6" y="247"/>
                </a:cubicBezTo>
                <a:cubicBezTo>
                  <a:pt x="7" y="244"/>
                  <a:pt x="9" y="241"/>
                  <a:pt x="12" y="239"/>
                </a:cubicBezTo>
                <a:cubicBezTo>
                  <a:pt x="15" y="237"/>
                  <a:pt x="18" y="235"/>
                  <a:pt x="22" y="234"/>
                </a:cubicBezTo>
                <a:cubicBezTo>
                  <a:pt x="25" y="233"/>
                  <a:pt x="30" y="232"/>
                  <a:pt x="34" y="232"/>
                </a:cubicBezTo>
                <a:cubicBezTo>
                  <a:pt x="39" y="232"/>
                  <a:pt x="43" y="233"/>
                  <a:pt x="47" y="234"/>
                </a:cubicBezTo>
                <a:cubicBezTo>
                  <a:pt x="51" y="235"/>
                  <a:pt x="54" y="237"/>
                  <a:pt x="56" y="240"/>
                </a:cubicBezTo>
                <a:cubicBezTo>
                  <a:pt x="59" y="242"/>
                  <a:pt x="61" y="245"/>
                  <a:pt x="63" y="248"/>
                </a:cubicBezTo>
                <a:cubicBezTo>
                  <a:pt x="64" y="251"/>
                  <a:pt x="65" y="255"/>
                  <a:pt x="65" y="259"/>
                </a:cubicBezTo>
                <a:cubicBezTo>
                  <a:pt x="65" y="263"/>
                  <a:pt x="64" y="267"/>
                  <a:pt x="63" y="270"/>
                </a:cubicBezTo>
                <a:cubicBezTo>
                  <a:pt x="62" y="273"/>
                  <a:pt x="60" y="276"/>
                  <a:pt x="57" y="278"/>
                </a:cubicBezTo>
                <a:close/>
                <a:moveTo>
                  <a:pt x="1" y="352"/>
                </a:moveTo>
                <a:cubicBezTo>
                  <a:pt x="55" y="312"/>
                  <a:pt x="55" y="312"/>
                  <a:pt x="55" y="312"/>
                </a:cubicBezTo>
                <a:cubicBezTo>
                  <a:pt x="56" y="311"/>
                  <a:pt x="57" y="310"/>
                  <a:pt x="58" y="309"/>
                </a:cubicBezTo>
                <a:cubicBezTo>
                  <a:pt x="59" y="309"/>
                  <a:pt x="59" y="309"/>
                  <a:pt x="59" y="309"/>
                </a:cubicBezTo>
                <a:cubicBezTo>
                  <a:pt x="59" y="309"/>
                  <a:pt x="59" y="309"/>
                  <a:pt x="59" y="309"/>
                </a:cubicBezTo>
                <a:cubicBezTo>
                  <a:pt x="59" y="309"/>
                  <a:pt x="58" y="309"/>
                  <a:pt x="56" y="309"/>
                </a:cubicBezTo>
                <a:cubicBezTo>
                  <a:pt x="1" y="309"/>
                  <a:pt x="1" y="309"/>
                  <a:pt x="1" y="309"/>
                </a:cubicBezTo>
                <a:cubicBezTo>
                  <a:pt x="1" y="304"/>
                  <a:pt x="1" y="304"/>
                  <a:pt x="1" y="304"/>
                </a:cubicBezTo>
                <a:cubicBezTo>
                  <a:pt x="68" y="304"/>
                  <a:pt x="68" y="304"/>
                  <a:pt x="68" y="304"/>
                </a:cubicBezTo>
                <a:cubicBezTo>
                  <a:pt x="68" y="308"/>
                  <a:pt x="68" y="308"/>
                  <a:pt x="68" y="308"/>
                </a:cubicBezTo>
                <a:cubicBezTo>
                  <a:pt x="14" y="347"/>
                  <a:pt x="14" y="347"/>
                  <a:pt x="14" y="347"/>
                </a:cubicBezTo>
                <a:cubicBezTo>
                  <a:pt x="13" y="348"/>
                  <a:pt x="11" y="349"/>
                  <a:pt x="10" y="350"/>
                </a:cubicBezTo>
                <a:cubicBezTo>
                  <a:pt x="10" y="351"/>
                  <a:pt x="10" y="351"/>
                  <a:pt x="10" y="351"/>
                </a:cubicBezTo>
                <a:cubicBezTo>
                  <a:pt x="12" y="350"/>
                  <a:pt x="14" y="350"/>
                  <a:pt x="15" y="350"/>
                </a:cubicBezTo>
                <a:cubicBezTo>
                  <a:pt x="68" y="350"/>
                  <a:pt x="68" y="350"/>
                  <a:pt x="68" y="350"/>
                </a:cubicBezTo>
                <a:cubicBezTo>
                  <a:pt x="68" y="355"/>
                  <a:pt x="68" y="355"/>
                  <a:pt x="68" y="355"/>
                </a:cubicBezTo>
                <a:cubicBezTo>
                  <a:pt x="1" y="355"/>
                  <a:pt x="1" y="355"/>
                  <a:pt x="1" y="355"/>
                </a:cubicBezTo>
                <a:lnTo>
                  <a:pt x="1" y="352"/>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lumMod val="75000"/>
                  <a:lumOff val="25000"/>
                </a:schemeClr>
              </a:solidFill>
              <a:effectLst/>
              <a:uLnTx/>
              <a:uFillTx/>
              <a:latin typeface="Segoe UI Semilight"/>
              <a:ea typeface="+mn-ea"/>
              <a:cs typeface="+mn-cs"/>
            </a:endParaRPr>
          </a:p>
        </p:txBody>
      </p:sp>
      <p:sp>
        <p:nvSpPr>
          <p:cNvPr id="38" name="Freeform 254">
            <a:extLst>
              <a:ext uri="{FF2B5EF4-FFF2-40B4-BE49-F238E27FC236}">
                <a16:creationId xmlns:a16="http://schemas.microsoft.com/office/drawing/2014/main" id="{15C854D5-15DA-33A7-6D14-682CC797AA6F}"/>
              </a:ext>
              <a:ext uri="{C183D7F6-B498-43B3-948B-1728B52AA6E4}">
                <adec:decorative xmlns:adec="http://schemas.microsoft.com/office/drawing/2017/decorative" val="1"/>
              </a:ext>
            </a:extLst>
          </p:cNvPr>
          <p:cNvSpPr>
            <a:spLocks noEditPoints="1"/>
          </p:cNvSpPr>
          <p:nvPr userDrawn="1"/>
        </p:nvSpPr>
        <p:spPr bwMode="auto">
          <a:xfrm>
            <a:off x="1269635" y="4428592"/>
            <a:ext cx="981279" cy="146420"/>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accent4"/>
              </a:solidFill>
              <a:effectLst/>
              <a:uLnTx/>
              <a:uFillTx/>
              <a:latin typeface="Segoe UI Semilight"/>
              <a:ea typeface="+mn-ea"/>
              <a:cs typeface="+mn-cs"/>
            </a:endParaRPr>
          </a:p>
        </p:txBody>
      </p:sp>
      <p:sp>
        <p:nvSpPr>
          <p:cNvPr id="39" name="Freeform 5">
            <a:extLst>
              <a:ext uri="{FF2B5EF4-FFF2-40B4-BE49-F238E27FC236}">
                <a16:creationId xmlns:a16="http://schemas.microsoft.com/office/drawing/2014/main" id="{6A7C2605-3927-6021-3E38-B3893611E156}"/>
              </a:ext>
              <a:ext uri="{C183D7F6-B498-43B3-948B-1728B52AA6E4}">
                <adec:decorative xmlns:adec="http://schemas.microsoft.com/office/drawing/2017/decorative" val="1"/>
              </a:ext>
            </a:extLst>
          </p:cNvPr>
          <p:cNvSpPr>
            <a:spLocks noEditPoints="1"/>
          </p:cNvSpPr>
          <p:nvPr userDrawn="1"/>
        </p:nvSpPr>
        <p:spPr bwMode="auto">
          <a:xfrm>
            <a:off x="5146839" y="5570034"/>
            <a:ext cx="651189" cy="199082"/>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solidFill>
            <a:schemeClr val="tx2">
              <a:lumMod val="50000"/>
              <a:lumOff val="50000"/>
            </a:scheme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Freeform 235">
            <a:extLst>
              <a:ext uri="{FF2B5EF4-FFF2-40B4-BE49-F238E27FC236}">
                <a16:creationId xmlns:a16="http://schemas.microsoft.com/office/drawing/2014/main" id="{8CA3F55C-D85F-8A32-CFCF-45A917C02E20}"/>
              </a:ext>
              <a:ext uri="{C183D7F6-B498-43B3-948B-1728B52AA6E4}">
                <adec:decorative xmlns:adec="http://schemas.microsoft.com/office/drawing/2017/decorative" val="1"/>
              </a:ext>
            </a:extLst>
          </p:cNvPr>
          <p:cNvSpPr>
            <a:spLocks noEditPoints="1"/>
          </p:cNvSpPr>
          <p:nvPr userDrawn="1"/>
        </p:nvSpPr>
        <p:spPr bwMode="auto">
          <a:xfrm>
            <a:off x="2319405" y="4084404"/>
            <a:ext cx="747519" cy="182384"/>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solidFill>
            <a:schemeClr val="accent4">
              <a:lumMod val="75000"/>
            </a:schemeClr>
          </a:solidFill>
          <a:ln>
            <a:noFill/>
          </a:ln>
        </p:spPr>
        <p:txBody>
          <a:bodyPr vert="horz" wrap="square" lIns="89642" tIns="44821" rIns="89642" bIns="44821" numCol="1" anchor="t" anchorCtr="0" compatLnSpc="1">
            <a:prstTxWarp prst="textNoShape">
              <a:avLst/>
            </a:prstTxWarp>
          </a:bodyPr>
          <a:lstStyle/>
          <a:p>
            <a:pPr defTabSz="914314"/>
            <a:endParaRPr lang="en-US" sz="1200">
              <a:solidFill>
                <a:srgbClr val="000000"/>
              </a:solidFill>
              <a:latin typeface="Segoe UI Semilight"/>
            </a:endParaRPr>
          </a:p>
        </p:txBody>
      </p:sp>
      <p:sp>
        <p:nvSpPr>
          <p:cNvPr id="41" name="TextBox 40">
            <a:extLst>
              <a:ext uri="{FF2B5EF4-FFF2-40B4-BE49-F238E27FC236}">
                <a16:creationId xmlns:a16="http://schemas.microsoft.com/office/drawing/2014/main" id="{4D3CD62F-67EF-6282-A020-C04FBFC60758}"/>
              </a:ext>
              <a:ext uri="{C183D7F6-B498-43B3-948B-1728B52AA6E4}">
                <adec:decorative xmlns:adec="http://schemas.microsoft.com/office/drawing/2017/decorative" val="1"/>
              </a:ext>
            </a:extLst>
          </p:cNvPr>
          <p:cNvSpPr txBox="1"/>
          <p:nvPr userDrawn="1"/>
        </p:nvSpPr>
        <p:spPr>
          <a:xfrm>
            <a:off x="3010944" y="5290674"/>
            <a:ext cx="1703431" cy="644515"/>
          </a:xfrm>
          <a:prstGeom prst="rect">
            <a:avLst/>
          </a:prstGeom>
          <a:noFill/>
        </p:spPr>
        <p:txBody>
          <a:bodyPr wrap="square" lIns="89642" tIns="44821" rIns="89642" bIns="4482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err="1">
                <a:ln>
                  <a:noFill/>
                </a:ln>
                <a:solidFill>
                  <a:schemeClr val="tx2">
                    <a:lumMod val="75000"/>
                    <a:lumOff val="25000"/>
                  </a:schemeClr>
                </a:solidFill>
                <a:effectLst/>
                <a:uLnTx/>
                <a:uFillTx/>
                <a:latin typeface="Calibri" panose="020F0502020204030204"/>
                <a:ea typeface="+mn-ea"/>
                <a:cs typeface="+mn-cs"/>
              </a:rPr>
              <a:t>આભાર</a:t>
            </a:r>
            <a:endParaRPr kumimoji="0" lang="en-US" sz="3600" b="1" i="0" u="none" strike="noStrike" kern="1200" cap="none" spc="0" normalizeH="0" baseline="0" noProof="0">
              <a:ln>
                <a:noFill/>
              </a:ln>
              <a:solidFill>
                <a:schemeClr val="tx2">
                  <a:lumMod val="75000"/>
                  <a:lumOff val="25000"/>
                </a:schemeClr>
              </a:solidFill>
              <a:effectLst/>
              <a:uLnTx/>
              <a:uFillTx/>
              <a:latin typeface="Calibri" panose="020F0502020204030204"/>
              <a:ea typeface="+mn-ea"/>
              <a:cs typeface="Calibri"/>
            </a:endParaRPr>
          </a:p>
        </p:txBody>
      </p:sp>
      <p:sp>
        <p:nvSpPr>
          <p:cNvPr id="42" name="TextBox 41">
            <a:extLst>
              <a:ext uri="{FF2B5EF4-FFF2-40B4-BE49-F238E27FC236}">
                <a16:creationId xmlns:a16="http://schemas.microsoft.com/office/drawing/2014/main" id="{4872435D-61FD-F20B-E459-A012E204A8D6}"/>
              </a:ext>
              <a:ext uri="{C183D7F6-B498-43B3-948B-1728B52AA6E4}">
                <adec:decorative xmlns:adec="http://schemas.microsoft.com/office/drawing/2017/decorative" val="1"/>
              </a:ext>
            </a:extLst>
          </p:cNvPr>
          <p:cNvSpPr txBox="1"/>
          <p:nvPr userDrawn="1"/>
        </p:nvSpPr>
        <p:spPr>
          <a:xfrm>
            <a:off x="9029115" y="4729600"/>
            <a:ext cx="1703431" cy="5931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3200" b="0" i="0" u="none" strike="noStrike" kern="1200" cap="none" spc="0" normalizeH="0" baseline="0" noProof="0">
                <a:ln>
                  <a:noFill/>
                </a:ln>
                <a:solidFill>
                  <a:schemeClr val="tx1">
                    <a:lumMod val="75000"/>
                    <a:lumOff val="25000"/>
                  </a:schemeClr>
                </a:solidFill>
                <a:effectLst/>
                <a:uLnTx/>
                <a:uFillTx/>
                <a:latin typeface="Calibri" panose="020F0502020204030204"/>
                <a:ea typeface="+mn-ea"/>
                <a:cs typeface="Mangal" panose="020B0502040204020203" pitchFamily="18" charset="0"/>
              </a:rPr>
              <a:t>धन्यवाद</a:t>
            </a:r>
            <a:endParaRPr kumimoji="0" lang="en-US" sz="3200" b="0" i="0" u="none" strike="noStrike" kern="1200" cap="none" spc="0" normalizeH="0" baseline="0" noProof="0">
              <a:ln>
                <a:noFill/>
              </a:ln>
              <a:solidFill>
                <a:schemeClr val="tx1">
                  <a:lumMod val="75000"/>
                  <a:lumOff val="25000"/>
                </a:schemeClr>
              </a:solidFill>
              <a:effectLst/>
              <a:uLnTx/>
              <a:uFillTx/>
              <a:latin typeface="Calibri" panose="020F0502020204030204"/>
              <a:ea typeface="+mn-ea"/>
              <a:cs typeface="+mn-cs"/>
            </a:endParaRPr>
          </a:p>
        </p:txBody>
      </p:sp>
      <p:sp>
        <p:nvSpPr>
          <p:cNvPr id="43" name="Text Placeholder 45">
            <a:extLst>
              <a:ext uri="{FF2B5EF4-FFF2-40B4-BE49-F238E27FC236}">
                <a16:creationId xmlns:a16="http://schemas.microsoft.com/office/drawing/2014/main" id="{9895183E-33DC-B462-FC0A-13544DDC8F5D}"/>
              </a:ext>
            </a:extLst>
          </p:cNvPr>
          <p:cNvSpPr>
            <a:spLocks noGrp="1"/>
          </p:cNvSpPr>
          <p:nvPr>
            <p:ph type="body" sz="quarter" idx="10" hasCustomPrompt="1"/>
          </p:nvPr>
        </p:nvSpPr>
        <p:spPr>
          <a:xfrm>
            <a:off x="3356658" y="2875002"/>
            <a:ext cx="5478684" cy="1107996"/>
          </a:xfrm>
        </p:spPr>
        <p:txBody>
          <a:bodyPr/>
          <a:lstStyle>
            <a:lvl1pPr marL="0" indent="0" algn="l" defTabSz="914400" rtl="0" eaLnBrk="1" latinLnBrk="0" hangingPunct="1">
              <a:buNone/>
              <a:defRPr lang="en-US" sz="7200" b="1" kern="1200" dirty="0" smtClean="0">
                <a:ln w="15875">
                  <a:noFill/>
                </a:ln>
                <a:gradFill flip="none" rotWithShape="1">
                  <a:gsLst>
                    <a:gs pos="28000">
                      <a:srgbClr val="5070A6"/>
                    </a:gs>
                    <a:gs pos="99000">
                      <a:schemeClr val="tx2">
                        <a:lumMod val="75000"/>
                      </a:schemeClr>
                    </a:gs>
                  </a:gsLst>
                  <a:path path="circle">
                    <a:fillToRect r="100000" b="100000"/>
                  </a:path>
                  <a:tileRect l="-100000" t="-100000"/>
                </a:gradFill>
                <a:effectLst>
                  <a:outerShdw blurRad="127000" dist="38100" dir="5400000" algn="t" rotWithShape="0">
                    <a:schemeClr val="tx2">
                      <a:lumMod val="50000"/>
                      <a:alpha val="23000"/>
                    </a:schemeClr>
                  </a:outerShdw>
                </a:effectLst>
                <a:latin typeface="+mn-lt"/>
                <a:ea typeface="+mn-ea"/>
                <a:cs typeface="+mn-cs"/>
              </a:defRPr>
            </a:lvl1pPr>
          </a:lstStyle>
          <a:p>
            <a:pPr marL="0" lvl="0" indent="0" algn="ctr" defTabSz="932742" rtl="0" eaLnBrk="1" latinLnBrk="0" hangingPunct="1">
              <a:lnSpc>
                <a:spcPct val="100000"/>
              </a:lnSpc>
              <a:spcBef>
                <a:spcPct val="0"/>
              </a:spcBef>
              <a:buFont typeface="Arial" panose="020B0604020202020204" pitchFamily="34" charset="0"/>
              <a:buNone/>
            </a:pPr>
            <a:r>
              <a:rPr lang="en-US"/>
              <a:t>THANK YOU</a:t>
            </a:r>
          </a:p>
        </p:txBody>
      </p:sp>
    </p:spTree>
    <p:extLst>
      <p:ext uri="{BB962C8B-B14F-4D97-AF65-F5344CB8AC3E}">
        <p14:creationId xmlns:p14="http://schemas.microsoft.com/office/powerpoint/2010/main" val="2658612300"/>
      </p:ext>
    </p:extLst>
  </p:cSld>
  <p:clrMapOvr>
    <a:masterClrMapping/>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EB7F-3245-B3C2-5FAF-91A11F7778F9}"/>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7620"/>
            <a:ext cx="12192000" cy="6858000"/>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0C7CF013-8C62-7B67-1B8B-66E3B4CFB7E5}"/>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F3CB2D9F-955A-AA6A-FEED-C3EBAB5525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37296163"/>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Blank slide custom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EB7F-3245-B3C2-5FAF-91A11F7778F9}"/>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7620"/>
            <a:ext cx="12192000" cy="6858000"/>
          </a:xfrm>
          <a:prstGeom prst="rect">
            <a:avLst/>
          </a:prstGeom>
        </p:spPr>
      </p:pic>
    </p:spTree>
    <p:extLst>
      <p:ext uri="{BB962C8B-B14F-4D97-AF65-F5344CB8AC3E}">
        <p14:creationId xmlns:p14="http://schemas.microsoft.com/office/powerpoint/2010/main" val="2872856587"/>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 uri="{C183D7F6-B498-43B3-948B-1728B52AA6E4}">
                <adec:decorative xmlns:adec="http://schemas.microsoft.com/office/drawing/2017/decorative" val="1"/>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25" name="Rectangle 24">
            <a:extLst>
              <a:ext uri="{FF2B5EF4-FFF2-40B4-BE49-F238E27FC236}">
                <a16:creationId xmlns:a16="http://schemas.microsoft.com/office/drawing/2014/main" id="{CCD19D23-D676-3470-2280-B300E8049402}"/>
              </a:ext>
              <a:ext uri="{C183D7F6-B498-43B3-948B-1728B52AA6E4}">
                <adec:decorative xmlns:adec="http://schemas.microsoft.com/office/drawing/2017/decorative" val="1"/>
              </a:ext>
            </a:extLst>
          </p:cNvPr>
          <p:cNvSpPr/>
          <p:nvPr userDrawn="1"/>
        </p:nvSpPr>
        <p:spPr bwMode="auto">
          <a:xfrm>
            <a:off x="8594106" y="0"/>
            <a:ext cx="3617773" cy="68580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262904" y="245459"/>
            <a:ext cx="8242143"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20" name="Text Placeholder 19">
            <a:extLst>
              <a:ext uri="{FF2B5EF4-FFF2-40B4-BE49-F238E27FC236}">
                <a16:creationId xmlns:a16="http://schemas.microsoft.com/office/drawing/2014/main" id="{195DAF23-F7A1-6D41-E8D1-129D42534A5D}"/>
              </a:ext>
            </a:extLst>
          </p:cNvPr>
          <p:cNvSpPr>
            <a:spLocks noGrp="1"/>
          </p:cNvSpPr>
          <p:nvPr>
            <p:ph type="body" sz="quarter" idx="10"/>
          </p:nvPr>
        </p:nvSpPr>
        <p:spPr>
          <a:xfrm>
            <a:off x="282782" y="799457"/>
            <a:ext cx="8242143"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24" name="Text Placeholder 22">
            <a:extLst>
              <a:ext uri="{FF2B5EF4-FFF2-40B4-BE49-F238E27FC236}">
                <a16:creationId xmlns:a16="http://schemas.microsoft.com/office/drawing/2014/main" id="{A6487B5A-6884-8FFF-B0FD-D4BCB68362CA}"/>
              </a:ext>
            </a:extLst>
          </p:cNvPr>
          <p:cNvSpPr>
            <a:spLocks noGrp="1"/>
          </p:cNvSpPr>
          <p:nvPr>
            <p:ph type="body" sz="quarter" idx="12"/>
          </p:nvPr>
        </p:nvSpPr>
        <p:spPr>
          <a:xfrm>
            <a:off x="8951302" y="6278887"/>
            <a:ext cx="2944154" cy="215444"/>
          </a:xfrm>
        </p:spPr>
        <p:txBody>
          <a:bodyPr/>
          <a:lstStyle>
            <a:lvl1pPr marL="0" indent="0" algn="r">
              <a:buNone/>
              <a:defRPr sz="1400"/>
            </a:lvl1pPr>
            <a:lvl2pPr marL="285750" indent="-117475">
              <a:defRPr sz="1400"/>
            </a:lvl2pPr>
            <a:lvl3pPr marL="512763" indent="-111125">
              <a:defRPr sz="1100"/>
            </a:lvl3pPr>
            <a:lvl4pPr marL="798513" indent="-136525">
              <a:defRPr sz="1050"/>
            </a:lvl4pPr>
            <a:lvl5pPr marL="969963" indent="-114300">
              <a:defRPr sz="1050"/>
            </a:lvl5pPr>
          </a:lstStyle>
          <a:p>
            <a:pPr lvl="0"/>
            <a:r>
              <a:rPr lang="en-US"/>
              <a:t>Click to edit Master text styles</a:t>
            </a:r>
          </a:p>
        </p:txBody>
      </p:sp>
    </p:spTree>
    <p:extLst>
      <p:ext uri="{BB962C8B-B14F-4D97-AF65-F5344CB8AC3E}">
        <p14:creationId xmlns:p14="http://schemas.microsoft.com/office/powerpoint/2010/main" val="173454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 uri="{C183D7F6-B498-43B3-948B-1728B52AA6E4}">
                <adec:decorative xmlns:adec="http://schemas.microsoft.com/office/drawing/2017/decorative" val="1"/>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p:nvPr userDrawn="1"/>
        </p:nvSpPr>
        <p:spPr bwMode="auto">
          <a:xfrm>
            <a:off x="592645" y="1172697"/>
            <a:ext cx="3617377" cy="4642930"/>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p:nvPr userDrawn="1"/>
        </p:nvSpPr>
        <p:spPr bwMode="auto">
          <a:xfrm>
            <a:off x="4292328" y="1172697"/>
            <a:ext cx="3617377" cy="4642930"/>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17" name="Rectangle: Rounded Corners 16">
            <a:extLst>
              <a:ext uri="{FF2B5EF4-FFF2-40B4-BE49-F238E27FC236}">
                <a16:creationId xmlns:a16="http://schemas.microsoft.com/office/drawing/2014/main" id="{143606F3-8101-01FF-A93D-3938D53D1E68}"/>
              </a:ext>
              <a:ext uri="{C183D7F6-B498-43B3-948B-1728B52AA6E4}">
                <adec:decorative xmlns:adec="http://schemas.microsoft.com/office/drawing/2017/decorative" val="1"/>
              </a:ext>
            </a:extLst>
          </p:cNvPr>
          <p:cNvSpPr/>
          <p:nvPr userDrawn="1"/>
        </p:nvSpPr>
        <p:spPr bwMode="auto">
          <a:xfrm>
            <a:off x="7992011" y="1172697"/>
            <a:ext cx="3617377" cy="4642930"/>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err="1">
              <a:solidFill>
                <a:srgbClr val="FFFFFF"/>
              </a:solidFill>
              <a:ea typeface="+mn-ea"/>
              <a:cs typeface="Segoe UI" pitchFamily="34" charset="0"/>
            </a:endParaRPr>
          </a:p>
        </p:txBody>
      </p:sp>
      <p:cxnSp>
        <p:nvCxnSpPr>
          <p:cNvPr id="46" name="Straight Connector 45">
            <a:extLst>
              <a:ext uri="{FF2B5EF4-FFF2-40B4-BE49-F238E27FC236}">
                <a16:creationId xmlns:a16="http://schemas.microsoft.com/office/drawing/2014/main" id="{2E4F43F4-F96B-2B18-F162-4BF7D5034C5B}"/>
              </a:ext>
              <a:ext uri="{C183D7F6-B498-43B3-948B-1728B52AA6E4}">
                <adec:decorative xmlns:adec="http://schemas.microsoft.com/office/drawing/2017/decorative" val="1"/>
              </a:ext>
            </a:extLst>
          </p:cNvPr>
          <p:cNvCxnSpPr>
            <a:cxnSpLocks/>
          </p:cNvCxnSpPr>
          <p:nvPr userDrawn="1"/>
        </p:nvCxnSpPr>
        <p:spPr>
          <a:xfrm flipH="1">
            <a:off x="8016726" y="3796035"/>
            <a:ext cx="3567947" cy="0"/>
          </a:xfrm>
          <a:prstGeom prst="line">
            <a:avLst/>
          </a:prstGeom>
          <a:noFill/>
          <a:ln w="6350" cap="rnd" cmpd="sng" algn="ctr">
            <a:solidFill>
              <a:schemeClr val="tx2"/>
            </a:solidFill>
            <a:prstDash val="solid"/>
            <a:headEnd type="none" w="lg" len="med"/>
            <a:tailEnd type="none" w="lg" len="med"/>
          </a:ln>
          <a:effectLst/>
        </p:spPr>
      </p:cxnSp>
      <p:cxnSp>
        <p:nvCxnSpPr>
          <p:cNvPr id="62" name="Straight Connector 61">
            <a:extLst>
              <a:ext uri="{FF2B5EF4-FFF2-40B4-BE49-F238E27FC236}">
                <a16:creationId xmlns:a16="http://schemas.microsoft.com/office/drawing/2014/main" id="{D8DB73F7-C86B-8942-83F5-A5A5044BEE1F}"/>
              </a:ext>
              <a:ext uri="{C183D7F6-B498-43B3-948B-1728B52AA6E4}">
                <adec:decorative xmlns:adec="http://schemas.microsoft.com/office/drawing/2017/decorative" val="1"/>
              </a:ext>
            </a:extLst>
          </p:cNvPr>
          <p:cNvCxnSpPr>
            <a:cxnSpLocks/>
          </p:cNvCxnSpPr>
          <p:nvPr userDrawn="1"/>
        </p:nvCxnSpPr>
        <p:spPr>
          <a:xfrm>
            <a:off x="617360" y="3063878"/>
            <a:ext cx="3567947" cy="0"/>
          </a:xfrm>
          <a:prstGeom prst="line">
            <a:avLst/>
          </a:prstGeom>
          <a:ln w="63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95F806A0-3C32-58B1-7CDE-118770D63979}"/>
              </a:ext>
              <a:ext uri="{C183D7F6-B498-43B3-948B-1728B52AA6E4}">
                <adec:decorative xmlns:adec="http://schemas.microsoft.com/office/drawing/2017/decorative" val="1"/>
              </a:ext>
            </a:extLst>
          </p:cNvPr>
          <p:cNvSpPr/>
          <p:nvPr userDrawn="1"/>
        </p:nvSpPr>
        <p:spPr bwMode="auto">
          <a:xfrm>
            <a:off x="584200" y="5908121"/>
            <a:ext cx="11038987" cy="461147"/>
          </a:xfrm>
          <a:prstGeom prst="roundRect">
            <a:avLst>
              <a:gd name="adj" fmla="val 20116"/>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cs typeface="Segoe UI" pitchFamily="34" charset="0"/>
            </a:endParaRPr>
          </a:p>
        </p:txBody>
      </p:sp>
      <p:cxnSp>
        <p:nvCxnSpPr>
          <p:cNvPr id="56" name="Straight Connector 55">
            <a:extLst>
              <a:ext uri="{FF2B5EF4-FFF2-40B4-BE49-F238E27FC236}">
                <a16:creationId xmlns:a16="http://schemas.microsoft.com/office/drawing/2014/main" id="{E5E11882-CB08-356E-5B74-26B1248E37D8}"/>
              </a:ext>
              <a:ext uri="{C183D7F6-B498-43B3-948B-1728B52AA6E4}">
                <adec:decorative xmlns:adec="http://schemas.microsoft.com/office/drawing/2017/decorative" val="1"/>
              </a:ext>
            </a:extLst>
          </p:cNvPr>
          <p:cNvCxnSpPr>
            <a:cxnSpLocks/>
          </p:cNvCxnSpPr>
          <p:nvPr userDrawn="1"/>
        </p:nvCxnSpPr>
        <p:spPr>
          <a:xfrm flipV="1">
            <a:off x="423248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57" name="Straight Connector 56">
            <a:extLst>
              <a:ext uri="{FF2B5EF4-FFF2-40B4-BE49-F238E27FC236}">
                <a16:creationId xmlns:a16="http://schemas.microsoft.com/office/drawing/2014/main" id="{C63B8DCD-DE62-48E9-0A4B-BA3CD78E51BB}"/>
              </a:ext>
              <a:ext uri="{C183D7F6-B498-43B3-948B-1728B52AA6E4}">
                <adec:decorative xmlns:adec="http://schemas.microsoft.com/office/drawing/2017/decorative" val="1"/>
              </a:ext>
            </a:extLst>
          </p:cNvPr>
          <p:cNvCxnSpPr>
            <a:cxnSpLocks/>
          </p:cNvCxnSpPr>
          <p:nvPr userDrawn="1"/>
        </p:nvCxnSpPr>
        <p:spPr>
          <a:xfrm flipV="1">
            <a:off x="7961103" y="5947410"/>
            <a:ext cx="0" cy="382570"/>
          </a:xfrm>
          <a:prstGeom prst="line">
            <a:avLst/>
          </a:prstGeom>
          <a:noFill/>
          <a:ln w="3175" cap="rnd" cmpd="sng" algn="ctr">
            <a:solidFill>
              <a:schemeClr val="bg1">
                <a:lumMod val="75000"/>
              </a:schemeClr>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A8F027FD-F521-DE87-CD2E-8041E95563ED}"/>
              </a:ext>
              <a:ext uri="{C183D7F6-B498-43B3-948B-1728B52AA6E4}">
                <adec:decorative xmlns:adec="http://schemas.microsoft.com/office/drawing/2017/decorative" val="1"/>
              </a:ext>
            </a:extLst>
          </p:cNvPr>
          <p:cNvCxnSpPr>
            <a:cxnSpLocks/>
          </p:cNvCxnSpPr>
          <p:nvPr userDrawn="1"/>
        </p:nvCxnSpPr>
        <p:spPr>
          <a:xfrm>
            <a:off x="617360" y="5143879"/>
            <a:ext cx="3567947" cy="0"/>
          </a:xfrm>
          <a:prstGeom prst="line">
            <a:avLst/>
          </a:prstGeom>
          <a:ln w="63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63" name="Text Placeholder 19">
            <a:extLst>
              <a:ext uri="{FF2B5EF4-FFF2-40B4-BE49-F238E27FC236}">
                <a16:creationId xmlns:a16="http://schemas.microsoft.com/office/drawing/2014/main" id="{8068FD61-0883-9F36-F1D7-B2A9A9FB1D7C}"/>
              </a:ext>
            </a:extLst>
          </p:cNvPr>
          <p:cNvSpPr>
            <a:spLocks noGrp="1"/>
          </p:cNvSpPr>
          <p:nvPr userDrawn="1">
            <p:ph type="body" sz="quarter" idx="10"/>
          </p:nvPr>
        </p:nvSpPr>
        <p:spPr>
          <a:xfrm>
            <a:off x="725424" y="1277306"/>
            <a:ext cx="3285498"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hasCustomPrompt="1"/>
          </p:nvPr>
        </p:nvSpPr>
        <p:spPr>
          <a:xfrm>
            <a:off x="725424" y="1841262"/>
            <a:ext cx="3285498" cy="1087722"/>
          </a:xfrm>
          <a:prstGeom prst="roundRect">
            <a:avLst>
              <a:gd name="adj" fmla="val 7500"/>
            </a:avLst>
          </a:prstGeom>
          <a:blipFill>
            <a:blip r:embed="rId3" cstate="screen">
              <a:extLst>
                <a:ext uri="{28A0092B-C50C-407E-A947-70E740481C1C}">
                  <a14:useLocalDpi xmlns:a14="http://schemas.microsoft.com/office/drawing/2010/main"/>
                </a:ext>
              </a:extLst>
            </a:blip>
            <a:stretch>
              <a:fillRect/>
            </a:stretch>
          </a:blipFill>
        </p:spPr>
        <p:txBody>
          <a:bodyPr tIns="45720" anchor="t">
            <a:noAutofit/>
          </a:bodyPr>
          <a:lstStyle>
            <a:lvl1pPr marL="0" indent="0" algn="ctr">
              <a:buNone/>
              <a:defRPr sz="1000"/>
            </a:lvl1pPr>
            <a:lvl2pPr>
              <a:defRPr sz="1200"/>
            </a:lvl2pPr>
            <a:lvl3pPr>
              <a:defRPr sz="1050"/>
            </a:lvl3pPr>
            <a:lvl4pPr>
              <a:defRPr sz="1000"/>
            </a:lvl4pPr>
            <a:lvl5pPr>
              <a:defRPr sz="1000"/>
            </a:lvl5pPr>
          </a:lstStyle>
          <a:p>
            <a:pPr lvl="0"/>
            <a:r>
              <a:rPr lang="en-US"/>
              <a:t>Click to edit</a:t>
            </a:r>
            <a:br>
              <a:rPr lang="en-US"/>
            </a:br>
            <a:r>
              <a:rPr lang="en-US"/>
              <a:t>Master text</a:t>
            </a:r>
            <a:endParaRPr lang="en-IN"/>
          </a:p>
        </p:txBody>
      </p:sp>
      <p:sp>
        <p:nvSpPr>
          <p:cNvPr id="76" name="Text Placeholder 75">
            <a:extLst>
              <a:ext uri="{FF2B5EF4-FFF2-40B4-BE49-F238E27FC236}">
                <a16:creationId xmlns:a16="http://schemas.microsoft.com/office/drawing/2014/main" id="{A786D3A4-9022-6969-01DC-7F30FFFDDBFF}"/>
              </a:ext>
            </a:extLst>
          </p:cNvPr>
          <p:cNvSpPr>
            <a:spLocks noGrp="1"/>
          </p:cNvSpPr>
          <p:nvPr>
            <p:ph type="body" sz="quarter" idx="19"/>
          </p:nvPr>
        </p:nvSpPr>
        <p:spPr>
          <a:xfrm>
            <a:off x="725424" y="3201900"/>
            <a:ext cx="2816429" cy="246221"/>
          </a:xfrm>
        </p:spPr>
        <p:txBody>
          <a:bodyPr/>
          <a:lstStyle>
            <a:lvl1pPr marL="0" indent="0">
              <a:buNone/>
              <a:defRPr sz="1600">
                <a:latin typeface="+mj-lt"/>
              </a:defRPr>
            </a:lvl1pPr>
            <a:lvl2pPr marL="171450" indent="-115888">
              <a:tabLst/>
              <a:defRPr sz="1200"/>
            </a:lvl2pPr>
          </a:lstStyle>
          <a:p>
            <a:pPr lvl="0"/>
            <a:r>
              <a:rPr lang="en-US"/>
              <a:t>Click to edit Master text styles</a:t>
            </a:r>
          </a:p>
        </p:txBody>
      </p:sp>
      <p:sp>
        <p:nvSpPr>
          <p:cNvPr id="100" name="Text Placeholder 19">
            <a:extLst>
              <a:ext uri="{FF2B5EF4-FFF2-40B4-BE49-F238E27FC236}">
                <a16:creationId xmlns:a16="http://schemas.microsoft.com/office/drawing/2014/main" id="{3981418A-A896-E8E4-2620-0B17CEB96363}"/>
              </a:ext>
            </a:extLst>
          </p:cNvPr>
          <p:cNvSpPr>
            <a:spLocks noGrp="1"/>
          </p:cNvSpPr>
          <p:nvPr>
            <p:ph type="body" sz="quarter" idx="33"/>
          </p:nvPr>
        </p:nvSpPr>
        <p:spPr>
          <a:xfrm>
            <a:off x="725425" y="3520875"/>
            <a:ext cx="2816429" cy="184666"/>
          </a:xfrm>
        </p:spPr>
        <p:txBody>
          <a:bodyPr/>
          <a:lstStyle>
            <a:lvl1pPr marL="173038" indent="-115888">
              <a:spcBef>
                <a:spcPts val="300"/>
              </a:spcBef>
              <a:spcAft>
                <a:spcPts val="200"/>
              </a:spcAft>
              <a:buFont typeface="Arial" panose="020B0604020202020204" pitchFamily="34" charset="0"/>
              <a:buChar char="•"/>
              <a:defRPr sz="1200">
                <a:latin typeface="+mn-lt"/>
              </a:defRPr>
            </a:lvl1pPr>
            <a:lvl2pPr marL="228600" indent="0">
              <a:buNone/>
              <a:defRPr/>
            </a:lvl2pPr>
          </a:lstStyle>
          <a:p>
            <a:pPr lvl="0"/>
            <a:r>
              <a:rPr lang="en-US"/>
              <a:t>Click to edit Master text styles</a:t>
            </a:r>
          </a:p>
        </p:txBody>
      </p:sp>
      <p:sp>
        <p:nvSpPr>
          <p:cNvPr id="68" name="Text Placeholder 19">
            <a:extLst>
              <a:ext uri="{FF2B5EF4-FFF2-40B4-BE49-F238E27FC236}">
                <a16:creationId xmlns:a16="http://schemas.microsoft.com/office/drawing/2014/main" id="{6B5B20DC-6BE6-AC3F-7438-B3A00512F21E}"/>
              </a:ext>
            </a:extLst>
          </p:cNvPr>
          <p:cNvSpPr>
            <a:spLocks noGrp="1"/>
          </p:cNvSpPr>
          <p:nvPr userDrawn="1">
            <p:ph type="body" sz="quarter" idx="13"/>
          </p:nvPr>
        </p:nvSpPr>
        <p:spPr>
          <a:xfrm>
            <a:off x="725425" y="5265400"/>
            <a:ext cx="2816429"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71" name="Text Placeholder 19">
            <a:extLst>
              <a:ext uri="{FF2B5EF4-FFF2-40B4-BE49-F238E27FC236}">
                <a16:creationId xmlns:a16="http://schemas.microsoft.com/office/drawing/2014/main" id="{181B8105-6CDF-D2DE-6AFA-A385BBC31670}"/>
              </a:ext>
            </a:extLst>
          </p:cNvPr>
          <p:cNvSpPr>
            <a:spLocks noGrp="1"/>
          </p:cNvSpPr>
          <p:nvPr userDrawn="1">
            <p:ph type="body" sz="quarter" idx="16"/>
          </p:nvPr>
        </p:nvSpPr>
        <p:spPr>
          <a:xfrm>
            <a:off x="725424" y="6015584"/>
            <a:ext cx="3285498" cy="246221"/>
          </a:xfrm>
        </p:spPr>
        <p:txBody>
          <a:bodyPr/>
          <a:lstStyle>
            <a:lvl1pPr marL="0" indent="0" algn="ctr">
              <a:buNone/>
              <a:defRPr sz="1600">
                <a:latin typeface="+mj-lt"/>
              </a:defRPr>
            </a:lvl1pPr>
            <a:lvl2pPr marL="228600" indent="0">
              <a:buNone/>
              <a:defRPr/>
            </a:lvl2pPr>
          </a:lstStyle>
          <a:p>
            <a:pPr lvl="0"/>
            <a:r>
              <a:rPr lang="en-US"/>
              <a:t>Click to edit Master text styles</a:t>
            </a:r>
          </a:p>
        </p:txBody>
      </p:sp>
      <p:sp>
        <p:nvSpPr>
          <p:cNvPr id="64" name="Text Placeholder 19">
            <a:extLst>
              <a:ext uri="{FF2B5EF4-FFF2-40B4-BE49-F238E27FC236}">
                <a16:creationId xmlns:a16="http://schemas.microsoft.com/office/drawing/2014/main" id="{46082AB6-170E-8CF3-D9E4-F30B5BA7AD7E}"/>
              </a:ext>
            </a:extLst>
          </p:cNvPr>
          <p:cNvSpPr>
            <a:spLocks noGrp="1"/>
          </p:cNvSpPr>
          <p:nvPr userDrawn="1">
            <p:ph type="body" sz="quarter" idx="11"/>
          </p:nvPr>
        </p:nvSpPr>
        <p:spPr>
          <a:xfrm>
            <a:off x="4454044" y="1277306"/>
            <a:ext cx="3285498"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4523665" y="2159230"/>
            <a:ext cx="1463150" cy="3007946"/>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731520">
            <a:noAutofit/>
          </a:bodyPr>
          <a:lstStyle>
            <a:lvl1pPr marL="0" indent="0" algn="ctr">
              <a:buNone/>
              <a:defRPr sz="1050"/>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181334" y="2159231"/>
            <a:ext cx="1497492" cy="916131"/>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6181334" y="3205137"/>
            <a:ext cx="1497492" cy="916131"/>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81334" y="4251045"/>
            <a:ext cx="1497492" cy="916131"/>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4" name="Content Placeholder 79">
            <a:extLst>
              <a:ext uri="{FF2B5EF4-FFF2-40B4-BE49-F238E27FC236}">
                <a16:creationId xmlns:a16="http://schemas.microsoft.com/office/drawing/2014/main" id="{02F6F7BD-F793-FAD7-2A16-AF45BD54710E}"/>
              </a:ext>
            </a:extLst>
          </p:cNvPr>
          <p:cNvSpPr>
            <a:spLocks noGrp="1"/>
          </p:cNvSpPr>
          <p:nvPr>
            <p:ph sz="quarter" idx="27"/>
          </p:nvPr>
        </p:nvSpPr>
        <p:spPr>
          <a:xfrm>
            <a:off x="4523665" y="5310485"/>
            <a:ext cx="1497492" cy="352592"/>
          </a:xfrm>
          <a:prstGeom prst="roundRect">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3" name="Content Placeholder 79">
            <a:extLst>
              <a:ext uri="{FF2B5EF4-FFF2-40B4-BE49-F238E27FC236}">
                <a16:creationId xmlns:a16="http://schemas.microsoft.com/office/drawing/2014/main" id="{369946CB-0637-4CF3-F149-CF7F63E4E2D0}"/>
              </a:ext>
            </a:extLst>
          </p:cNvPr>
          <p:cNvSpPr>
            <a:spLocks noGrp="1"/>
          </p:cNvSpPr>
          <p:nvPr>
            <p:ph sz="quarter" idx="26"/>
          </p:nvPr>
        </p:nvSpPr>
        <p:spPr>
          <a:xfrm>
            <a:off x="6181334" y="5310485"/>
            <a:ext cx="1497492" cy="352592"/>
          </a:xfrm>
          <a:prstGeom prst="roundRect">
            <a:avLst/>
          </a:prstGeom>
          <a:blipFill>
            <a:blip r:embed="rId6"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2" name="Text Placeholder 19">
            <a:extLst>
              <a:ext uri="{FF2B5EF4-FFF2-40B4-BE49-F238E27FC236}">
                <a16:creationId xmlns:a16="http://schemas.microsoft.com/office/drawing/2014/main" id="{EF6919F7-07CE-C436-CB9A-42FAAE9B817C}"/>
              </a:ext>
            </a:extLst>
          </p:cNvPr>
          <p:cNvSpPr>
            <a:spLocks noGrp="1"/>
          </p:cNvSpPr>
          <p:nvPr userDrawn="1">
            <p:ph type="body" sz="quarter" idx="17"/>
          </p:nvPr>
        </p:nvSpPr>
        <p:spPr>
          <a:xfrm>
            <a:off x="4454044" y="6015584"/>
            <a:ext cx="3285498" cy="246221"/>
          </a:xfrm>
        </p:spPr>
        <p:txBody>
          <a:bodyPr/>
          <a:lstStyle>
            <a:lvl1pPr marL="0" indent="0" algn="ctr">
              <a:buNone/>
              <a:defRPr sz="1600">
                <a:latin typeface="+mj-lt"/>
              </a:defRPr>
            </a:lvl1pPr>
            <a:lvl2pPr marL="228600" indent="0">
              <a:buNone/>
              <a:defRPr/>
            </a:lvl2pPr>
          </a:lstStyle>
          <a:p>
            <a:pPr lvl="0"/>
            <a:r>
              <a:rPr lang="en-US"/>
              <a:t>Click to edit Master text styles</a:t>
            </a:r>
          </a:p>
        </p:txBody>
      </p:sp>
      <p:sp>
        <p:nvSpPr>
          <p:cNvPr id="65" name="Text Placeholder 19">
            <a:extLst>
              <a:ext uri="{FF2B5EF4-FFF2-40B4-BE49-F238E27FC236}">
                <a16:creationId xmlns:a16="http://schemas.microsoft.com/office/drawing/2014/main" id="{903A10FE-A006-7ED4-252B-244DC9C4CF8E}"/>
              </a:ext>
            </a:extLst>
          </p:cNvPr>
          <p:cNvSpPr>
            <a:spLocks noGrp="1"/>
          </p:cNvSpPr>
          <p:nvPr userDrawn="1">
            <p:ph type="body" sz="quarter" idx="12"/>
          </p:nvPr>
        </p:nvSpPr>
        <p:spPr>
          <a:xfrm>
            <a:off x="8157950" y="1277306"/>
            <a:ext cx="3285498"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99" name="Content Placeholder 79">
            <a:extLst>
              <a:ext uri="{FF2B5EF4-FFF2-40B4-BE49-F238E27FC236}">
                <a16:creationId xmlns:a16="http://schemas.microsoft.com/office/drawing/2014/main" id="{CCF1C177-A37E-50D5-EEAC-02CEAD2156FC}"/>
              </a:ext>
            </a:extLst>
          </p:cNvPr>
          <p:cNvSpPr>
            <a:spLocks noGrp="1"/>
          </p:cNvSpPr>
          <p:nvPr>
            <p:ph sz="quarter" idx="32"/>
          </p:nvPr>
        </p:nvSpPr>
        <p:spPr>
          <a:xfrm>
            <a:off x="8157950" y="1628136"/>
            <a:ext cx="3285498" cy="1988193"/>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lvl1pPr>
            <a:lvl2pPr>
              <a:defRPr sz="1200"/>
            </a:lvl2pPr>
            <a:lvl3pPr>
              <a:defRPr sz="1050"/>
            </a:lvl3pPr>
            <a:lvl4pPr>
              <a:defRPr sz="1000"/>
            </a:lvl4pPr>
            <a:lvl5pPr>
              <a:defRPr sz="1000"/>
            </a:lvl5pPr>
          </a:lstStyle>
          <a:p>
            <a:pPr lvl="0"/>
            <a:r>
              <a:rPr lang="en-US"/>
              <a:t>Click to edit Master text</a:t>
            </a:r>
            <a:endParaRPr lang="en-IN"/>
          </a:p>
        </p:txBody>
      </p:sp>
      <p:sp>
        <p:nvSpPr>
          <p:cNvPr id="69" name="Text Placeholder 19">
            <a:extLst>
              <a:ext uri="{FF2B5EF4-FFF2-40B4-BE49-F238E27FC236}">
                <a16:creationId xmlns:a16="http://schemas.microsoft.com/office/drawing/2014/main" id="{734EE56D-7C57-A9ED-4EEC-C18D8EAFCEB7}"/>
              </a:ext>
            </a:extLst>
          </p:cNvPr>
          <p:cNvSpPr>
            <a:spLocks noGrp="1"/>
          </p:cNvSpPr>
          <p:nvPr userDrawn="1">
            <p:ph type="body" sz="quarter" idx="14"/>
          </p:nvPr>
        </p:nvSpPr>
        <p:spPr>
          <a:xfrm>
            <a:off x="8157950" y="3930021"/>
            <a:ext cx="3285498" cy="246221"/>
          </a:xfrm>
        </p:spPr>
        <p:txBody>
          <a:bodyPr/>
          <a:lstStyle>
            <a:lvl1pPr marL="0" indent="0">
              <a:buNone/>
              <a:defRPr sz="1600">
                <a:latin typeface="+mj-lt"/>
              </a:defRPr>
            </a:lvl1pPr>
            <a:lvl2pPr marL="228600" indent="0">
              <a:buNone/>
              <a:defRPr/>
            </a:lvl2pPr>
          </a:lstStyle>
          <a:p>
            <a:pPr lvl="0"/>
            <a:r>
              <a:rPr lang="en-US"/>
              <a:t>Click to edit Master text styles</a:t>
            </a:r>
          </a:p>
        </p:txBody>
      </p:sp>
      <p:sp>
        <p:nvSpPr>
          <p:cNvPr id="70" name="Text Placeholder 19">
            <a:extLst>
              <a:ext uri="{FF2B5EF4-FFF2-40B4-BE49-F238E27FC236}">
                <a16:creationId xmlns:a16="http://schemas.microsoft.com/office/drawing/2014/main" id="{58A65D1C-52B7-197B-2FC4-43449ABFCABD}"/>
              </a:ext>
            </a:extLst>
          </p:cNvPr>
          <p:cNvSpPr>
            <a:spLocks noGrp="1"/>
          </p:cNvSpPr>
          <p:nvPr userDrawn="1">
            <p:ph type="body" sz="quarter" idx="15"/>
          </p:nvPr>
        </p:nvSpPr>
        <p:spPr>
          <a:xfrm>
            <a:off x="8157950" y="4246880"/>
            <a:ext cx="3285498" cy="642843"/>
          </a:xfrm>
        </p:spPr>
        <p:txBody>
          <a:bodyPr/>
          <a:lstStyle>
            <a:lvl1pPr marL="0" indent="0">
              <a:buNone/>
              <a:defRPr sz="1200">
                <a:latin typeface="+mn-lt"/>
              </a:defRPr>
            </a:lvl1pPr>
            <a:lvl2pPr marL="228600" indent="0">
              <a:buNone/>
              <a:defRPr/>
            </a:lvl2pPr>
          </a:lstStyle>
          <a:p>
            <a:pPr lvl="0"/>
            <a:r>
              <a:rPr lang="en-US"/>
              <a:t>Click to edit Master text styles</a:t>
            </a:r>
          </a:p>
        </p:txBody>
      </p:sp>
      <p:sp>
        <p:nvSpPr>
          <p:cNvPr id="95" name="Content Placeholder 79">
            <a:extLst>
              <a:ext uri="{FF2B5EF4-FFF2-40B4-BE49-F238E27FC236}">
                <a16:creationId xmlns:a16="http://schemas.microsoft.com/office/drawing/2014/main" id="{9503EABA-20B8-6893-82CD-1962B3CC6E14}"/>
              </a:ext>
            </a:extLst>
          </p:cNvPr>
          <p:cNvSpPr>
            <a:spLocks noGrp="1"/>
          </p:cNvSpPr>
          <p:nvPr>
            <p:ph sz="quarter" idx="28"/>
          </p:nvPr>
        </p:nvSpPr>
        <p:spPr>
          <a:xfrm>
            <a:off x="8157950" y="5006081"/>
            <a:ext cx="740664" cy="656996"/>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6" name="Content Placeholder 79">
            <a:extLst>
              <a:ext uri="{FF2B5EF4-FFF2-40B4-BE49-F238E27FC236}">
                <a16:creationId xmlns:a16="http://schemas.microsoft.com/office/drawing/2014/main" id="{1CABCBCD-9387-E209-85CA-937B674F8FC4}"/>
              </a:ext>
            </a:extLst>
          </p:cNvPr>
          <p:cNvSpPr>
            <a:spLocks noGrp="1"/>
          </p:cNvSpPr>
          <p:nvPr>
            <p:ph sz="quarter" idx="29"/>
          </p:nvPr>
        </p:nvSpPr>
        <p:spPr>
          <a:xfrm>
            <a:off x="9006228" y="5006081"/>
            <a:ext cx="740664" cy="656996"/>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7" name="Content Placeholder 79">
            <a:extLst>
              <a:ext uri="{FF2B5EF4-FFF2-40B4-BE49-F238E27FC236}">
                <a16:creationId xmlns:a16="http://schemas.microsoft.com/office/drawing/2014/main" id="{10E00F9F-0569-9CBD-F3AC-54BBEBA42B4D}"/>
              </a:ext>
            </a:extLst>
          </p:cNvPr>
          <p:cNvSpPr>
            <a:spLocks noGrp="1"/>
          </p:cNvSpPr>
          <p:nvPr>
            <p:ph sz="quarter" idx="30"/>
          </p:nvPr>
        </p:nvSpPr>
        <p:spPr>
          <a:xfrm>
            <a:off x="9854506" y="5006081"/>
            <a:ext cx="740664" cy="656996"/>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8" name="Content Placeholder 79">
            <a:extLst>
              <a:ext uri="{FF2B5EF4-FFF2-40B4-BE49-F238E27FC236}">
                <a16:creationId xmlns:a16="http://schemas.microsoft.com/office/drawing/2014/main" id="{DF233606-C006-5D80-AAB4-16F601FEF40F}"/>
              </a:ext>
            </a:extLst>
          </p:cNvPr>
          <p:cNvSpPr>
            <a:spLocks noGrp="1"/>
          </p:cNvSpPr>
          <p:nvPr>
            <p:ph sz="quarter" idx="31"/>
          </p:nvPr>
        </p:nvSpPr>
        <p:spPr>
          <a:xfrm>
            <a:off x="10702784" y="5006081"/>
            <a:ext cx="740664" cy="656996"/>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t">
            <a:noAutofit/>
          </a:bodyPr>
          <a:lstStyle>
            <a:lvl1pPr marL="0" indent="0" algn="ctr">
              <a:buNone/>
              <a:defRPr sz="9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73" name="Text Placeholder 19">
            <a:extLst>
              <a:ext uri="{FF2B5EF4-FFF2-40B4-BE49-F238E27FC236}">
                <a16:creationId xmlns:a16="http://schemas.microsoft.com/office/drawing/2014/main" id="{6EA99964-67CF-9C1F-2BFD-7F45BC1262A0}"/>
              </a:ext>
            </a:extLst>
          </p:cNvPr>
          <p:cNvSpPr>
            <a:spLocks noGrp="1"/>
          </p:cNvSpPr>
          <p:nvPr userDrawn="1">
            <p:ph type="body" sz="quarter" idx="18"/>
          </p:nvPr>
        </p:nvSpPr>
        <p:spPr>
          <a:xfrm>
            <a:off x="8182665" y="6015584"/>
            <a:ext cx="3285498" cy="246221"/>
          </a:xfrm>
        </p:spPr>
        <p:txBody>
          <a:bodyPr/>
          <a:lstStyle>
            <a:lvl1pPr marL="0" indent="0" algn="ctr">
              <a:buNone/>
              <a:defRPr sz="1600">
                <a:latin typeface="+mj-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2653513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3B80D-FE7B-F433-4AF3-F85B6B69D59E}"/>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6375EF45-343E-151E-EDED-A4CCB5B29FC1}"/>
              </a:ext>
              <a:ext uri="{C183D7F6-B498-43B3-948B-1728B52AA6E4}">
                <adec:decorative xmlns:adec="http://schemas.microsoft.com/office/drawing/2017/decorative" val="1"/>
              </a:ext>
            </a:extLst>
          </p:cNvPr>
          <p:cNvSpPr>
            <a:spLocks/>
          </p:cNvSpPr>
          <p:nvPr userDrawn="1"/>
        </p:nvSpPr>
        <p:spPr bwMode="auto">
          <a:xfrm>
            <a:off x="317500" y="1226372"/>
            <a:ext cx="3492500" cy="5051316"/>
          </a:xfrm>
          <a:prstGeom prst="roundRect">
            <a:avLst>
              <a:gd name="adj" fmla="val 4857"/>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9" name="Freeform: Shape 8">
            <a:extLst>
              <a:ext uri="{FF2B5EF4-FFF2-40B4-BE49-F238E27FC236}">
                <a16:creationId xmlns:a16="http://schemas.microsoft.com/office/drawing/2014/main" id="{3AADE8D7-0EAF-E265-2FDA-EAFCFFF07F9F}"/>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10" name="Picture 9">
            <a:extLst>
              <a:ext uri="{FF2B5EF4-FFF2-40B4-BE49-F238E27FC236}">
                <a16:creationId xmlns:a16="http://schemas.microsoft.com/office/drawing/2014/main" id="{D8238485-15BA-040F-C9BB-9F5B21C896E1}"/>
              </a:ext>
              <a:ext uri="{C183D7F6-B498-43B3-948B-1728B52AA6E4}">
                <adec:decorative xmlns:adec="http://schemas.microsoft.com/office/drawing/2017/decorative" val="1"/>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065588" y="-1"/>
            <a:ext cx="8126412" cy="6858000"/>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2" name="Rectangle 11">
            <a:extLst>
              <a:ext uri="{FF2B5EF4-FFF2-40B4-BE49-F238E27FC236}">
                <a16:creationId xmlns:a16="http://schemas.microsoft.com/office/drawing/2014/main" id="{B719E595-D0F0-9FD2-2D69-77E4E78A05E3}"/>
              </a:ext>
              <a:ext uri="{C183D7F6-B498-43B3-948B-1728B52AA6E4}">
                <adec:decorative xmlns:adec="http://schemas.microsoft.com/office/drawing/2017/decorative" val="1"/>
              </a:ext>
            </a:extLst>
          </p:cNvPr>
          <p:cNvSpPr/>
          <p:nvPr userDrawn="1"/>
        </p:nvSpPr>
        <p:spPr bwMode="auto">
          <a:xfrm>
            <a:off x="4065588"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14" name="Title 1">
            <a:extLst>
              <a:ext uri="{FF2B5EF4-FFF2-40B4-BE49-F238E27FC236}">
                <a16:creationId xmlns:a16="http://schemas.microsoft.com/office/drawing/2014/main" id="{3EE7491C-80EC-44F5-63F9-D9C8995CB8AC}"/>
              </a:ext>
            </a:extLst>
          </p:cNvPr>
          <p:cNvSpPr>
            <a:spLocks noGrp="1"/>
          </p:cNvSpPr>
          <p:nvPr>
            <p:ph type="title" hasCustomPrompt="1"/>
          </p:nvPr>
        </p:nvSpPr>
        <p:spPr>
          <a:xfrm>
            <a:off x="588263" y="457200"/>
            <a:ext cx="322173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Video slide</a:t>
            </a:r>
            <a:endParaRPr lang="en-IN"/>
          </a:p>
        </p:txBody>
      </p:sp>
      <p:sp>
        <p:nvSpPr>
          <p:cNvPr id="16" name="Text Placeholder 35">
            <a:extLst>
              <a:ext uri="{FF2B5EF4-FFF2-40B4-BE49-F238E27FC236}">
                <a16:creationId xmlns:a16="http://schemas.microsoft.com/office/drawing/2014/main" id="{860C9690-DA85-8A4D-8192-F10A44D1A5CA}"/>
              </a:ext>
            </a:extLst>
          </p:cNvPr>
          <p:cNvSpPr>
            <a:spLocks noGrp="1"/>
          </p:cNvSpPr>
          <p:nvPr>
            <p:ph type="body" sz="quarter" idx="15" hasCustomPrompt="1"/>
          </p:nvPr>
        </p:nvSpPr>
        <p:spPr>
          <a:xfrm>
            <a:off x="588263" y="1525877"/>
            <a:ext cx="3031237" cy="399787"/>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609A4BB8-D547-2DEA-5BA8-82750CB9648A}"/>
              </a:ext>
            </a:extLst>
          </p:cNvPr>
          <p:cNvSpPr>
            <a:spLocks noGrp="1"/>
          </p:cNvSpPr>
          <p:nvPr>
            <p:ph type="body" sz="quarter" idx="16" hasCustomPrompt="1"/>
          </p:nvPr>
        </p:nvSpPr>
        <p:spPr>
          <a:xfrm>
            <a:off x="588263" y="2162629"/>
            <a:ext cx="3031237" cy="3836894"/>
          </a:xfrm>
          <a:noFill/>
        </p:spPr>
        <p:txBody>
          <a:bodyPr wrap="square" lIns="0" tIns="0" rIns="0" bIns="0" anchor="t">
            <a:noAutofit/>
          </a:bodyPr>
          <a:lstStyle>
            <a:lvl1pPr marL="0" indent="0">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2D394F12-658C-06E9-4907-BCC4A79E4D84}"/>
              </a:ext>
            </a:extLst>
          </p:cNvPr>
          <p:cNvSpPr>
            <a:spLocks noGrp="1"/>
          </p:cNvSpPr>
          <p:nvPr>
            <p:ph type="body" sz="quarter" idx="12" hasCustomPrompt="1"/>
          </p:nvPr>
        </p:nvSpPr>
        <p:spPr>
          <a:xfrm>
            <a:off x="4504976" y="1436689"/>
            <a:ext cx="7098760" cy="341312"/>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Media Placeholder 32">
            <a:extLst>
              <a:ext uri="{FF2B5EF4-FFF2-40B4-BE49-F238E27FC236}">
                <a16:creationId xmlns:a16="http://schemas.microsoft.com/office/drawing/2014/main" id="{F841C6BF-428C-C02F-CB96-583559870666}"/>
              </a:ext>
            </a:extLst>
          </p:cNvPr>
          <p:cNvSpPr>
            <a:spLocks noGrp="1"/>
          </p:cNvSpPr>
          <p:nvPr>
            <p:ph type="media" sz="quarter" idx="17" hasCustomPrompt="1"/>
          </p:nvPr>
        </p:nvSpPr>
        <p:spPr>
          <a:xfrm>
            <a:off x="4504976" y="2008188"/>
            <a:ext cx="7098411" cy="3940740"/>
          </a:xfrm>
          <a:prstGeom prst="roundRect">
            <a:avLst>
              <a:gd name="adj" fmla="val 4582"/>
            </a:avLst>
          </a:prstGeom>
          <a:blipFill>
            <a:blip r:embed="rId4" cstate="screen">
              <a:extLst>
                <a:ext uri="{28A0092B-C50C-407E-A947-70E740481C1C}">
                  <a14:useLocalDpi xmlns:a14="http://schemas.microsoft.com/office/drawing/2010/main"/>
                </a:ext>
              </a:extLst>
            </a:blip>
            <a:stretch>
              <a:fillRect/>
            </a:stretch>
          </a:blipFill>
          <a:ln>
            <a:solidFill>
              <a:schemeClr val="bg1"/>
            </a:solidFill>
          </a:ln>
          <a:effectLst>
            <a:outerShdw blurRad="254000" sx="102000" sy="102000" algn="ctr" rotWithShape="0">
              <a:prstClr val="black">
                <a:alpha val="8000"/>
              </a:prstClr>
            </a:outerShdw>
          </a:effectLst>
        </p:spPr>
        <p:txBody>
          <a:bodyPr vert="horz" wrap="square" lIns="0" tIns="0" rIns="0" bIns="640080" rtlCol="0" anchor="ctr">
            <a:noAutofit/>
          </a:bodyPr>
          <a:lstStyle>
            <a:lvl1pPr marL="0" indent="0" algn="ctr">
              <a:buNone/>
              <a:defRPr lang="en-IN" sz="2000">
                <a:solidFill>
                  <a:schemeClr val="bg1"/>
                </a:solidFill>
              </a:defRPr>
            </a:lvl1pPr>
          </a:lstStyle>
          <a:p>
            <a:pPr marL="228600" lvl="0" indent="-228600" algn="ctr"/>
            <a:r>
              <a:rPr lang="en-IN"/>
              <a:t>Media</a:t>
            </a:r>
          </a:p>
        </p:txBody>
      </p:sp>
    </p:spTree>
    <p:extLst>
      <p:ext uri="{BB962C8B-B14F-4D97-AF65-F5344CB8AC3E}">
        <p14:creationId xmlns:p14="http://schemas.microsoft.com/office/powerpoint/2010/main" val="2513650721"/>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 uri="{C183D7F6-B498-43B3-948B-1728B52AA6E4}">
                <adec:decorative xmlns:adec="http://schemas.microsoft.com/office/drawing/2017/decorative" val="1"/>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15" name="Rectangle: Rounded Corners 14">
            <a:extLst>
              <a:ext uri="{FF2B5EF4-FFF2-40B4-BE49-F238E27FC236}">
                <a16:creationId xmlns:a16="http://schemas.microsoft.com/office/drawing/2014/main" id="{94754406-07DC-EC76-61D1-69E4FB8A46E5}"/>
              </a:ext>
              <a:ext uri="{C183D7F6-B498-43B3-948B-1728B52AA6E4}">
                <adec:decorative xmlns:adec="http://schemas.microsoft.com/office/drawing/2017/decorative" val="1"/>
              </a:ext>
            </a:extLst>
          </p:cNvPr>
          <p:cNvSpPr>
            <a:spLocks/>
          </p:cNvSpPr>
          <p:nvPr userDrawn="1"/>
        </p:nvSpPr>
        <p:spPr bwMode="auto">
          <a:xfrm>
            <a:off x="617359" y="1172697"/>
            <a:ext cx="5399675" cy="2256303"/>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16" name="Rectangle: Rounded Corners 15">
            <a:extLst>
              <a:ext uri="{FF2B5EF4-FFF2-40B4-BE49-F238E27FC236}">
                <a16:creationId xmlns:a16="http://schemas.microsoft.com/office/drawing/2014/main" id="{B8C6AE17-9429-096F-1E8F-B770375C421D}"/>
              </a:ext>
              <a:ext uri="{C183D7F6-B498-43B3-948B-1728B52AA6E4}">
                <adec:decorative xmlns:adec="http://schemas.microsoft.com/office/drawing/2017/decorative" val="1"/>
              </a:ext>
            </a:extLst>
          </p:cNvPr>
          <p:cNvSpPr>
            <a:spLocks/>
          </p:cNvSpPr>
          <p:nvPr userDrawn="1"/>
        </p:nvSpPr>
        <p:spPr bwMode="auto">
          <a:xfrm>
            <a:off x="6209713" y="1172697"/>
            <a:ext cx="5399675" cy="2256303"/>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solidFill>
                <a:latin typeface="+mj-lt"/>
              </a:defRPr>
            </a:lvl1pPr>
            <a:lvl2pPr marL="288925" indent="-174625">
              <a:buFont typeface="Arial" panose="020B0604020202020204" pitchFamily="34" charset="0"/>
              <a:buChar char="•"/>
              <a:defRPr sz="1400">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solidFill>
                <a:latin typeface="+mj-lt"/>
              </a:defRPr>
            </a:lvl1pPr>
            <a:lvl2pPr marL="288925" indent="-174625">
              <a:buFont typeface="Arial" panose="020B0604020202020204" pitchFamily="34" charset="0"/>
              <a:buChar char="•"/>
              <a:defRPr sz="1400">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95"/>
            <a:ext cx="2603499" cy="1240994"/>
          </a:xfrm>
          <a:prstGeom prst="roundRect">
            <a:avLst>
              <a:gd name="adj" fmla="val 7500"/>
            </a:avLst>
          </a:prstGeom>
          <a:blipFill>
            <a:blip r:embed="rId3"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4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3413536" y="3649695"/>
            <a:ext cx="2603499" cy="1240994"/>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6209713" y="3649695"/>
            <a:ext cx="2603499" cy="1240994"/>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9005889" y="3649695"/>
            <a:ext cx="2603499" cy="1240994"/>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617359" y="5028044"/>
            <a:ext cx="2603499" cy="1240994"/>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3413536" y="5028044"/>
            <a:ext cx="2603499" cy="1240994"/>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6209713" y="5028044"/>
            <a:ext cx="2603499" cy="1240994"/>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9005889" y="5028044"/>
            <a:ext cx="2603499" cy="1240994"/>
          </a:xfrm>
          <a:prstGeom prst="roundRect">
            <a:avLst>
              <a:gd name="adj" fmla="val 7500"/>
            </a:avLst>
          </a:prstGeom>
          <a:blipFill>
            <a:blip r:embed="rId10" cstate="screen">
              <a:extLst>
                <a:ext uri="{28A0092B-C50C-407E-A947-70E740481C1C}">
                  <a14:useLocalDpi xmlns:a14="http://schemas.microsoft.com/office/drawing/2010/main"/>
                </a:ext>
              </a:extLst>
            </a:blip>
            <a:stretch>
              <a:fillRect/>
            </a:stretch>
          </a:blipFill>
        </p:spPr>
        <p:txBody>
          <a:bodyPr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1213094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15" name="Rectangle: Rounded Corners 14">
            <a:extLst>
              <a:ext uri="{FF2B5EF4-FFF2-40B4-BE49-F238E27FC236}">
                <a16:creationId xmlns:a16="http://schemas.microsoft.com/office/drawing/2014/main" id="{94754406-07DC-EC76-61D1-69E4FB8A46E5}"/>
              </a:ext>
            </a:extLst>
          </p:cNvPr>
          <p:cNvSpPr>
            <a:spLocks/>
          </p:cNvSpPr>
          <p:nvPr userDrawn="1"/>
        </p:nvSpPr>
        <p:spPr bwMode="auto">
          <a:xfrm>
            <a:off x="617359" y="1172697"/>
            <a:ext cx="5399675" cy="2256303"/>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16" name="Rectangle: Rounded Corners 15">
            <a:extLst>
              <a:ext uri="{FF2B5EF4-FFF2-40B4-BE49-F238E27FC236}">
                <a16:creationId xmlns:a16="http://schemas.microsoft.com/office/drawing/2014/main" id="{B8C6AE17-9429-096F-1E8F-B770375C421D}"/>
              </a:ext>
            </a:extLst>
          </p:cNvPr>
          <p:cNvSpPr>
            <a:spLocks/>
          </p:cNvSpPr>
          <p:nvPr userDrawn="1"/>
        </p:nvSpPr>
        <p:spPr bwMode="auto">
          <a:xfrm>
            <a:off x="6209713" y="1172697"/>
            <a:ext cx="5399675" cy="2256303"/>
          </a:xfrm>
          <a:prstGeom prst="roundRect">
            <a:avLst>
              <a:gd name="adj" fmla="val 2490"/>
            </a:avLst>
          </a:prstGeom>
          <a:solidFill>
            <a:schemeClr val="bg1"/>
          </a:solidFill>
          <a:ln>
            <a:noFill/>
            <a:headEnd type="none" w="med" len="med"/>
            <a:tailEnd type="none" w="med" len="med"/>
          </a:ln>
          <a:effectLst>
            <a:outerShdw blurRad="190500" dist="889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indent="0" defTabSz="932472" fontAlgn="base">
              <a:spcBef>
                <a:spcPct val="0"/>
              </a:spcBef>
              <a:spcAft>
                <a:spcPct val="0"/>
              </a:spcAft>
              <a:buFont typeface="Arial" panose="020B0604020202020204" pitchFamily="34" charset="0"/>
              <a:buNone/>
            </a:pPr>
            <a:endParaRPr lang="en-US" sz="2000" noProof="0">
              <a:solidFill>
                <a:srgbClr val="FFFFFF"/>
              </a:solidFill>
              <a:ea typeface="+mn-ea"/>
              <a:cs typeface="Segoe UI" pitchFamily="34" charset="0"/>
            </a:endParaRPr>
          </a:p>
        </p:txBody>
      </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28" name="Text Placeholder 13">
            <a:extLst>
              <a:ext uri="{FF2B5EF4-FFF2-40B4-BE49-F238E27FC236}">
                <a16:creationId xmlns:a16="http://schemas.microsoft.com/office/drawing/2014/main" id="{34FB5524-DE65-9820-D5BE-322C75C17DDB}"/>
              </a:ext>
            </a:extLst>
          </p:cNvPr>
          <p:cNvSpPr>
            <a:spLocks noGrp="1"/>
          </p:cNvSpPr>
          <p:nvPr>
            <p:ph type="body" sz="quarter" idx="29"/>
          </p:nvPr>
        </p:nvSpPr>
        <p:spPr>
          <a:xfrm>
            <a:off x="675089" y="1172697"/>
            <a:ext cx="5284215" cy="597087"/>
          </a:xfrm>
        </p:spPr>
        <p:txBody>
          <a:bodyPr lIns="91440" tIns="45720" rIns="91440" bIns="45720"/>
          <a:lstStyle>
            <a:lvl1pPr marL="0" indent="0">
              <a:buNone/>
              <a:defRPr sz="1600">
                <a:solidFill>
                  <a:schemeClr val="accent1"/>
                </a:solidFill>
                <a:latin typeface="+mj-lt"/>
              </a:defRPr>
            </a:lvl1pPr>
            <a:lvl2pPr marL="288925" indent="-174625">
              <a:buFont typeface="Arial" panose="020B0604020202020204" pitchFamily="34" charset="0"/>
              <a:buChar char="•"/>
              <a:defRPr sz="1400">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29" name="Text Placeholder 13">
            <a:extLst>
              <a:ext uri="{FF2B5EF4-FFF2-40B4-BE49-F238E27FC236}">
                <a16:creationId xmlns:a16="http://schemas.microsoft.com/office/drawing/2014/main" id="{9E3CB33B-AA91-CDC6-081C-F0985DBF6AAF}"/>
              </a:ext>
            </a:extLst>
          </p:cNvPr>
          <p:cNvSpPr>
            <a:spLocks noGrp="1"/>
          </p:cNvSpPr>
          <p:nvPr>
            <p:ph type="body" sz="quarter" idx="30"/>
          </p:nvPr>
        </p:nvSpPr>
        <p:spPr>
          <a:xfrm>
            <a:off x="6267443" y="1172697"/>
            <a:ext cx="5284215" cy="597087"/>
          </a:xfrm>
        </p:spPr>
        <p:txBody>
          <a:bodyPr lIns="91440" tIns="45720" rIns="91440" bIns="45720"/>
          <a:lstStyle>
            <a:lvl1pPr marL="0" indent="0">
              <a:buNone/>
              <a:defRPr sz="1600">
                <a:solidFill>
                  <a:schemeClr val="accent1"/>
                </a:solidFill>
                <a:latin typeface="+mj-lt"/>
              </a:defRPr>
            </a:lvl1pPr>
            <a:lvl2pPr marL="288925" indent="-174625">
              <a:buFont typeface="Arial" panose="020B0604020202020204" pitchFamily="34" charset="0"/>
              <a:buChar char="•"/>
              <a:defRPr sz="1400">
                <a:latin typeface="+mn-lt"/>
              </a:defRPr>
            </a:lvl2pPr>
            <a:lvl3pPr>
              <a:defRPr sz="11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p:txBody>
      </p:sp>
      <p:sp>
        <p:nvSpPr>
          <p:cNvPr id="81" name="Content Placeholder 79">
            <a:extLst>
              <a:ext uri="{FF2B5EF4-FFF2-40B4-BE49-F238E27FC236}">
                <a16:creationId xmlns:a16="http://schemas.microsoft.com/office/drawing/2014/main" id="{6628A398-DC5A-1A70-4BEC-835B87517F3B}"/>
              </a:ext>
            </a:extLst>
          </p:cNvPr>
          <p:cNvSpPr>
            <a:spLocks noGrp="1"/>
          </p:cNvSpPr>
          <p:nvPr>
            <p:ph sz="quarter" idx="22"/>
          </p:nvPr>
        </p:nvSpPr>
        <p:spPr>
          <a:xfrm>
            <a:off x="617359" y="3649663"/>
            <a:ext cx="2289208" cy="2619375"/>
          </a:xfrm>
          <a:prstGeom prst="roundRect">
            <a:avLst>
              <a:gd name="adj" fmla="val 4005"/>
            </a:avLst>
          </a:prstGeom>
          <a:blipFill>
            <a:blip r:embed="rId3"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80" name="Content Placeholder 79">
            <a:extLst>
              <a:ext uri="{FF2B5EF4-FFF2-40B4-BE49-F238E27FC236}">
                <a16:creationId xmlns:a16="http://schemas.microsoft.com/office/drawing/2014/main" id="{FBF4AE9F-1D31-284D-41A0-D620B510A442}"/>
              </a:ext>
            </a:extLst>
          </p:cNvPr>
          <p:cNvSpPr>
            <a:spLocks noGrp="1"/>
          </p:cNvSpPr>
          <p:nvPr>
            <p:ph sz="quarter" idx="21"/>
          </p:nvPr>
        </p:nvSpPr>
        <p:spPr>
          <a:xfrm>
            <a:off x="2963215" y="3649663"/>
            <a:ext cx="2395436" cy="1318577"/>
          </a:xfrm>
          <a:prstGeom prst="roundRect">
            <a:avLst>
              <a:gd name="adj" fmla="val 7500"/>
            </a:avLst>
          </a:prstGeom>
          <a:blipFill>
            <a:blip r:embed="rId4"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0" name="Content Placeholder 79">
            <a:extLst>
              <a:ext uri="{FF2B5EF4-FFF2-40B4-BE49-F238E27FC236}">
                <a16:creationId xmlns:a16="http://schemas.microsoft.com/office/drawing/2014/main" id="{8066C20F-A2B5-7765-B4EE-49AB73AD9F72}"/>
              </a:ext>
            </a:extLst>
          </p:cNvPr>
          <p:cNvSpPr>
            <a:spLocks noGrp="1"/>
          </p:cNvSpPr>
          <p:nvPr>
            <p:ph sz="quarter" idx="23"/>
          </p:nvPr>
        </p:nvSpPr>
        <p:spPr>
          <a:xfrm>
            <a:off x="5415299" y="3649663"/>
            <a:ext cx="2395436" cy="1318577"/>
          </a:xfrm>
          <a:prstGeom prst="roundRect">
            <a:avLst>
              <a:gd name="adj" fmla="val 7500"/>
            </a:avLst>
          </a:prstGeom>
          <a:blipFill>
            <a:blip r:embed="rId5"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1" name="Content Placeholder 79">
            <a:extLst>
              <a:ext uri="{FF2B5EF4-FFF2-40B4-BE49-F238E27FC236}">
                <a16:creationId xmlns:a16="http://schemas.microsoft.com/office/drawing/2014/main" id="{72743848-925A-61E9-5F3F-5CE62F34ED0F}"/>
              </a:ext>
            </a:extLst>
          </p:cNvPr>
          <p:cNvSpPr>
            <a:spLocks noGrp="1"/>
          </p:cNvSpPr>
          <p:nvPr>
            <p:ph sz="quarter" idx="24"/>
          </p:nvPr>
        </p:nvSpPr>
        <p:spPr>
          <a:xfrm>
            <a:off x="7867383" y="3649663"/>
            <a:ext cx="2257937" cy="1318577"/>
          </a:xfrm>
          <a:prstGeom prst="roundRect">
            <a:avLst>
              <a:gd name="adj" fmla="val 7500"/>
            </a:avLst>
          </a:prstGeom>
          <a:blipFill>
            <a:blip r:embed="rId6"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92" name="Content Placeholder 79">
            <a:extLst>
              <a:ext uri="{FF2B5EF4-FFF2-40B4-BE49-F238E27FC236}">
                <a16:creationId xmlns:a16="http://schemas.microsoft.com/office/drawing/2014/main" id="{AC32087E-8C90-75D8-CA68-ED71700F51A8}"/>
              </a:ext>
            </a:extLst>
          </p:cNvPr>
          <p:cNvSpPr>
            <a:spLocks noGrp="1"/>
          </p:cNvSpPr>
          <p:nvPr>
            <p:ph sz="quarter" idx="25"/>
          </p:nvPr>
        </p:nvSpPr>
        <p:spPr>
          <a:xfrm>
            <a:off x="2963215" y="5050762"/>
            <a:ext cx="1723353" cy="1218277"/>
          </a:xfrm>
          <a:prstGeom prst="roundRect">
            <a:avLst>
              <a:gd name="adj" fmla="val 7500"/>
            </a:avLst>
          </a:prstGeom>
          <a:blipFill>
            <a:blip r:embed="rId7"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5" name="Content Placeholder 79">
            <a:extLst>
              <a:ext uri="{FF2B5EF4-FFF2-40B4-BE49-F238E27FC236}">
                <a16:creationId xmlns:a16="http://schemas.microsoft.com/office/drawing/2014/main" id="{9E31A79D-E0C5-ECEA-CC2F-5CD5DF08B115}"/>
              </a:ext>
            </a:extLst>
          </p:cNvPr>
          <p:cNvSpPr>
            <a:spLocks noGrp="1"/>
          </p:cNvSpPr>
          <p:nvPr>
            <p:ph sz="quarter" idx="26"/>
          </p:nvPr>
        </p:nvSpPr>
        <p:spPr>
          <a:xfrm>
            <a:off x="4759470" y="5050762"/>
            <a:ext cx="2661059" cy="1218276"/>
          </a:xfrm>
          <a:prstGeom prst="roundRect">
            <a:avLst>
              <a:gd name="adj" fmla="val 7500"/>
            </a:avLst>
          </a:prstGeom>
          <a:blipFill>
            <a:blip r:embed="rId8"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1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6" name="Content Placeholder 79">
            <a:extLst>
              <a:ext uri="{FF2B5EF4-FFF2-40B4-BE49-F238E27FC236}">
                <a16:creationId xmlns:a16="http://schemas.microsoft.com/office/drawing/2014/main" id="{EF55A55C-C2D6-DC96-2F00-AA3C38F3B438}"/>
              </a:ext>
            </a:extLst>
          </p:cNvPr>
          <p:cNvSpPr>
            <a:spLocks noGrp="1"/>
          </p:cNvSpPr>
          <p:nvPr>
            <p:ph sz="quarter" idx="27"/>
          </p:nvPr>
        </p:nvSpPr>
        <p:spPr>
          <a:xfrm>
            <a:off x="7493431" y="5050762"/>
            <a:ext cx="2631889" cy="1218276"/>
          </a:xfrm>
          <a:prstGeom prst="roundRect">
            <a:avLst>
              <a:gd name="adj" fmla="val 7500"/>
            </a:avLst>
          </a:prstGeom>
          <a:blipFill>
            <a:blip r:embed="rId9" cstate="screen">
              <a:extLst>
                <a:ext uri="{28A0092B-C50C-407E-A947-70E740481C1C}">
                  <a14:useLocalDpi xmlns:a14="http://schemas.microsoft.com/office/drawing/2010/main"/>
                </a:ext>
              </a:extLst>
            </a:blip>
            <a:stretch>
              <a:fillRect/>
            </a:stretch>
          </a:blipFill>
        </p:spPr>
        <p:txBody>
          <a:bodyPr wrap="none" tIns="0" anchor="ctr">
            <a:noAutofit/>
          </a:bodyPr>
          <a:lstStyle>
            <a:lvl1pPr marL="0" indent="0" algn="ctr">
              <a:buNone/>
              <a:defRPr sz="105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
        <p:nvSpPr>
          <p:cNvPr id="27" name="Content Placeholder 79">
            <a:extLst>
              <a:ext uri="{FF2B5EF4-FFF2-40B4-BE49-F238E27FC236}">
                <a16:creationId xmlns:a16="http://schemas.microsoft.com/office/drawing/2014/main" id="{8E6E0B4F-45D8-FAB8-720E-B70080603E59}"/>
              </a:ext>
            </a:extLst>
          </p:cNvPr>
          <p:cNvSpPr>
            <a:spLocks noGrp="1"/>
          </p:cNvSpPr>
          <p:nvPr>
            <p:ph sz="quarter" idx="28"/>
          </p:nvPr>
        </p:nvSpPr>
        <p:spPr>
          <a:xfrm>
            <a:off x="10181968" y="3649663"/>
            <a:ext cx="1420812" cy="2619375"/>
          </a:xfrm>
          <a:prstGeom prst="roundRect">
            <a:avLst>
              <a:gd name="adj" fmla="val 5891"/>
            </a:avLst>
          </a:prstGeom>
          <a:blipFill>
            <a:blip r:embed="rId10" cstate="screen">
              <a:extLst>
                <a:ext uri="{28A0092B-C50C-407E-A947-70E740481C1C}">
                  <a14:useLocalDpi xmlns:a14="http://schemas.microsoft.com/office/drawing/2010/main"/>
                </a:ext>
              </a:extLst>
            </a:blip>
            <a:stretch>
              <a:fillRect/>
            </a:stretch>
          </a:blipFill>
        </p:spPr>
        <p:txBody>
          <a:bodyPr wrap="none" lIns="0" tIns="0" rIns="0" anchor="ctr">
            <a:noAutofit/>
          </a:bodyPr>
          <a:lstStyle>
            <a:lvl1pPr marL="0" indent="0" algn="ctr">
              <a:buNone/>
              <a:defRPr sz="1000">
                <a:solidFill>
                  <a:schemeClr val="bg1"/>
                </a:solidFill>
              </a:defRPr>
            </a:lvl1pPr>
            <a:lvl2pPr>
              <a:defRPr sz="1200"/>
            </a:lvl2pPr>
            <a:lvl3pPr>
              <a:defRPr sz="1050"/>
            </a:lvl3pPr>
            <a:lvl4pPr>
              <a:defRPr sz="1000"/>
            </a:lvl4pPr>
            <a:lvl5pPr>
              <a:defRPr sz="1000"/>
            </a:lvl5pPr>
          </a:lstStyle>
          <a:p>
            <a:pPr lvl="0"/>
            <a:r>
              <a:rPr lang="en-US"/>
              <a:t>Click to edit Master text</a:t>
            </a:r>
            <a:endParaRPr lang="en-IN"/>
          </a:p>
        </p:txBody>
      </p:sp>
    </p:spTree>
    <p:extLst>
      <p:ext uri="{BB962C8B-B14F-4D97-AF65-F5344CB8AC3E}">
        <p14:creationId xmlns:p14="http://schemas.microsoft.com/office/powerpoint/2010/main" val="2443348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Tree>
    <p:extLst>
      <p:ext uri="{BB962C8B-B14F-4D97-AF65-F5344CB8AC3E}">
        <p14:creationId xmlns:p14="http://schemas.microsoft.com/office/powerpoint/2010/main" val="404687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 uri="{C183D7F6-B498-43B3-948B-1728B52AA6E4}">
                <adec:decorative xmlns:adec="http://schemas.microsoft.com/office/drawing/2017/decorative" val="1"/>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14" name="Content Placeholder 13">
            <a:extLst>
              <a:ext uri="{FF2B5EF4-FFF2-40B4-BE49-F238E27FC236}">
                <a16:creationId xmlns:a16="http://schemas.microsoft.com/office/drawing/2014/main" id="{7F8F9E11-9FFE-8DED-8300-7CEBEBC6E92D}"/>
              </a:ext>
            </a:extLst>
          </p:cNvPr>
          <p:cNvSpPr>
            <a:spLocks noGrp="1"/>
          </p:cNvSpPr>
          <p:nvPr>
            <p:ph sz="quarter" idx="10"/>
          </p:nvPr>
        </p:nvSpPr>
        <p:spPr>
          <a:xfrm>
            <a:off x="9218613" y="1458034"/>
            <a:ext cx="2390775" cy="1545219"/>
          </a:xfrm>
          <a:prstGeom prst="roundRect">
            <a:avLst>
              <a:gd name="adj" fmla="val 7500"/>
            </a:avLst>
          </a:prstGeom>
          <a:blipFill>
            <a:blip r:embed="rId3"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 name="Content Placeholder 13">
            <a:extLst>
              <a:ext uri="{FF2B5EF4-FFF2-40B4-BE49-F238E27FC236}">
                <a16:creationId xmlns:a16="http://schemas.microsoft.com/office/drawing/2014/main" id="{5685F1A3-7033-0357-7B06-541F7248BF98}"/>
              </a:ext>
            </a:extLst>
          </p:cNvPr>
          <p:cNvSpPr>
            <a:spLocks noGrp="1"/>
          </p:cNvSpPr>
          <p:nvPr>
            <p:ph sz="quarter" idx="11"/>
          </p:nvPr>
        </p:nvSpPr>
        <p:spPr>
          <a:xfrm>
            <a:off x="9218613" y="3088169"/>
            <a:ext cx="2390775" cy="1545219"/>
          </a:xfrm>
          <a:prstGeom prst="roundRect">
            <a:avLst>
              <a:gd name="adj" fmla="val 7500"/>
            </a:avLst>
          </a:prstGeom>
          <a:blipFill>
            <a:blip r:embed="rId3"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4718304"/>
            <a:ext cx="2390775" cy="1545219"/>
          </a:xfrm>
          <a:prstGeom prst="roundRect">
            <a:avLst>
              <a:gd name="adj" fmla="val 7500"/>
            </a:avLst>
          </a:prstGeom>
          <a:blipFill>
            <a:blip r:embed="rId3" cstate="screen">
              <a:extLst>
                <a:ext uri="{28A0092B-C50C-407E-A947-70E740481C1C}">
                  <a14:useLocalDpi xmlns:a14="http://schemas.microsoft.com/office/drawing/2010/main"/>
                </a:ext>
              </a:extLst>
            </a:blip>
            <a:stretch>
              <a:fillRect/>
            </a:stretch>
          </a:blipFill>
        </p:spPr>
        <p:txBody>
          <a:bodyPr tIns="0" rIns="0" anchor="ctr">
            <a:noAutofit/>
          </a:bodyPr>
          <a:lstStyle>
            <a:lvl1pPr marL="0" indent="0" algn="ctr">
              <a:buNone/>
              <a:defRPr sz="105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311521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33AB5D1-1F72-F31E-BED4-DD45C4872468}"/>
              </a:ext>
            </a:extLst>
          </p:cNvPr>
          <p:cNvGrpSpPr/>
          <p:nvPr userDrawn="1"/>
        </p:nvGrpSpPr>
        <p:grpSpPr>
          <a:xfrm>
            <a:off x="0" y="0"/>
            <a:ext cx="12192001" cy="6858000"/>
            <a:chOff x="0" y="0"/>
            <a:chExt cx="12192001" cy="685800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grpSp>
      <p:sp>
        <p:nvSpPr>
          <p:cNvPr id="60" name="Title 1">
            <a:extLst>
              <a:ext uri="{FF2B5EF4-FFF2-40B4-BE49-F238E27FC236}">
                <a16:creationId xmlns:a16="http://schemas.microsoft.com/office/drawing/2014/main" id="{43440211-498C-BFC9-C4A9-8F0B19403530}"/>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
        <p:nvSpPr>
          <p:cNvPr id="3" name="Content Placeholder 13">
            <a:extLst>
              <a:ext uri="{FF2B5EF4-FFF2-40B4-BE49-F238E27FC236}">
                <a16:creationId xmlns:a16="http://schemas.microsoft.com/office/drawing/2014/main" id="{1601EB92-705B-1E07-ABB2-6A81E38CA58E}"/>
              </a:ext>
            </a:extLst>
          </p:cNvPr>
          <p:cNvSpPr>
            <a:spLocks noGrp="1"/>
          </p:cNvSpPr>
          <p:nvPr>
            <p:ph sz="quarter" idx="12"/>
          </p:nvPr>
        </p:nvSpPr>
        <p:spPr>
          <a:xfrm>
            <a:off x="9218613" y="2212848"/>
            <a:ext cx="2390775" cy="4050675"/>
          </a:xfrm>
          <a:prstGeom prst="roundRect">
            <a:avLst>
              <a:gd name="adj" fmla="val 5830"/>
            </a:avLst>
          </a:prstGeom>
          <a:blipFill>
            <a:blip r:embed="rId3" cstate="screen">
              <a:extLst>
                <a:ext uri="{28A0092B-C50C-407E-A947-70E740481C1C}">
                  <a14:useLocalDpi xmlns:a14="http://schemas.microsoft.com/office/drawing/2010/main"/>
                </a:ext>
              </a:extLst>
            </a:blip>
            <a:stretch>
              <a:fillRect/>
            </a:stretch>
          </a:blipFill>
        </p:spPr>
        <p:txBody>
          <a:bodyPr lIns="0" tIns="914400" rIns="0" bIns="0">
            <a:noAutofit/>
          </a:bodyPr>
          <a:lstStyle>
            <a:lvl1pPr marL="0" indent="0" algn="ctr">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6" name="Text Placeholder 15">
            <a:extLst>
              <a:ext uri="{FF2B5EF4-FFF2-40B4-BE49-F238E27FC236}">
                <a16:creationId xmlns:a16="http://schemas.microsoft.com/office/drawing/2014/main" id="{33015405-CC0A-A610-6702-C8C57D162D56}"/>
              </a:ext>
            </a:extLst>
          </p:cNvPr>
          <p:cNvSpPr>
            <a:spLocks noGrp="1"/>
          </p:cNvSpPr>
          <p:nvPr>
            <p:ph type="body" sz="quarter" idx="13"/>
          </p:nvPr>
        </p:nvSpPr>
        <p:spPr>
          <a:xfrm>
            <a:off x="9218613" y="1749233"/>
            <a:ext cx="2390775" cy="276999"/>
          </a:xfrm>
        </p:spPr>
        <p:txBody>
          <a:bodyPr anchor="b"/>
          <a:lstStyle>
            <a:lvl1pPr marL="0" indent="0" algn="ctr">
              <a:buNone/>
              <a:defRPr sz="1800">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2687459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orient="horz" pos="912">
          <p15:clr>
            <a:srgbClr val="5ACBF0"/>
          </p15:clr>
        </p15:guide>
        <p15:guide id="32" orient="horz" pos="1272">
          <p15:clr>
            <a:srgbClr val="5ACBF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4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52001"/>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solidFill>
                  <a:schemeClr val="bg1"/>
                </a:solidFill>
              </a:defRPr>
            </a:lvl1pPr>
          </a:lstStyle>
          <a:p>
            <a:pPr marL="0" lvl="0"/>
            <a:r>
              <a:rPr lang="en-US"/>
              <a:t>Section Title</a:t>
            </a:r>
            <a:endParaRPr lang="en-IN"/>
          </a:p>
        </p:txBody>
      </p:sp>
    </p:spTree>
    <p:extLst>
      <p:ext uri="{BB962C8B-B14F-4D97-AF65-F5344CB8AC3E}">
        <p14:creationId xmlns:p14="http://schemas.microsoft.com/office/powerpoint/2010/main" val="2924833519"/>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5_Customer story slide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5216DB-886C-1209-F59E-1FF3A711566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B0DF6C4-49F2-30D1-69C3-45FFD14CEDBF}"/>
                </a:ext>
              </a:extLst>
            </p:cNvPr>
            <p:cNvGrpSpPr/>
            <p:nvPr userDrawn="1"/>
          </p:nvGrpSpPr>
          <p:grpSpPr>
            <a:xfrm>
              <a:off x="0" y="0"/>
              <a:ext cx="12192000" cy="6858000"/>
              <a:chOff x="0" y="0"/>
              <a:chExt cx="12192000" cy="6858000"/>
            </a:xfrm>
          </p:grpSpPr>
          <p:pic>
            <p:nvPicPr>
              <p:cNvPr id="32" name="Picture 31" descr="A picture containing blue, electric blue, majorelle blue, blur&#10;&#10;Description automatically generated">
                <a:extLst>
                  <a:ext uri="{FF2B5EF4-FFF2-40B4-BE49-F238E27FC236}">
                    <a16:creationId xmlns:a16="http://schemas.microsoft.com/office/drawing/2014/main" id="{4CC43BD4-1985-F9B3-44AE-6C68FB362A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B4C10C80-D9BE-482B-B12F-DD0965C834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FF627A0-12F6-F460-B544-FBB2F7D2A318}"/>
                </a:ext>
              </a:extLst>
            </p:cNvPr>
            <p:cNvGrpSpPr/>
            <p:nvPr userDrawn="1"/>
          </p:nvGrpSpPr>
          <p:grpSpPr>
            <a:xfrm>
              <a:off x="0" y="0"/>
              <a:ext cx="12192000" cy="6858002"/>
              <a:chOff x="0" y="0"/>
              <a:chExt cx="12192000" cy="6858002"/>
            </a:xfrm>
          </p:grpSpPr>
          <p:grpSp>
            <p:nvGrpSpPr>
              <p:cNvPr id="11" name="Group 10">
                <a:extLst>
                  <a:ext uri="{FF2B5EF4-FFF2-40B4-BE49-F238E27FC236}">
                    <a16:creationId xmlns:a16="http://schemas.microsoft.com/office/drawing/2014/main" id="{450D8E45-35B6-B4E2-FDC3-4DF308DB27BA}"/>
                  </a:ext>
                </a:extLst>
              </p:cNvPr>
              <p:cNvGrpSpPr/>
              <p:nvPr/>
            </p:nvGrpSpPr>
            <p:grpSpPr>
              <a:xfrm>
                <a:off x="0" y="0"/>
                <a:ext cx="12192000" cy="6858002"/>
                <a:chOff x="0" y="0"/>
                <a:chExt cx="12192000" cy="6858002"/>
              </a:xfrm>
            </p:grpSpPr>
            <p:grpSp>
              <p:nvGrpSpPr>
                <p:cNvPr id="13" name="Group 12">
                  <a:extLst>
                    <a:ext uri="{FF2B5EF4-FFF2-40B4-BE49-F238E27FC236}">
                      <a16:creationId xmlns:a16="http://schemas.microsoft.com/office/drawing/2014/main" id="{8252B64A-D78A-9FE3-C7E3-3A2E5492F12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3A2A68B5-18BF-DCBE-D545-1F1EEE60858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31" name="Freeform: Shape 30">
                    <a:extLst>
                      <a:ext uri="{FF2B5EF4-FFF2-40B4-BE49-F238E27FC236}">
                        <a16:creationId xmlns:a16="http://schemas.microsoft.com/office/drawing/2014/main" id="{EC3BC400-28E0-DFD7-A22F-962FB51CAA6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8" name="Freeform: Shape 17">
                  <a:extLst>
                    <a:ext uri="{FF2B5EF4-FFF2-40B4-BE49-F238E27FC236}">
                      <a16:creationId xmlns:a16="http://schemas.microsoft.com/office/drawing/2014/main" id="{86938314-582E-2943-CC2F-39AC385C3C1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2" name="Freeform: Shape 11">
                <a:extLst>
                  <a:ext uri="{FF2B5EF4-FFF2-40B4-BE49-F238E27FC236}">
                    <a16:creationId xmlns:a16="http://schemas.microsoft.com/office/drawing/2014/main" id="{750AE3A2-F49C-48CF-5346-988DA98C4B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7" name="Rectangle: Top Corners Rounded 6">
            <a:extLst>
              <a:ext uri="{FF2B5EF4-FFF2-40B4-BE49-F238E27FC236}">
                <a16:creationId xmlns:a16="http://schemas.microsoft.com/office/drawing/2014/main" id="{CB0B2AFE-795D-9F81-C2DA-BE6BA5909955}"/>
              </a:ext>
              <a:ext uri="{C183D7F6-B498-43B3-948B-1728B52AA6E4}">
                <adec:decorative xmlns:adec="http://schemas.microsoft.com/office/drawing/2017/decorative" val="1"/>
              </a:ext>
            </a:extLst>
          </p:cNvPr>
          <p:cNvSpPr/>
          <p:nvPr userDrawn="1"/>
        </p:nvSpPr>
        <p:spPr bwMode="auto">
          <a:xfrm flipH="1">
            <a:off x="2994654" y="4151782"/>
            <a:ext cx="9211883" cy="2706217"/>
          </a:xfrm>
          <a:prstGeom prst="round2SameRect">
            <a:avLst>
              <a:gd name="adj1" fmla="val 0"/>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 uri="{C183D7F6-B498-43B3-948B-1728B52AA6E4}">
                <adec:decorative xmlns:adec="http://schemas.microsoft.com/office/drawing/2017/decorative" val="1"/>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no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 uri="{C183D7F6-B498-43B3-948B-1728B52AA6E4}">
                <adec:decorative xmlns:adec="http://schemas.microsoft.com/office/drawing/2017/decorative" val="1"/>
              </a:ext>
            </a:extLst>
          </p:cNvPr>
          <p:cNvSpPr/>
          <p:nvPr userDrawn="1"/>
        </p:nvSpPr>
        <p:spPr bwMode="auto">
          <a:xfrm>
            <a:off x="-1" y="0"/>
            <a:ext cx="2994654" cy="685800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a:solidFill>
                <a:schemeClr val="lt1"/>
              </a:solidFill>
            </a:endParaRPr>
          </a:p>
        </p:txBody>
      </p:sp>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37" name="Group 36">
            <a:extLst>
              <a:ext uri="{FF2B5EF4-FFF2-40B4-BE49-F238E27FC236}">
                <a16:creationId xmlns:a16="http://schemas.microsoft.com/office/drawing/2014/main" id="{E4776AAC-9A32-F029-8160-C8B636AF5080}"/>
              </a:ext>
              <a:ext uri="{C183D7F6-B498-43B3-948B-1728B52AA6E4}">
                <adec:decorative xmlns:adec="http://schemas.microsoft.com/office/drawing/2017/decorative" val="1"/>
              </a:ext>
            </a:extLst>
          </p:cNvPr>
          <p:cNvGrpSpPr/>
          <p:nvPr userDrawn="1"/>
        </p:nvGrpSpPr>
        <p:grpSpPr>
          <a:xfrm>
            <a:off x="327695" y="6180906"/>
            <a:ext cx="1554479" cy="343989"/>
            <a:chOff x="327695" y="6180906"/>
            <a:chExt cx="1554479" cy="343989"/>
          </a:xfrm>
        </p:grpSpPr>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268" r="76718"/>
            <a:stretch/>
          </p:blipFill>
          <p:spPr>
            <a:xfrm>
              <a:off x="327695" y="6180906"/>
              <a:ext cx="361915" cy="343989"/>
            </a:xfrm>
            <a:prstGeom prst="rect">
              <a:avLst/>
            </a:prstGeom>
          </p:spPr>
        </p:pic>
        <p:pic>
          <p:nvPicPr>
            <p:cNvPr id="36" name="Graphic 35">
              <a:extLst>
                <a:ext uri="{FF2B5EF4-FFF2-40B4-BE49-F238E27FC236}">
                  <a16:creationId xmlns:a16="http://schemas.microsoft.com/office/drawing/2014/main" id="{90BB7AFC-1C37-439A-40FD-08922295A1B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5488" t="-3268"/>
            <a:stretch/>
          </p:blipFill>
          <p:spPr>
            <a:xfrm>
              <a:off x="723899" y="6180906"/>
              <a:ext cx="1158275" cy="343989"/>
            </a:xfrm>
            <a:prstGeom prst="rect">
              <a:avLst/>
            </a:prstGeom>
          </p:spPr>
        </p:pic>
      </p:grpSp>
      <p:sp>
        <p:nvSpPr>
          <p:cNvPr id="38" name="Text Placeholder 35">
            <a:extLst>
              <a:ext uri="{FF2B5EF4-FFF2-40B4-BE49-F238E27FC236}">
                <a16:creationId xmlns:a16="http://schemas.microsoft.com/office/drawing/2014/main" id="{8FD5FFDC-A6EB-3C87-986F-196C59661E0C}"/>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54DFE48E-8FCA-F310-ED49-531C1EC2F6C4}"/>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820F9AEF-BAC6-1441-BB7B-65BCFBABC58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5391923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3C5F01E0-FCA9-123F-F4B6-95DF9C407F08}"/>
              </a:ext>
            </a:extLst>
          </p:cNvPr>
          <p:cNvSpPr/>
          <p:nvPr userDrawn="1"/>
        </p:nvSpPr>
        <p:spPr bwMode="auto">
          <a:xfrm>
            <a:off x="6892925" y="585788"/>
            <a:ext cx="4716463" cy="5683249"/>
          </a:xfrm>
          <a:prstGeom prst="roundRect">
            <a:avLst>
              <a:gd name="adj" fmla="val 6345"/>
            </a:avLst>
          </a:prstGeom>
          <a:solidFill>
            <a:schemeClr val="bg1"/>
          </a:solidFill>
          <a:ln w="8467" cap="flat">
            <a:noFill/>
            <a:prstDash val="solid"/>
            <a:miter/>
          </a:ln>
          <a:effectLst>
            <a:outerShdw blurRad="685800" dist="165100" dir="18900000" sx="95000" sy="95000" algn="bl" rotWithShape="0">
              <a:prstClr val="black">
                <a:alpha val="20000"/>
              </a:prstClr>
            </a:outerShdw>
          </a:effectLst>
        </p:spPr>
        <p:txBody>
          <a:bodyPr rtlCol="0" anchor="ctr"/>
          <a:lstStyle/>
          <a:p>
            <a:pPr marL="0" indent="0">
              <a:buFont typeface="Arial" panose="020B0604020202020204" pitchFamily="34" charset="0"/>
              <a:buNone/>
            </a:pPr>
            <a:endParaRPr lang="en-IN" err="1">
              <a:solidFill>
                <a:schemeClr val="tx1"/>
              </a:solidFill>
            </a:endParaRPr>
          </a:p>
        </p:txBody>
      </p:sp>
      <p:pic>
        <p:nvPicPr>
          <p:cNvPr id="4" name="Picture 3">
            <a:extLst>
              <a:ext uri="{FF2B5EF4-FFF2-40B4-BE49-F238E27FC236}">
                <a16:creationId xmlns:a16="http://schemas.microsoft.com/office/drawing/2014/main" id="{CBBE9D09-F88A-C810-FD53-319EC6B35AF8}"/>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F89A7745-38DA-45EF-7B28-4181572416FA}"/>
              </a:ext>
            </a:extLst>
          </p:cNvPr>
          <p:cNvSpPr/>
          <p:nvPr userDrawn="1"/>
        </p:nvSpPr>
        <p:spPr bwMode="auto">
          <a:xfrm>
            <a:off x="0" y="2017713"/>
            <a:ext cx="7110413" cy="3486784"/>
          </a:xfrm>
          <a:prstGeom prst="rect">
            <a:avLst/>
          </a:prstGeom>
          <a:solidFill>
            <a:schemeClr val="bg1"/>
          </a:solidFill>
          <a:ln>
            <a:noFill/>
            <a:headEnd type="none" w="med" len="med"/>
            <a:tailEnd type="none" w="med" len="med"/>
          </a:ln>
          <a:effectLst>
            <a:outerShdw blurRad="444500" dist="419100" dir="8100000" sx="95000" sy="95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IN" sz="2000" err="1">
              <a:solidFill>
                <a:schemeClr val="tx1"/>
              </a:solidFill>
              <a:cs typeface="Segoe UI" pitchFamily="34" charset="0"/>
            </a:endParaRPr>
          </a:p>
        </p:txBody>
      </p:sp>
      <p:grpSp>
        <p:nvGrpSpPr>
          <p:cNvPr id="8" name="Group 7">
            <a:extLst>
              <a:ext uri="{FF2B5EF4-FFF2-40B4-BE49-F238E27FC236}">
                <a16:creationId xmlns:a16="http://schemas.microsoft.com/office/drawing/2014/main" id="{2B47B3F4-A59F-E959-BFB9-9070C3F4693F}"/>
              </a:ext>
            </a:extLst>
          </p:cNvPr>
          <p:cNvGrpSpPr/>
          <p:nvPr userDrawn="1"/>
        </p:nvGrpSpPr>
        <p:grpSpPr>
          <a:xfrm>
            <a:off x="584200" y="1215243"/>
            <a:ext cx="965312" cy="977565"/>
            <a:chOff x="142812" y="139308"/>
            <a:chExt cx="301753" cy="305583"/>
          </a:xfrm>
          <a:effectLst>
            <a:outerShdw blurRad="571500" dist="38100" dir="5400000" sx="95000" sy="95000" algn="t" rotWithShape="0">
              <a:schemeClr val="tx2">
                <a:alpha val="25000"/>
              </a:schemeClr>
            </a:outerShdw>
          </a:effectLst>
        </p:grpSpPr>
        <p:sp>
          <p:nvSpPr>
            <p:cNvPr id="9" name="Rectangle: Rounded Corners 8">
              <a:extLst>
                <a:ext uri="{FF2B5EF4-FFF2-40B4-BE49-F238E27FC236}">
                  <a16:creationId xmlns:a16="http://schemas.microsoft.com/office/drawing/2014/main" id="{D21BD6C9-CDB6-817F-6DA1-06FC2598B472}"/>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tx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8E8A5A4E-77D0-EC21-03A2-A88372631264}"/>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grpSp>
      <p:sp>
        <p:nvSpPr>
          <p:cNvPr id="11" name="Graphic 28">
            <a:extLst>
              <a:ext uri="{FF2B5EF4-FFF2-40B4-BE49-F238E27FC236}">
                <a16:creationId xmlns:a16="http://schemas.microsoft.com/office/drawing/2014/main" id="{94084894-5998-2121-7B84-D92C656E9F5F}"/>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chemeClr val="tx1"/>
              </a:solidFill>
              <a:cs typeface="Segoe UI" pitchFamily="34" charset="0"/>
            </a:endParaRPr>
          </a:p>
        </p:txBody>
      </p:sp>
      <p:sp>
        <p:nvSpPr>
          <p:cNvPr id="13" name="Text Placeholder 35">
            <a:extLst>
              <a:ext uri="{FF2B5EF4-FFF2-40B4-BE49-F238E27FC236}">
                <a16:creationId xmlns:a16="http://schemas.microsoft.com/office/drawing/2014/main" id="{7E45569B-DC4B-6BB5-7125-236795D561C2}"/>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Font typeface="Arial" panose="020B0604020202020204" pitchFamily="34" charset="0"/>
              <a:buNone/>
              <a:defRPr kumimoji="0" lang="en-US" sz="2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Text Placeholder 35">
            <a:extLst>
              <a:ext uri="{FF2B5EF4-FFF2-40B4-BE49-F238E27FC236}">
                <a16:creationId xmlns:a16="http://schemas.microsoft.com/office/drawing/2014/main" id="{37DA3014-0EB4-BDB4-9685-50FA55C9BDD2}"/>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5" name="Picture Placeholder 58">
            <a:extLst>
              <a:ext uri="{FF2B5EF4-FFF2-40B4-BE49-F238E27FC236}">
                <a16:creationId xmlns:a16="http://schemas.microsoft.com/office/drawing/2014/main" id="{899616DF-EE05-1C41-D337-34195C9D7609}"/>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513260080"/>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68CED5D4-D5FE-8E91-2C27-0767AD657DC0}"/>
              </a:ext>
            </a:extLst>
          </p:cNvPr>
          <p:cNvPicPr>
            <a:picLocks noChangeAspect="1"/>
          </p:cNvPicPr>
          <p:nvPr userDrawn="1"/>
        </p:nvPicPr>
        <p:blipFill>
          <a:blip r:embed="rId2" cstate="print">
            <a:alphaModFix amt="8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BB1FBE52-090D-88D4-6AF6-45E7E687FB11}"/>
              </a:ext>
            </a:extLst>
          </p:cNvPr>
          <p:cNvSpPr/>
          <p:nvPr userDrawn="1"/>
        </p:nvSpPr>
        <p:spPr bwMode="auto">
          <a:xfrm>
            <a:off x="0" y="2493962"/>
            <a:ext cx="6463284" cy="1866900"/>
          </a:xfrm>
          <a:prstGeom prst="rect">
            <a:avLst/>
          </a:prstGeom>
          <a:gradFill>
            <a:gsLst>
              <a:gs pos="43000">
                <a:srgbClr val="FFFFFF">
                  <a:alpha val="9000"/>
                </a:srgbClr>
              </a:gs>
              <a:gs pos="0">
                <a:schemeClr val="bg1">
                  <a:alpha val="0"/>
                </a:schemeClr>
              </a:gs>
              <a:gs pos="84000">
                <a:schemeClr val="bg1">
                  <a:alpha val="70000"/>
                </a:schemeClr>
              </a:gs>
            </a:gsLst>
            <a:lin ang="10800000" scaled="1"/>
          </a:gradFill>
          <a:ln>
            <a:noFill/>
            <a:headEnd type="none" w="med" len="med"/>
            <a:tailEnd type="none" w="med" len="med"/>
          </a:ln>
          <a:effectLst>
            <a:outerShdw blurRad="76200" dist="38100" dir="10800000" sx="101000" sy="101000" algn="r" rotWithShape="0">
              <a:schemeClr val="tx1">
                <a:alpha val="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4C015D71-3E55-982A-47FA-9450B990596D}"/>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Box 3" descr="This is a copyright notice that should be included on the final slide.">
            <a:extLst>
              <a:ext uri="{FF2B5EF4-FFF2-40B4-BE49-F238E27FC236}">
                <a16:creationId xmlns:a16="http://schemas.microsoft.com/office/drawing/2014/main" id="{55D7B2BA-D4E8-0B99-9647-EAE432CF6FC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sp>
        <p:nvSpPr>
          <p:cNvPr id="8" name="Title 1">
            <a:extLst>
              <a:ext uri="{FF2B5EF4-FFF2-40B4-BE49-F238E27FC236}">
                <a16:creationId xmlns:a16="http://schemas.microsoft.com/office/drawing/2014/main" id="{C162987A-C5A2-E20D-E70A-A6A18E7BDE14}"/>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gradFill>
                  <a:gsLst>
                    <a:gs pos="0">
                      <a:schemeClr val="tx2"/>
                    </a:gs>
                    <a:gs pos="100000">
                      <a:schemeClr val="tx2">
                        <a:lumMod val="60000"/>
                        <a:lumOff val="40000"/>
                      </a:schemeClr>
                    </a:gs>
                  </a:gsLst>
                  <a:lin ang="2700000" scaled="1"/>
                </a:gradFill>
              </a:defRPr>
            </a:lvl1pPr>
          </a:lstStyle>
          <a:p>
            <a:pPr marL="0" lvl="0"/>
            <a:r>
              <a:rPr lang="en-US"/>
              <a:t>Thank you</a:t>
            </a:r>
            <a:endParaRPr lang="en-IN"/>
          </a:p>
        </p:txBody>
      </p:sp>
    </p:spTree>
    <p:extLst>
      <p:ext uri="{BB962C8B-B14F-4D97-AF65-F5344CB8AC3E}">
        <p14:creationId xmlns:p14="http://schemas.microsoft.com/office/powerpoint/2010/main" val="30872260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_Customer story slide">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43E480C-326D-1BD3-675E-490770C2832C}"/>
              </a:ext>
            </a:extLst>
          </p:cNvPr>
          <p:cNvSpPr/>
          <p:nvPr userDrawn="1"/>
        </p:nvSpPr>
        <p:spPr>
          <a:xfrm flipH="1">
            <a:off x="5727701" y="3265542"/>
            <a:ext cx="6464299" cy="2178087"/>
          </a:xfrm>
          <a:custGeom>
            <a:avLst/>
            <a:gdLst>
              <a:gd name="connsiteX0" fmla="*/ 0 w 6464299"/>
              <a:gd name="connsiteY0" fmla="*/ 0 h 2178087"/>
              <a:gd name="connsiteX1" fmla="*/ 0 w 6464299"/>
              <a:gd name="connsiteY1" fmla="*/ 2178087 h 2178087"/>
              <a:gd name="connsiteX2" fmla="*/ 6464299 w 6464299"/>
              <a:gd name="connsiteY2" fmla="*/ 2178087 h 2178087"/>
              <a:gd name="connsiteX3" fmla="*/ 6464299 w 6464299"/>
              <a:gd name="connsiteY3" fmla="*/ 1609277 h 2178087"/>
              <a:gd name="connsiteX4" fmla="*/ 6395660 w 6464299"/>
              <a:gd name="connsiteY4" fmla="*/ 1621604 h 2178087"/>
              <a:gd name="connsiteX5" fmla="*/ 5229981 w 6464299"/>
              <a:gd name="connsiteY5" fmla="*/ 1726424 h 2178087"/>
              <a:gd name="connsiteX6" fmla="*/ 49187 w 6464299"/>
              <a:gd name="connsiteY6" fmla="*/ 26851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299" h="2178087">
                <a:moveTo>
                  <a:pt x="0" y="0"/>
                </a:moveTo>
                <a:lnTo>
                  <a:pt x="0" y="2178087"/>
                </a:lnTo>
                <a:lnTo>
                  <a:pt x="6464299" y="2178087"/>
                </a:lnTo>
                <a:lnTo>
                  <a:pt x="6464299" y="1609277"/>
                </a:lnTo>
                <a:lnTo>
                  <a:pt x="6395660" y="1621604"/>
                </a:lnTo>
                <a:cubicBezTo>
                  <a:pt x="6007101" y="1684506"/>
                  <a:pt x="5618541" y="1724931"/>
                  <a:pt x="5229981" y="1726424"/>
                </a:cubicBezTo>
                <a:cubicBezTo>
                  <a:pt x="3157664" y="1718458"/>
                  <a:pt x="1085347" y="603113"/>
                  <a:pt x="49187" y="26851"/>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4" name="Freeform: Shape 3">
            <a:extLst>
              <a:ext uri="{FF2B5EF4-FFF2-40B4-BE49-F238E27FC236}">
                <a16:creationId xmlns:a16="http://schemas.microsoft.com/office/drawing/2014/main" id="{39E40CF4-B58F-9DD8-56C2-61B59D6AA3DB}"/>
              </a:ext>
            </a:extLst>
          </p:cNvPr>
          <p:cNvSpPr/>
          <p:nvPr userDrawn="1"/>
        </p:nvSpPr>
        <p:spPr>
          <a:xfrm flipH="1">
            <a:off x="5727700" y="3898856"/>
            <a:ext cx="6464300" cy="1074871"/>
          </a:xfrm>
          <a:custGeom>
            <a:avLst/>
            <a:gdLst>
              <a:gd name="connsiteX0" fmla="*/ 0 w 6464300"/>
              <a:gd name="connsiteY0" fmla="*/ 0 h 1074871"/>
              <a:gd name="connsiteX1" fmla="*/ 0 w 6464300"/>
              <a:gd name="connsiteY1" fmla="*/ 1074871 h 1074871"/>
              <a:gd name="connsiteX2" fmla="*/ 6464300 w 6464300"/>
              <a:gd name="connsiteY2" fmla="*/ 1074871 h 1074871"/>
              <a:gd name="connsiteX3" fmla="*/ 6464300 w 6464300"/>
              <a:gd name="connsiteY3" fmla="*/ 628704 h 1074871"/>
              <a:gd name="connsiteX4" fmla="*/ 6141358 w 6464300"/>
              <a:gd name="connsiteY4" fmla="*/ 670861 h 1074871"/>
              <a:gd name="connsiteX5" fmla="*/ 4094238 w 6464300"/>
              <a:gd name="connsiteY5" fmla="*/ 875996 h 1074871"/>
              <a:gd name="connsiteX6" fmla="*/ 682372 w 6464300"/>
              <a:gd name="connsiteY6" fmla="*/ 218743 h 10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300" h="1074871">
                <a:moveTo>
                  <a:pt x="0" y="0"/>
                </a:moveTo>
                <a:lnTo>
                  <a:pt x="0" y="1074871"/>
                </a:lnTo>
                <a:lnTo>
                  <a:pt x="6464300" y="1074871"/>
                </a:lnTo>
                <a:lnTo>
                  <a:pt x="6464300" y="628704"/>
                </a:lnTo>
                <a:lnTo>
                  <a:pt x="6141358" y="670861"/>
                </a:lnTo>
                <a:cubicBezTo>
                  <a:pt x="5458985" y="765855"/>
                  <a:pt x="4776612" y="874455"/>
                  <a:pt x="4094238" y="875996"/>
                </a:cubicBezTo>
                <a:cubicBezTo>
                  <a:pt x="2729492" y="872915"/>
                  <a:pt x="1364746" y="441593"/>
                  <a:pt x="682372" y="218743"/>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7" name="Rectangle: Top Corners Rounded 6">
            <a:extLst>
              <a:ext uri="{FF2B5EF4-FFF2-40B4-BE49-F238E27FC236}">
                <a16:creationId xmlns:a16="http://schemas.microsoft.com/office/drawing/2014/main" id="{CB0B2AFE-795D-9F81-C2DA-BE6BA5909955}"/>
              </a:ext>
            </a:extLst>
          </p:cNvPr>
          <p:cNvSpPr/>
          <p:nvPr userDrawn="1"/>
        </p:nvSpPr>
        <p:spPr bwMode="auto">
          <a:xfrm flipH="1">
            <a:off x="2994654" y="4151782"/>
            <a:ext cx="9211883" cy="2706217"/>
          </a:xfrm>
          <a:prstGeom prst="round2SameRect">
            <a:avLst>
              <a:gd name="adj1" fmla="val 0"/>
              <a:gd name="adj2" fmla="val 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17" name="Graphic 28">
            <a:extLst>
              <a:ext uri="{FF2B5EF4-FFF2-40B4-BE49-F238E27FC236}">
                <a16:creationId xmlns:a16="http://schemas.microsoft.com/office/drawing/2014/main" id="{7F00291F-6782-6CC4-396F-B301C212B1CB}"/>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Lst>
          </p:cNvPr>
          <p:cNvSpPr/>
          <p:nvPr userDrawn="1"/>
        </p:nvSpPr>
        <p:spPr bwMode="auto">
          <a:xfrm>
            <a:off x="-1" y="0"/>
            <a:ext cx="2994654" cy="68580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19" name="Title 33">
            <a:extLst>
              <a:ext uri="{FF2B5EF4-FFF2-40B4-BE49-F238E27FC236}">
                <a16:creationId xmlns:a16="http://schemas.microsoft.com/office/drawing/2014/main" id="{F89D72CF-7A31-D125-DB5B-833146136650}"/>
              </a:ext>
            </a:extLst>
          </p:cNvPr>
          <p:cNvSpPr txBox="1">
            <a:spLocks/>
          </p:cNvSpPr>
          <p:nvPr userDrawn="1"/>
        </p:nvSpPr>
        <p:spPr>
          <a:xfrm>
            <a:off x="292100" y="585788"/>
            <a:ext cx="1437389" cy="438552"/>
          </a:xfrm>
          <a:prstGeom prst="rect">
            <a:avLst/>
          </a:prstGeom>
          <a:solidFill>
            <a:schemeClr val="bg1"/>
          </a:solidFill>
          <a:ln>
            <a:solidFill>
              <a:schemeClr val="bg1"/>
            </a:solidFill>
            <a:headEnd type="none" w="med" len="med"/>
            <a:tailEnd type="none" w="med" len="med"/>
          </a:ln>
          <a:effectLst>
            <a:outerShdw blurRad="444500" dir="660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a:spcAft>
                <a:spcPts val="600"/>
              </a:spcAft>
              <a:defRPr sz="2400">
                <a:solidFill>
                  <a:schemeClr val="tx2"/>
                </a:solidFill>
                <a:latin typeface="+mj-lt"/>
                <a:ea typeface="Segoe UI Black" panose="020B0A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Font typeface="Arial" panose="020B0604020202020204" pitchFamily="34" charset="0"/>
              <a:buNone/>
            </a:pPr>
            <a:endParaRPr lang="en-US" sz="2000">
              <a:solidFill>
                <a:schemeClr val="tx1"/>
              </a:solidFill>
            </a:endParaRPr>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7695" y="6191792"/>
            <a:ext cx="1554480" cy="333103"/>
          </a:xfrm>
          <a:prstGeom prst="rect">
            <a:avLst/>
          </a:prstGeom>
        </p:spPr>
      </p:pic>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 name="Text Placeholder 35">
            <a:extLst>
              <a:ext uri="{FF2B5EF4-FFF2-40B4-BE49-F238E27FC236}">
                <a16:creationId xmlns:a16="http://schemas.microsoft.com/office/drawing/2014/main" id="{DC1C33FC-0565-DB57-09AD-164E6C4B9513}"/>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35">
            <a:extLst>
              <a:ext uri="{FF2B5EF4-FFF2-40B4-BE49-F238E27FC236}">
                <a16:creationId xmlns:a16="http://schemas.microsoft.com/office/drawing/2014/main" id="{D6063B89-448E-BAD5-83EA-D6172E43C1EA}"/>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35">
            <a:extLst>
              <a:ext uri="{FF2B5EF4-FFF2-40B4-BE49-F238E27FC236}">
                <a16:creationId xmlns:a16="http://schemas.microsoft.com/office/drawing/2014/main" id="{2D221920-FD96-D642-C3BF-0CF09A5380C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977679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CFCCEF-3918-CF00-30D3-E294097BB72F}"/>
              </a:ext>
              <a:ext uri="{C183D7F6-B498-43B3-948B-1728B52AA6E4}">
                <adec:decorative xmlns:adec="http://schemas.microsoft.com/office/drawing/2017/decorative" val="1"/>
              </a:ext>
            </a:extLst>
          </p:cNvPr>
          <p:cNvGrpSpPr/>
          <p:nvPr userDrawn="1"/>
        </p:nvGrpSpPr>
        <p:grpSpPr>
          <a:xfrm>
            <a:off x="0" y="0"/>
            <a:ext cx="12192000" cy="6795078"/>
            <a:chOff x="0" y="62922"/>
            <a:chExt cx="12192000" cy="6795078"/>
          </a:xfrm>
        </p:grpSpPr>
        <p:pic>
          <p:nvPicPr>
            <p:cNvPr id="4" name="Picture 3" descr="A picture containing blue, electric blue, majorelle blue, blur&#10;&#10;Description automatically generated">
              <a:extLst>
                <a:ext uri="{FF2B5EF4-FFF2-40B4-BE49-F238E27FC236}">
                  <a16:creationId xmlns:a16="http://schemas.microsoft.com/office/drawing/2014/main" id="{563FD2F3-B17E-BC1A-0FAF-67264126F6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pic>
          <p:nvPicPr>
            <p:cNvPr id="5" name="Picture 4">
              <a:extLst>
                <a:ext uri="{FF2B5EF4-FFF2-40B4-BE49-F238E27FC236}">
                  <a16:creationId xmlns:a16="http://schemas.microsoft.com/office/drawing/2014/main" id="{264DCF94-4975-D093-B2AC-17E1D5E2BC7F}"/>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grpSp>
      <p:grpSp>
        <p:nvGrpSpPr>
          <p:cNvPr id="6" name="Group 5">
            <a:extLst>
              <a:ext uri="{FF2B5EF4-FFF2-40B4-BE49-F238E27FC236}">
                <a16:creationId xmlns:a16="http://schemas.microsoft.com/office/drawing/2014/main" id="{0ABFE24A-D09D-E203-AA1B-897D34C38507}"/>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4049CEA-7EC2-5A34-82A5-516E6EC6A93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7F003DE2-28AE-392B-B686-C885A07DF88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393311F3-AE18-0246-B457-88CB80D02923}"/>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4A54C77-8975-6473-897F-782C834ED95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09305898-E9C4-DA2A-92F6-4AED7EB430F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2718E2A7-1A44-D454-940A-9EE4A319AD8E}"/>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9" name="Title 1">
            <a:extLst>
              <a:ext uri="{FF2B5EF4-FFF2-40B4-BE49-F238E27FC236}">
                <a16:creationId xmlns:a16="http://schemas.microsoft.com/office/drawing/2014/main" id="{DB3A8C41-1702-ADBE-95C9-F96DE2BCFB70}"/>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8" name="Text Placeholder 35">
            <a:extLst>
              <a:ext uri="{FF2B5EF4-FFF2-40B4-BE49-F238E27FC236}">
                <a16:creationId xmlns:a16="http://schemas.microsoft.com/office/drawing/2014/main" id="{F2D681CF-A6A0-F14C-96D3-D7745BFC8D35}"/>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Rectangle: Rounded Corners 26">
            <a:extLst>
              <a:ext uri="{FF2B5EF4-FFF2-40B4-BE49-F238E27FC236}">
                <a16:creationId xmlns:a16="http://schemas.microsoft.com/office/drawing/2014/main" id="{92FD983C-E8E1-AFDC-C74E-954F064937D9}"/>
              </a:ext>
              <a:ext uri="{C183D7F6-B498-43B3-948B-1728B52AA6E4}">
                <adec:decorative xmlns:adec="http://schemas.microsoft.com/office/drawing/2017/decorative" val="1"/>
              </a:ext>
            </a:extLst>
          </p:cNvPr>
          <p:cNvSpPr>
            <a:spLocks/>
          </p:cNvSpPr>
          <p:nvPr userDrawn="1"/>
        </p:nvSpPr>
        <p:spPr bwMode="auto">
          <a:xfrm>
            <a:off x="588263"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41" name="Straight Connector 40">
            <a:extLst>
              <a:ext uri="{FF2B5EF4-FFF2-40B4-BE49-F238E27FC236}">
                <a16:creationId xmlns:a16="http://schemas.microsoft.com/office/drawing/2014/main" id="{14DF00F1-BE61-577E-8135-B5BFBC8B97F7}"/>
              </a:ext>
              <a:ext uri="{C183D7F6-B498-43B3-948B-1728B52AA6E4}">
                <adec:decorative xmlns:adec="http://schemas.microsoft.com/office/drawing/2017/decorative" val="1"/>
              </a:ext>
            </a:extLst>
          </p:cNvPr>
          <p:cNvCxnSpPr>
            <a:cxnSpLocks/>
          </p:cNvCxnSpPr>
          <p:nvPr userDrawn="1"/>
        </p:nvCxnSpPr>
        <p:spPr>
          <a:xfrm>
            <a:off x="891808"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35">
            <a:extLst>
              <a:ext uri="{FF2B5EF4-FFF2-40B4-BE49-F238E27FC236}">
                <a16:creationId xmlns:a16="http://schemas.microsoft.com/office/drawing/2014/main" id="{C5DBE4EF-3241-CB4C-3583-254E18D14D59}"/>
              </a:ext>
            </a:extLst>
          </p:cNvPr>
          <p:cNvSpPr>
            <a:spLocks noGrp="1"/>
          </p:cNvSpPr>
          <p:nvPr>
            <p:ph type="body" sz="quarter" idx="15" hasCustomPrompt="1"/>
          </p:nvPr>
        </p:nvSpPr>
        <p:spPr>
          <a:xfrm>
            <a:off x="808037"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6D789100-608F-4D85-606E-DECAC8DE36C0}"/>
              </a:ext>
            </a:extLst>
          </p:cNvPr>
          <p:cNvSpPr>
            <a:spLocks noGrp="1"/>
          </p:cNvSpPr>
          <p:nvPr>
            <p:ph type="body" sz="quarter" idx="18" hasCustomPrompt="1"/>
          </p:nvPr>
        </p:nvSpPr>
        <p:spPr>
          <a:xfrm>
            <a:off x="808037"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Rectangle: Rounded Corners 56">
            <a:extLst>
              <a:ext uri="{FF2B5EF4-FFF2-40B4-BE49-F238E27FC236}">
                <a16:creationId xmlns:a16="http://schemas.microsoft.com/office/drawing/2014/main" id="{2A0E944B-9897-6438-3EA5-26D9E137182F}"/>
              </a:ext>
              <a:ext uri="{C183D7F6-B498-43B3-948B-1728B52AA6E4}">
                <adec:decorative xmlns:adec="http://schemas.microsoft.com/office/drawing/2017/decorative" val="1"/>
              </a:ext>
            </a:extLst>
          </p:cNvPr>
          <p:cNvSpPr>
            <a:spLocks/>
          </p:cNvSpPr>
          <p:nvPr userDrawn="1"/>
        </p:nvSpPr>
        <p:spPr bwMode="auto">
          <a:xfrm>
            <a:off x="6187381"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1" name="Straight Connector 60">
            <a:extLst>
              <a:ext uri="{FF2B5EF4-FFF2-40B4-BE49-F238E27FC236}">
                <a16:creationId xmlns:a16="http://schemas.microsoft.com/office/drawing/2014/main" id="{CCB15D87-1F1A-F44C-38F8-5FE95E4E56B3}"/>
              </a:ext>
              <a:ext uri="{C183D7F6-B498-43B3-948B-1728B52AA6E4}">
                <adec:decorative xmlns:adec="http://schemas.microsoft.com/office/drawing/2017/decorative" val="1"/>
              </a:ext>
            </a:extLst>
          </p:cNvPr>
          <p:cNvCxnSpPr>
            <a:cxnSpLocks/>
          </p:cNvCxnSpPr>
          <p:nvPr userDrawn="1"/>
        </p:nvCxnSpPr>
        <p:spPr>
          <a:xfrm>
            <a:off x="6498801"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 Placeholder 35">
            <a:extLst>
              <a:ext uri="{FF2B5EF4-FFF2-40B4-BE49-F238E27FC236}">
                <a16:creationId xmlns:a16="http://schemas.microsoft.com/office/drawing/2014/main" id="{E6EE5E53-DCE2-137C-CBD3-897D0C12CE08}"/>
              </a:ext>
            </a:extLst>
          </p:cNvPr>
          <p:cNvSpPr>
            <a:spLocks noGrp="1"/>
          </p:cNvSpPr>
          <p:nvPr>
            <p:ph type="body" sz="quarter" idx="19" hasCustomPrompt="1"/>
          </p:nvPr>
        </p:nvSpPr>
        <p:spPr>
          <a:xfrm>
            <a:off x="6415031"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F973E258-E188-E73E-67B2-212B55795058}"/>
              </a:ext>
            </a:extLst>
          </p:cNvPr>
          <p:cNvSpPr>
            <a:spLocks noGrp="1"/>
          </p:cNvSpPr>
          <p:nvPr>
            <p:ph type="body" sz="quarter" idx="20" hasCustomPrompt="1"/>
          </p:nvPr>
        </p:nvSpPr>
        <p:spPr>
          <a:xfrm>
            <a:off x="6415031"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308048486"/>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65128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5C8E60D-8A31-75B9-A598-ABD8FCCE934A}"/>
              </a:ext>
              <a:ext uri="{C183D7F6-B498-43B3-948B-1728B52AA6E4}">
                <adec:decorative xmlns:adec="http://schemas.microsoft.com/office/drawing/2017/decorative" val="1"/>
              </a:ext>
            </a:extLst>
          </p:cNvPr>
          <p:cNvGrpSpPr/>
          <p:nvPr userDrawn="1"/>
        </p:nvGrpSpPr>
        <p:grpSpPr>
          <a:xfrm>
            <a:off x="-1" y="0"/>
            <a:ext cx="12192001" cy="6858000"/>
            <a:chOff x="-1" y="0"/>
            <a:chExt cx="12192001" cy="6858000"/>
          </a:xfrm>
        </p:grpSpPr>
        <p:pic>
          <p:nvPicPr>
            <p:cNvPr id="13" name="Picture 12" descr="A picture containing white, design, black and white, art&#10;&#10;Description automatically generated">
              <a:extLst>
                <a:ext uri="{FF2B5EF4-FFF2-40B4-BE49-F238E27FC236}">
                  <a16:creationId xmlns:a16="http://schemas.microsoft.com/office/drawing/2014/main" id="{B290D2B4-8D41-3A2F-88A0-73C523B8AED5}"/>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F5C3AEB-68D1-DFDB-0EB2-988B726FC073}"/>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b="3148"/>
            <a:stretch/>
          </p:blipFill>
          <p:spPr>
            <a:xfrm>
              <a:off x="-1" y="0"/>
              <a:ext cx="12192001" cy="6642100"/>
            </a:xfrm>
            <a:prstGeom prst="rect">
              <a:avLst/>
            </a:prstGeom>
          </p:spPr>
        </p:pic>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492443"/>
          </a:xfrm>
        </p:spPr>
        <p:txBody>
          <a:bodyPr vert="horz" wrap="square" lIns="0" tIns="0" rIns="0" bIns="0" rtlCol="0" anchor="t">
            <a:spAutoFit/>
          </a:bodyPr>
          <a:lstStyle>
            <a:lvl1pPr marL="0" indent="0">
              <a:buFont typeface="Arial" panose="020B0604020202020204" pitchFamily="34" charset="0"/>
              <a:buNone/>
              <a:defRPr lang="en-IN" sz="32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3393282491"/>
      </p:ext>
    </p:extLst>
  </p:cSld>
  <p:clrMapOvr>
    <a:masterClrMapping/>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6EC3D-00B8-F09A-D234-8C16B4744B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939AB7-E450-1DCD-BA87-852AB79B0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9B8089-302A-A41E-FB14-7C2B12FFB2E0}"/>
              </a:ext>
            </a:extLst>
          </p:cNvPr>
          <p:cNvSpPr>
            <a:spLocks noGrp="1"/>
          </p:cNvSpPr>
          <p:nvPr>
            <p:ph type="dt" sz="half" idx="10"/>
          </p:nvPr>
        </p:nvSpPr>
        <p:spPr/>
        <p:txBody>
          <a:bodyPr/>
          <a:lstStyle/>
          <a:p>
            <a:fld id="{D14FAB72-BF52-4F3D-A6DA-4887BBB1B639}" type="datetimeFigureOut">
              <a:rPr lang="en-US" smtClean="0"/>
              <a:t>10/28/2025</a:t>
            </a:fld>
            <a:endParaRPr lang="en-US"/>
          </a:p>
        </p:txBody>
      </p:sp>
      <p:sp>
        <p:nvSpPr>
          <p:cNvPr id="5" name="Footer Placeholder 4">
            <a:extLst>
              <a:ext uri="{FF2B5EF4-FFF2-40B4-BE49-F238E27FC236}">
                <a16:creationId xmlns:a16="http://schemas.microsoft.com/office/drawing/2014/main" id="{0121B0F0-0922-34FE-C90A-4733CBDB6F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3CB9BF-6EAD-0E1F-AC02-ED52F56A53C1}"/>
              </a:ext>
            </a:extLst>
          </p:cNvPr>
          <p:cNvSpPr>
            <a:spLocks noGrp="1"/>
          </p:cNvSpPr>
          <p:nvPr>
            <p:ph type="sldNum" sz="quarter" idx="12"/>
          </p:nvPr>
        </p:nvSpPr>
        <p:spPr/>
        <p:txBody>
          <a:bodyPr/>
          <a:lstStyle/>
          <a:p>
            <a:fld id="{3DABCE6E-CCC8-47BD-8793-A9C3EE924F83}" type="slidenum">
              <a:rPr lang="en-US" smtClean="0"/>
              <a:t>‹#›</a:t>
            </a:fld>
            <a:endParaRPr lang="en-US"/>
          </a:p>
        </p:txBody>
      </p:sp>
    </p:spTree>
    <p:extLst>
      <p:ext uri="{BB962C8B-B14F-4D97-AF65-F5344CB8AC3E}">
        <p14:creationId xmlns:p14="http://schemas.microsoft.com/office/powerpoint/2010/main" val="3595954087"/>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8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ectangle 15">
            <a:extLst>
              <a:ext uri="{FF2B5EF4-FFF2-40B4-BE49-F238E27FC236}">
                <a16:creationId xmlns:a16="http://schemas.microsoft.com/office/drawing/2014/main" id="{E2FC0965-4144-7B0E-916F-401B71853545}"/>
              </a:ext>
              <a:ext uri="{C183D7F6-B498-43B3-948B-1728B52AA6E4}">
                <adec:decorative xmlns:adec="http://schemas.microsoft.com/office/drawing/2017/decorative" val="1"/>
              </a:ext>
            </a:extLst>
          </p:cNvPr>
          <p:cNvSpPr>
            <a:spLocks/>
          </p:cNvSpPr>
          <p:nvPr userDrawn="1"/>
        </p:nvSpPr>
        <p:spPr bwMode="auto">
          <a:xfrm>
            <a:off x="0" y="2090058"/>
            <a:ext cx="10043886" cy="2677886"/>
          </a:xfrm>
          <a:prstGeom prst="rect">
            <a:avLst/>
          </a:pr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090447"/>
            <a:ext cx="11018520" cy="677108"/>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4400" b="0" kern="1200" cap="none" spc="-50" baseline="0" dirty="0">
                <a:ln w="3175">
                  <a:noFill/>
                </a:ln>
                <a:solidFill>
                  <a:schemeClr val="bg1"/>
                </a:solidFill>
                <a:effectLst/>
                <a:latin typeface="+mj-lt"/>
                <a:ea typeface="+mn-ea"/>
                <a:cs typeface="Segoe UI" pitchFamily="34" charset="0"/>
              </a:defRPr>
            </a:lvl1pPr>
          </a:lstStyle>
          <a:p>
            <a:pPr marL="0" lvl="0"/>
            <a:r>
              <a:rPr lang="en-US"/>
              <a:t>Section Title</a:t>
            </a:r>
            <a:endParaRPr lang="en-IN"/>
          </a:p>
        </p:txBody>
      </p:sp>
    </p:spTree>
    <p:extLst>
      <p:ext uri="{BB962C8B-B14F-4D97-AF65-F5344CB8AC3E}">
        <p14:creationId xmlns:p14="http://schemas.microsoft.com/office/powerpoint/2010/main" val="4017477597"/>
      </p:ext>
    </p:extLst>
  </p:cSld>
  <p:clrMapOvr>
    <a:masterClrMapping/>
  </p:clrMapOvr>
  <p:transition>
    <p:fade/>
  </p:transition>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7_Section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14164-CAA3-0F6A-F741-5E504963EE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 uri="{C183D7F6-B498-43B3-948B-1728B52AA6E4}">
                <adec:decorative xmlns:adec="http://schemas.microsoft.com/office/drawing/2017/decorative" val="1"/>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 uri="{C183D7F6-B498-43B3-948B-1728B52AA6E4}">
                <adec:decorative xmlns:adec="http://schemas.microsoft.com/office/drawing/2017/decorative" val="1"/>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 uri="{C183D7F6-B498-43B3-948B-1728B52AA6E4}">
                <adec:decorative xmlns:adec="http://schemas.microsoft.com/office/drawing/2017/decorative" val="1"/>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pic>
        <p:nvPicPr>
          <p:cNvPr id="22" name="Picture 21">
            <a:extLst>
              <a:ext uri="{FF2B5EF4-FFF2-40B4-BE49-F238E27FC236}">
                <a16:creationId xmlns:a16="http://schemas.microsoft.com/office/drawing/2014/main" id="{58961409-EB4A-98B0-4F4F-6B43A85B751C}"/>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3" name="Freeform: Shape 22">
            <a:extLst>
              <a:ext uri="{FF2B5EF4-FFF2-40B4-BE49-F238E27FC236}">
                <a16:creationId xmlns:a16="http://schemas.microsoft.com/office/drawing/2014/main" id="{304DC6C6-0901-7E13-8977-07449A013283}"/>
              </a:ext>
              <a:ext uri="{C183D7F6-B498-43B3-948B-1728B52AA6E4}">
                <adec:decorative xmlns:adec="http://schemas.microsoft.com/office/drawing/2017/decorative" val="1"/>
              </a:ext>
            </a:extLst>
          </p:cNvPr>
          <p:cNvSpPr/>
          <p:nvPr userDrawn="1"/>
        </p:nvSpPr>
        <p:spPr>
          <a:xfrm>
            <a:off x="0" y="4679914"/>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Freeform: Shape 23">
            <a:extLst>
              <a:ext uri="{FF2B5EF4-FFF2-40B4-BE49-F238E27FC236}">
                <a16:creationId xmlns:a16="http://schemas.microsoft.com/office/drawing/2014/main" id="{AFD1EFBC-A332-8C67-A774-B816E680A367}"/>
              </a:ext>
              <a:ext uri="{C183D7F6-B498-43B3-948B-1728B52AA6E4}">
                <adec:decorative xmlns:adec="http://schemas.microsoft.com/office/drawing/2017/decorative" val="1"/>
              </a:ext>
            </a:extLst>
          </p:cNvPr>
          <p:cNvSpPr/>
          <p:nvPr userDrawn="1"/>
        </p:nvSpPr>
        <p:spPr>
          <a:xfrm>
            <a:off x="0" y="5999522"/>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 name="Graphic 10">
            <a:extLst>
              <a:ext uri="{FF2B5EF4-FFF2-40B4-BE49-F238E27FC236}">
                <a16:creationId xmlns:a16="http://schemas.microsoft.com/office/drawing/2014/main" id="{73D0BF7E-6F9F-CD5A-8553-A892BED379AF}"/>
              </a:ext>
            </a:extLst>
          </p:cNvPr>
          <p:cNvSpPr/>
          <p:nvPr userDrawn="1"/>
        </p:nvSpPr>
        <p:spPr>
          <a:xfrm>
            <a:off x="0" y="2451100"/>
            <a:ext cx="12192000" cy="4406899"/>
          </a:xfrm>
          <a:custGeom>
            <a:avLst/>
            <a:gdLst>
              <a:gd name="connsiteX0" fmla="*/ 0 w 9144000"/>
              <a:gd name="connsiteY0" fmla="*/ 0 h 3486150"/>
              <a:gd name="connsiteX1" fmla="*/ 4356259 w 9144000"/>
              <a:gd name="connsiteY1" fmla="*/ 0 h 3486150"/>
              <a:gd name="connsiteX2" fmla="*/ 4673251 w 9144000"/>
              <a:gd name="connsiteY2" fmla="*/ 190500 h 3486150"/>
              <a:gd name="connsiteX3" fmla="*/ 4673251 w 9144000"/>
              <a:gd name="connsiteY3" fmla="*/ 190500 h 3486150"/>
              <a:gd name="connsiteX4" fmla="*/ 4990243 w 9144000"/>
              <a:gd name="connsiteY4" fmla="*/ 381000 h 3486150"/>
              <a:gd name="connsiteX5" fmla="*/ 9144000 w 9144000"/>
              <a:gd name="connsiteY5" fmla="*/ 381000 h 3486150"/>
              <a:gd name="connsiteX6" fmla="*/ 9144000 w 9144000"/>
              <a:gd name="connsiteY6" fmla="*/ 3486150 h 3486150"/>
              <a:gd name="connsiteX7" fmla="*/ 0 w 9144000"/>
              <a:gd name="connsiteY7" fmla="*/ 3486150 h 3486150"/>
              <a:gd name="connsiteX8" fmla="*/ 0 w 9144000"/>
              <a:gd name="connsiteY8" fmla="*/ 0 h 3486150"/>
              <a:gd name="connsiteX9" fmla="*/ 0 w 9144000"/>
              <a:gd name="connsiteY9" fmla="*/ 0 h 348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3486150">
                <a:moveTo>
                  <a:pt x="0" y="0"/>
                </a:moveTo>
                <a:lnTo>
                  <a:pt x="4356259" y="0"/>
                </a:lnTo>
                <a:cubicBezTo>
                  <a:pt x="4489038" y="0"/>
                  <a:pt x="4610957" y="73247"/>
                  <a:pt x="4673251" y="190500"/>
                </a:cubicBezTo>
                <a:lnTo>
                  <a:pt x="4673251" y="190500"/>
                </a:lnTo>
                <a:cubicBezTo>
                  <a:pt x="4735545" y="307753"/>
                  <a:pt x="4857465" y="381000"/>
                  <a:pt x="4990243" y="381000"/>
                </a:cubicBezTo>
                <a:lnTo>
                  <a:pt x="9144000" y="381000"/>
                </a:lnTo>
                <a:lnTo>
                  <a:pt x="9144000" y="3486150"/>
                </a:lnTo>
                <a:lnTo>
                  <a:pt x="0" y="3486150"/>
                </a:lnTo>
                <a:lnTo>
                  <a:pt x="0" y="0"/>
                </a:lnTo>
                <a:lnTo>
                  <a:pt x="0" y="0"/>
                </a:lnTo>
                <a:close/>
              </a:path>
            </a:pathLst>
          </a:custGeom>
          <a:gradFill>
            <a:gsLst>
              <a:gs pos="100000">
                <a:schemeClr val="tx1">
                  <a:alpha val="0"/>
                </a:schemeClr>
              </a:gs>
              <a:gs pos="0">
                <a:schemeClr val="tx1">
                  <a:alpha val="3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2000">
              <a:solidFill>
                <a:schemeClr val="bg1"/>
              </a:solidFill>
              <a:latin typeface="+mj-lt"/>
              <a:ea typeface="Segoe UI Black" panose="020B0A02040204020203" pitchFamily="34" charset="0"/>
            </a:endParaRPr>
          </a:p>
        </p:txBody>
      </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090447"/>
            <a:ext cx="11018520" cy="677108"/>
          </a:xfrm>
        </p:spPr>
        <p:txBody>
          <a:bodyPr vert="horz" wrap="square" lIns="0" tIns="0" rIns="0" bIns="0" rtlCol="0" anchor="ctr">
            <a:spAutoFit/>
          </a:bodyPr>
          <a:lstStyle>
            <a:lvl1pPr marL="0" indent="0" algn="l" defTabSz="932742" rtl="0" eaLnBrk="1" fontAlgn="base" latinLnBrk="0" hangingPunct="1">
              <a:lnSpc>
                <a:spcPct val="100000"/>
              </a:lnSpc>
              <a:spcBef>
                <a:spcPct val="0"/>
              </a:spcBef>
              <a:spcAft>
                <a:spcPct val="0"/>
              </a:spcAft>
              <a:buFont typeface="Arial" panose="020B0604020202020204" pitchFamily="34" charset="0"/>
              <a:buNone/>
              <a:defRPr lang="en-IN" sz="4400" b="0" kern="1200" cap="none" spc="-50" baseline="0" dirty="0">
                <a:ln w="3175">
                  <a:noFill/>
                </a:ln>
                <a:solidFill>
                  <a:schemeClr val="bg1"/>
                </a:solidFill>
                <a:effectLst/>
                <a:latin typeface="+mj-lt"/>
                <a:ea typeface="+mn-ea"/>
                <a:cs typeface="Segoe UI" pitchFamily="34" charset="0"/>
              </a:defRPr>
            </a:lvl1pPr>
          </a:lstStyle>
          <a:p>
            <a:pPr marL="0" lvl="0"/>
            <a:r>
              <a:rPr lang="en-US"/>
              <a:t>Section Title</a:t>
            </a:r>
            <a:endParaRPr lang="en-IN"/>
          </a:p>
        </p:txBody>
      </p:sp>
      <p:sp>
        <p:nvSpPr>
          <p:cNvPr id="2" name="Graphic 10">
            <a:extLst>
              <a:ext uri="{FF2B5EF4-FFF2-40B4-BE49-F238E27FC236}">
                <a16:creationId xmlns:a16="http://schemas.microsoft.com/office/drawing/2014/main" id="{1B9284F6-B37D-5A21-06F5-FF0817D4189E}"/>
              </a:ext>
            </a:extLst>
          </p:cNvPr>
          <p:cNvSpPr/>
          <p:nvPr userDrawn="1"/>
        </p:nvSpPr>
        <p:spPr>
          <a:xfrm>
            <a:off x="0" y="2451100"/>
            <a:ext cx="12192000" cy="481628"/>
          </a:xfrm>
          <a:custGeom>
            <a:avLst/>
            <a:gdLst>
              <a:gd name="connsiteX0" fmla="*/ 0 w 9144000"/>
              <a:gd name="connsiteY0" fmla="*/ 0 h 3486150"/>
              <a:gd name="connsiteX1" fmla="*/ 4356259 w 9144000"/>
              <a:gd name="connsiteY1" fmla="*/ 0 h 3486150"/>
              <a:gd name="connsiteX2" fmla="*/ 4673251 w 9144000"/>
              <a:gd name="connsiteY2" fmla="*/ 190500 h 3486150"/>
              <a:gd name="connsiteX3" fmla="*/ 4673251 w 9144000"/>
              <a:gd name="connsiteY3" fmla="*/ 190500 h 3486150"/>
              <a:gd name="connsiteX4" fmla="*/ 4990243 w 9144000"/>
              <a:gd name="connsiteY4" fmla="*/ 381000 h 3486150"/>
              <a:gd name="connsiteX5" fmla="*/ 9144000 w 9144000"/>
              <a:gd name="connsiteY5" fmla="*/ 381000 h 3486150"/>
              <a:gd name="connsiteX6" fmla="*/ 9144000 w 9144000"/>
              <a:gd name="connsiteY6" fmla="*/ 3486150 h 3486150"/>
              <a:gd name="connsiteX7" fmla="*/ 0 w 9144000"/>
              <a:gd name="connsiteY7" fmla="*/ 3486150 h 3486150"/>
              <a:gd name="connsiteX8" fmla="*/ 0 w 9144000"/>
              <a:gd name="connsiteY8" fmla="*/ 0 h 3486150"/>
              <a:gd name="connsiteX9" fmla="*/ 0 w 9144000"/>
              <a:gd name="connsiteY9" fmla="*/ 0 h 3486150"/>
              <a:gd name="connsiteX0" fmla="*/ 0 w 9144000"/>
              <a:gd name="connsiteY0" fmla="*/ 3486150 h 3558485"/>
              <a:gd name="connsiteX1" fmla="*/ 0 w 9144000"/>
              <a:gd name="connsiteY1" fmla="*/ 0 h 3558485"/>
              <a:gd name="connsiteX2" fmla="*/ 0 w 9144000"/>
              <a:gd name="connsiteY2" fmla="*/ 0 h 3558485"/>
              <a:gd name="connsiteX3" fmla="*/ 4356259 w 9144000"/>
              <a:gd name="connsiteY3" fmla="*/ 0 h 3558485"/>
              <a:gd name="connsiteX4" fmla="*/ 4673251 w 9144000"/>
              <a:gd name="connsiteY4" fmla="*/ 190500 h 3558485"/>
              <a:gd name="connsiteX5" fmla="*/ 4673251 w 9144000"/>
              <a:gd name="connsiteY5" fmla="*/ 190500 h 3558485"/>
              <a:gd name="connsiteX6" fmla="*/ 4990243 w 9144000"/>
              <a:gd name="connsiteY6" fmla="*/ 381000 h 3558485"/>
              <a:gd name="connsiteX7" fmla="*/ 9144000 w 9144000"/>
              <a:gd name="connsiteY7" fmla="*/ 381000 h 3558485"/>
              <a:gd name="connsiteX8" fmla="*/ 9144000 w 9144000"/>
              <a:gd name="connsiteY8" fmla="*/ 3486150 h 3558485"/>
              <a:gd name="connsiteX9" fmla="*/ 68580 w 9144000"/>
              <a:gd name="connsiteY9" fmla="*/ 3558485 h 3558485"/>
              <a:gd name="connsiteX0" fmla="*/ 0 w 9144000"/>
              <a:gd name="connsiteY0" fmla="*/ 3486150 h 3486150"/>
              <a:gd name="connsiteX1" fmla="*/ 0 w 9144000"/>
              <a:gd name="connsiteY1" fmla="*/ 0 h 3486150"/>
              <a:gd name="connsiteX2" fmla="*/ 0 w 9144000"/>
              <a:gd name="connsiteY2" fmla="*/ 0 h 3486150"/>
              <a:gd name="connsiteX3" fmla="*/ 4356259 w 9144000"/>
              <a:gd name="connsiteY3" fmla="*/ 0 h 3486150"/>
              <a:gd name="connsiteX4" fmla="*/ 4673251 w 9144000"/>
              <a:gd name="connsiteY4" fmla="*/ 190500 h 3486150"/>
              <a:gd name="connsiteX5" fmla="*/ 4673251 w 9144000"/>
              <a:gd name="connsiteY5" fmla="*/ 190500 h 3486150"/>
              <a:gd name="connsiteX6" fmla="*/ 4990243 w 9144000"/>
              <a:gd name="connsiteY6" fmla="*/ 381000 h 3486150"/>
              <a:gd name="connsiteX7" fmla="*/ 9144000 w 9144000"/>
              <a:gd name="connsiteY7" fmla="*/ 381000 h 3486150"/>
              <a:gd name="connsiteX8" fmla="*/ 9144000 w 9144000"/>
              <a:gd name="connsiteY8" fmla="*/ 3486150 h 3486150"/>
              <a:gd name="connsiteX0" fmla="*/ 0 w 9144000"/>
              <a:gd name="connsiteY0" fmla="*/ 0 h 3486150"/>
              <a:gd name="connsiteX1" fmla="*/ 0 w 9144000"/>
              <a:gd name="connsiteY1" fmla="*/ 0 h 3486150"/>
              <a:gd name="connsiteX2" fmla="*/ 4356259 w 9144000"/>
              <a:gd name="connsiteY2" fmla="*/ 0 h 3486150"/>
              <a:gd name="connsiteX3" fmla="*/ 4673251 w 9144000"/>
              <a:gd name="connsiteY3" fmla="*/ 190500 h 3486150"/>
              <a:gd name="connsiteX4" fmla="*/ 4673251 w 9144000"/>
              <a:gd name="connsiteY4" fmla="*/ 190500 h 3486150"/>
              <a:gd name="connsiteX5" fmla="*/ 4990243 w 9144000"/>
              <a:gd name="connsiteY5" fmla="*/ 381000 h 3486150"/>
              <a:gd name="connsiteX6" fmla="*/ 9144000 w 9144000"/>
              <a:gd name="connsiteY6" fmla="*/ 381000 h 3486150"/>
              <a:gd name="connsiteX7" fmla="*/ 9144000 w 9144000"/>
              <a:gd name="connsiteY7" fmla="*/ 3486150 h 3486150"/>
              <a:gd name="connsiteX0" fmla="*/ 0 w 9144000"/>
              <a:gd name="connsiteY0" fmla="*/ 0 h 381000"/>
              <a:gd name="connsiteX1" fmla="*/ 0 w 9144000"/>
              <a:gd name="connsiteY1" fmla="*/ 0 h 381000"/>
              <a:gd name="connsiteX2" fmla="*/ 4356259 w 9144000"/>
              <a:gd name="connsiteY2" fmla="*/ 0 h 381000"/>
              <a:gd name="connsiteX3" fmla="*/ 4673251 w 9144000"/>
              <a:gd name="connsiteY3" fmla="*/ 190500 h 381000"/>
              <a:gd name="connsiteX4" fmla="*/ 4673251 w 9144000"/>
              <a:gd name="connsiteY4" fmla="*/ 190500 h 381000"/>
              <a:gd name="connsiteX5" fmla="*/ 4990243 w 9144000"/>
              <a:gd name="connsiteY5" fmla="*/ 381000 h 381000"/>
              <a:gd name="connsiteX6" fmla="*/ 9144000 w 9144000"/>
              <a:gd name="connsiteY6"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381000">
                <a:moveTo>
                  <a:pt x="0" y="0"/>
                </a:moveTo>
                <a:lnTo>
                  <a:pt x="0" y="0"/>
                </a:lnTo>
                <a:lnTo>
                  <a:pt x="4356259" y="0"/>
                </a:lnTo>
                <a:cubicBezTo>
                  <a:pt x="4489038" y="0"/>
                  <a:pt x="4610957" y="73247"/>
                  <a:pt x="4673251" y="190500"/>
                </a:cubicBezTo>
                <a:lnTo>
                  <a:pt x="4673251" y="190500"/>
                </a:lnTo>
                <a:cubicBezTo>
                  <a:pt x="4735545" y="307753"/>
                  <a:pt x="4857465" y="381000"/>
                  <a:pt x="4990243" y="381000"/>
                </a:cubicBezTo>
                <a:lnTo>
                  <a:pt x="9144000" y="381000"/>
                </a:lnTo>
              </a:path>
            </a:pathLst>
          </a:custGeom>
          <a:noFill/>
          <a:ln>
            <a:gradFill flip="none" rotWithShape="1">
              <a:gsLst>
                <a:gs pos="32000">
                  <a:schemeClr val="bg1">
                    <a:alpha val="0"/>
                  </a:schemeClr>
                </a:gs>
                <a:gs pos="50000">
                  <a:schemeClr val="bg1"/>
                </a:gs>
                <a:gs pos="72000">
                  <a:schemeClr val="bg1">
                    <a:alpha val="0"/>
                  </a:schemeClr>
                </a:gs>
              </a:gsLst>
              <a:lin ang="0" scaled="1"/>
              <a:tileRect/>
            </a:grad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2000">
              <a:solidFill>
                <a:schemeClr val="bg1"/>
              </a:solidFill>
              <a:latin typeface="+mj-lt"/>
              <a:ea typeface="Segoe UI Black" panose="020B0A02040204020203" pitchFamily="34" charset="0"/>
            </a:endParaRPr>
          </a:p>
        </p:txBody>
      </p:sp>
    </p:spTree>
    <p:extLst>
      <p:ext uri="{BB962C8B-B14F-4D97-AF65-F5344CB8AC3E}">
        <p14:creationId xmlns:p14="http://schemas.microsoft.com/office/powerpoint/2010/main" val="30575359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622D58-3D17-EAE2-6819-F3574F70CA70}"/>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E77D8DDE-5A63-7362-682A-5F2001D5DE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CB883B7-BC08-B88B-E53C-03F97CA8BDB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49810951-FEBA-5005-5A3E-E7A5AE53265F}"/>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6B3EB83D-FF46-C8A3-DA66-C83EB4C3C10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F7F68CA3-909F-2888-1F5B-C4B78D756738}"/>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EB8F7A0-A283-18BC-6C1F-4082040BBE7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E7B2EF12-0BF5-CE0D-6806-C543653CFBD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D4E305A2-5DDF-F2DF-2C86-C516FCBB321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06B5D9-755E-03EB-9EB0-6FE717F4C1A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6" name="Title 1">
            <a:extLst>
              <a:ext uri="{FF2B5EF4-FFF2-40B4-BE49-F238E27FC236}">
                <a16:creationId xmlns:a16="http://schemas.microsoft.com/office/drawing/2014/main" id="{AA45064F-6F8B-9B56-60CA-A7293BB9DAB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36790569-A252-B327-84E6-93AF1E96D8FC}"/>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Rectangle: Rounded Corners 34">
            <a:extLst>
              <a:ext uri="{FF2B5EF4-FFF2-40B4-BE49-F238E27FC236}">
                <a16:creationId xmlns:a16="http://schemas.microsoft.com/office/drawing/2014/main" id="{3F192C70-AB04-FF1D-8CCC-DD597DBD68DB}"/>
              </a:ext>
              <a:ext uri="{C183D7F6-B498-43B3-948B-1728B52AA6E4}">
                <adec:decorative xmlns:adec="http://schemas.microsoft.com/office/drawing/2017/decorative" val="1"/>
              </a:ext>
            </a:extLst>
          </p:cNvPr>
          <p:cNvSpPr>
            <a:spLocks/>
          </p:cNvSpPr>
          <p:nvPr userDrawn="1"/>
        </p:nvSpPr>
        <p:spPr bwMode="auto">
          <a:xfrm>
            <a:off x="588264"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55" name="Straight Connector 54">
            <a:extLst>
              <a:ext uri="{FF2B5EF4-FFF2-40B4-BE49-F238E27FC236}">
                <a16:creationId xmlns:a16="http://schemas.microsoft.com/office/drawing/2014/main" id="{AF14E754-6BD4-B4F3-15ED-123BCFA11AD0}"/>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Text Placeholder 35">
            <a:extLst>
              <a:ext uri="{FF2B5EF4-FFF2-40B4-BE49-F238E27FC236}">
                <a16:creationId xmlns:a16="http://schemas.microsoft.com/office/drawing/2014/main" id="{9955069B-B322-A5F3-6D16-24ABACED2A9A}"/>
              </a:ext>
            </a:extLst>
          </p:cNvPr>
          <p:cNvSpPr>
            <a:spLocks noGrp="1"/>
          </p:cNvSpPr>
          <p:nvPr>
            <p:ph type="body" sz="quarter" idx="15" hasCustomPrompt="1"/>
          </p:nvPr>
        </p:nvSpPr>
        <p:spPr>
          <a:xfrm>
            <a:off x="808037"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06FDE671-1E20-A42E-0A50-E44B130921F4}"/>
              </a:ext>
            </a:extLst>
          </p:cNvPr>
          <p:cNvSpPr>
            <a:spLocks noGrp="1"/>
          </p:cNvSpPr>
          <p:nvPr>
            <p:ph type="body" sz="quarter" idx="18" hasCustomPrompt="1"/>
          </p:nvPr>
        </p:nvSpPr>
        <p:spPr>
          <a:xfrm>
            <a:off x="808037"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Rectangle: Rounded Corners 82">
            <a:extLst>
              <a:ext uri="{FF2B5EF4-FFF2-40B4-BE49-F238E27FC236}">
                <a16:creationId xmlns:a16="http://schemas.microsoft.com/office/drawing/2014/main" id="{0C1CDFB8-1C55-DA56-4D67-D60377A4A1D8}"/>
              </a:ext>
              <a:ext uri="{C183D7F6-B498-43B3-948B-1728B52AA6E4}">
                <adec:decorative xmlns:adec="http://schemas.microsoft.com/office/drawing/2017/decorative" val="1"/>
              </a:ext>
            </a:extLst>
          </p:cNvPr>
          <p:cNvSpPr>
            <a:spLocks/>
          </p:cNvSpPr>
          <p:nvPr userDrawn="1"/>
        </p:nvSpPr>
        <p:spPr bwMode="auto">
          <a:xfrm>
            <a:off x="436913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91" name="Straight Connector 90">
            <a:extLst>
              <a:ext uri="{FF2B5EF4-FFF2-40B4-BE49-F238E27FC236}">
                <a16:creationId xmlns:a16="http://schemas.microsoft.com/office/drawing/2014/main" id="{EBF6A7F5-EA0F-C38C-005D-05697A85CA70}"/>
              </a:ext>
              <a:ext uri="{C183D7F6-B498-43B3-948B-1728B52AA6E4}">
                <adec:decorative xmlns:adec="http://schemas.microsoft.com/office/drawing/2017/decorative" val="1"/>
              </a:ext>
            </a:extLst>
          </p:cNvPr>
          <p:cNvCxnSpPr>
            <a:cxnSpLocks/>
          </p:cNvCxnSpPr>
          <p:nvPr userDrawn="1"/>
        </p:nvCxnSpPr>
        <p:spPr>
          <a:xfrm>
            <a:off x="467267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8" name="Text Placeholder 35">
            <a:extLst>
              <a:ext uri="{FF2B5EF4-FFF2-40B4-BE49-F238E27FC236}">
                <a16:creationId xmlns:a16="http://schemas.microsoft.com/office/drawing/2014/main" id="{C69F89E4-BE9D-61AD-E65E-B9C520A2DC7A}"/>
              </a:ext>
            </a:extLst>
          </p:cNvPr>
          <p:cNvSpPr>
            <a:spLocks noGrp="1"/>
          </p:cNvSpPr>
          <p:nvPr>
            <p:ph type="body" sz="quarter" idx="19" hasCustomPrompt="1"/>
          </p:nvPr>
        </p:nvSpPr>
        <p:spPr>
          <a:xfrm>
            <a:off x="458890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4" name="Text Placeholder 35">
            <a:extLst>
              <a:ext uri="{FF2B5EF4-FFF2-40B4-BE49-F238E27FC236}">
                <a16:creationId xmlns:a16="http://schemas.microsoft.com/office/drawing/2014/main" id="{B32118F7-5A65-3490-4F7D-A0B2FA8410C0}"/>
              </a:ext>
            </a:extLst>
          </p:cNvPr>
          <p:cNvSpPr>
            <a:spLocks noGrp="1"/>
          </p:cNvSpPr>
          <p:nvPr>
            <p:ph type="body" sz="quarter" idx="20" hasCustomPrompt="1"/>
          </p:nvPr>
        </p:nvSpPr>
        <p:spPr>
          <a:xfrm>
            <a:off x="458890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7" name="Rectangle: Rounded Corners 106">
            <a:extLst>
              <a:ext uri="{FF2B5EF4-FFF2-40B4-BE49-F238E27FC236}">
                <a16:creationId xmlns:a16="http://schemas.microsoft.com/office/drawing/2014/main" id="{E66144AF-03CB-545E-78BA-A286157B1584}"/>
              </a:ext>
              <a:ext uri="{C183D7F6-B498-43B3-948B-1728B52AA6E4}">
                <adec:decorative xmlns:adec="http://schemas.microsoft.com/office/drawing/2017/decorative" val="1"/>
              </a:ext>
            </a:extLst>
          </p:cNvPr>
          <p:cNvSpPr>
            <a:spLocks/>
          </p:cNvSpPr>
          <p:nvPr userDrawn="1"/>
        </p:nvSpPr>
        <p:spPr bwMode="auto">
          <a:xfrm>
            <a:off x="812641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1" name="Straight Connector 110">
            <a:extLst>
              <a:ext uri="{FF2B5EF4-FFF2-40B4-BE49-F238E27FC236}">
                <a16:creationId xmlns:a16="http://schemas.microsoft.com/office/drawing/2014/main" id="{DD5AF553-B479-B588-99ED-5E0B16ACCB5A}"/>
              </a:ext>
              <a:ext uri="{C183D7F6-B498-43B3-948B-1728B52AA6E4}">
                <adec:decorative xmlns:adec="http://schemas.microsoft.com/office/drawing/2017/decorative" val="1"/>
              </a:ext>
            </a:extLst>
          </p:cNvPr>
          <p:cNvCxnSpPr>
            <a:cxnSpLocks/>
          </p:cNvCxnSpPr>
          <p:nvPr userDrawn="1"/>
        </p:nvCxnSpPr>
        <p:spPr>
          <a:xfrm>
            <a:off x="842995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 name="Text Placeholder 35">
            <a:extLst>
              <a:ext uri="{FF2B5EF4-FFF2-40B4-BE49-F238E27FC236}">
                <a16:creationId xmlns:a16="http://schemas.microsoft.com/office/drawing/2014/main" id="{2DDCE853-F035-4F1D-6ADC-3D74E01CBA13}"/>
              </a:ext>
            </a:extLst>
          </p:cNvPr>
          <p:cNvSpPr>
            <a:spLocks noGrp="1"/>
          </p:cNvSpPr>
          <p:nvPr>
            <p:ph type="body" sz="quarter" idx="21" hasCustomPrompt="1"/>
          </p:nvPr>
        </p:nvSpPr>
        <p:spPr>
          <a:xfrm>
            <a:off x="834618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6" name="Text Placeholder 35">
            <a:extLst>
              <a:ext uri="{FF2B5EF4-FFF2-40B4-BE49-F238E27FC236}">
                <a16:creationId xmlns:a16="http://schemas.microsoft.com/office/drawing/2014/main" id="{63E421E8-4622-F672-A7DE-0041CFE8FBE5}"/>
              </a:ext>
            </a:extLst>
          </p:cNvPr>
          <p:cNvSpPr>
            <a:spLocks noGrp="1"/>
          </p:cNvSpPr>
          <p:nvPr>
            <p:ph type="body" sz="quarter" idx="22" hasCustomPrompt="1"/>
          </p:nvPr>
        </p:nvSpPr>
        <p:spPr>
          <a:xfrm>
            <a:off x="834618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5723110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lumn with sub titl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83410A-EAEF-1265-E404-6DF4F511BB98}"/>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A5C78AAD-02FD-10AC-CC3C-30F9EAB1804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D13D3E9-40FD-4B69-2DA6-36CE7390384B}"/>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9532A76-E802-0E51-4936-C7EDD3BD0C99}"/>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0AA94023-659C-DF1A-1432-D80BD0048ABA}"/>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4EEF02ED-858D-3E44-8A85-75B04AC34033}"/>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9303F9AF-1C03-E782-C803-2BB6C40057B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C7D8CCDE-6152-905A-F816-02DBF4194D2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29766E26-7ACB-2ACF-521B-DDD840AB7FF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524187-AAE3-2430-A752-8B62BFFB8C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43" name="Title 1">
            <a:extLst>
              <a:ext uri="{FF2B5EF4-FFF2-40B4-BE49-F238E27FC236}">
                <a16:creationId xmlns:a16="http://schemas.microsoft.com/office/drawing/2014/main" id="{787345B3-AA16-9C51-1F2F-7F312B7A4D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8" name="Text Placeholder 35">
            <a:extLst>
              <a:ext uri="{FF2B5EF4-FFF2-40B4-BE49-F238E27FC236}">
                <a16:creationId xmlns:a16="http://schemas.microsoft.com/office/drawing/2014/main" id="{1BF1BD34-7F91-443E-8B7D-BC38F9827F34}"/>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Rectangle: Rounded Corners 52">
            <a:extLst>
              <a:ext uri="{FF2B5EF4-FFF2-40B4-BE49-F238E27FC236}">
                <a16:creationId xmlns:a16="http://schemas.microsoft.com/office/drawing/2014/main" id="{35652C22-C463-E479-AF2B-2D3E833E2626}"/>
              </a:ext>
              <a:ext uri="{C183D7F6-B498-43B3-948B-1728B52AA6E4}">
                <adec:decorative xmlns:adec="http://schemas.microsoft.com/office/drawing/2017/decorative" val="1"/>
              </a:ext>
            </a:extLst>
          </p:cNvPr>
          <p:cNvSpPr>
            <a:spLocks/>
          </p:cNvSpPr>
          <p:nvPr userDrawn="1"/>
        </p:nvSpPr>
        <p:spPr bwMode="auto">
          <a:xfrm>
            <a:off x="588264"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9" name="Straight Connector 68">
            <a:extLst>
              <a:ext uri="{FF2B5EF4-FFF2-40B4-BE49-F238E27FC236}">
                <a16:creationId xmlns:a16="http://schemas.microsoft.com/office/drawing/2014/main" id="{C65E4C8E-E218-D4AD-15CF-A69FF6BC7FCE}"/>
              </a:ext>
              <a:ext uri="{C183D7F6-B498-43B3-948B-1728B52AA6E4}">
                <adec:decorative xmlns:adec="http://schemas.microsoft.com/office/drawing/2017/decorative" val="1"/>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 Placeholder 35">
            <a:extLst>
              <a:ext uri="{FF2B5EF4-FFF2-40B4-BE49-F238E27FC236}">
                <a16:creationId xmlns:a16="http://schemas.microsoft.com/office/drawing/2014/main" id="{0D5B07DE-9C3F-C612-1BCC-5ADA4EE3D71E}"/>
              </a:ext>
            </a:extLst>
          </p:cNvPr>
          <p:cNvSpPr>
            <a:spLocks noGrp="1"/>
          </p:cNvSpPr>
          <p:nvPr>
            <p:ph type="body" sz="quarter" idx="15" hasCustomPrompt="1"/>
          </p:nvPr>
        </p:nvSpPr>
        <p:spPr>
          <a:xfrm>
            <a:off x="80803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8" name="Text Placeholder 35">
            <a:extLst>
              <a:ext uri="{FF2B5EF4-FFF2-40B4-BE49-F238E27FC236}">
                <a16:creationId xmlns:a16="http://schemas.microsoft.com/office/drawing/2014/main" id="{2281C67E-7FE9-E607-E9C0-6E8C182028B2}"/>
              </a:ext>
            </a:extLst>
          </p:cNvPr>
          <p:cNvSpPr>
            <a:spLocks noGrp="1"/>
          </p:cNvSpPr>
          <p:nvPr>
            <p:ph type="body" sz="quarter" idx="18" hasCustomPrompt="1"/>
          </p:nvPr>
        </p:nvSpPr>
        <p:spPr>
          <a:xfrm>
            <a:off x="80803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9" name="Rectangle: Rounded Corners 108">
            <a:extLst>
              <a:ext uri="{FF2B5EF4-FFF2-40B4-BE49-F238E27FC236}">
                <a16:creationId xmlns:a16="http://schemas.microsoft.com/office/drawing/2014/main" id="{9C37832D-BBC1-29EF-3693-02C5FD94456E}"/>
              </a:ext>
              <a:ext uri="{C183D7F6-B498-43B3-948B-1728B52AA6E4}">
                <adec:decorative xmlns:adec="http://schemas.microsoft.com/office/drawing/2017/decorative" val="1"/>
              </a:ext>
            </a:extLst>
          </p:cNvPr>
          <p:cNvSpPr>
            <a:spLocks/>
          </p:cNvSpPr>
          <p:nvPr userDrawn="1"/>
        </p:nvSpPr>
        <p:spPr bwMode="auto">
          <a:xfrm>
            <a:off x="3403960"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0" name="Straight Connector 109">
            <a:extLst>
              <a:ext uri="{FF2B5EF4-FFF2-40B4-BE49-F238E27FC236}">
                <a16:creationId xmlns:a16="http://schemas.microsoft.com/office/drawing/2014/main" id="{939F2199-CB00-3ABD-BF0F-4478DD166811}"/>
              </a:ext>
              <a:ext uri="{C183D7F6-B498-43B3-948B-1728B52AA6E4}">
                <adec:decorative xmlns:adec="http://schemas.microsoft.com/office/drawing/2017/decorative" val="1"/>
              </a:ext>
            </a:extLst>
          </p:cNvPr>
          <p:cNvCxnSpPr>
            <a:cxnSpLocks/>
          </p:cNvCxnSpPr>
          <p:nvPr userDrawn="1"/>
        </p:nvCxnSpPr>
        <p:spPr>
          <a:xfrm>
            <a:off x="3707504"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Text Placeholder 35">
            <a:extLst>
              <a:ext uri="{FF2B5EF4-FFF2-40B4-BE49-F238E27FC236}">
                <a16:creationId xmlns:a16="http://schemas.microsoft.com/office/drawing/2014/main" id="{6856AF34-6CD5-0E67-CBEF-3ADF42E1547F}"/>
              </a:ext>
            </a:extLst>
          </p:cNvPr>
          <p:cNvSpPr>
            <a:spLocks noGrp="1"/>
          </p:cNvSpPr>
          <p:nvPr>
            <p:ph type="body" sz="quarter" idx="19" hasCustomPrompt="1"/>
          </p:nvPr>
        </p:nvSpPr>
        <p:spPr>
          <a:xfrm>
            <a:off x="3623734"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3" name="Text Placeholder 35">
            <a:extLst>
              <a:ext uri="{FF2B5EF4-FFF2-40B4-BE49-F238E27FC236}">
                <a16:creationId xmlns:a16="http://schemas.microsoft.com/office/drawing/2014/main" id="{1F1E669A-E33C-A9D5-2F2D-B9C3CFD72809}"/>
              </a:ext>
            </a:extLst>
          </p:cNvPr>
          <p:cNvSpPr>
            <a:spLocks noGrp="1"/>
          </p:cNvSpPr>
          <p:nvPr>
            <p:ph type="body" sz="quarter" idx="20" hasCustomPrompt="1"/>
          </p:nvPr>
        </p:nvSpPr>
        <p:spPr>
          <a:xfrm>
            <a:off x="3623734"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0" name="Rectangle: Rounded Corners 149">
            <a:extLst>
              <a:ext uri="{FF2B5EF4-FFF2-40B4-BE49-F238E27FC236}">
                <a16:creationId xmlns:a16="http://schemas.microsoft.com/office/drawing/2014/main" id="{0330CE2D-C47D-7096-4933-67AD267BDD9C}"/>
              </a:ext>
              <a:ext uri="{C183D7F6-B498-43B3-948B-1728B52AA6E4}">
                <adec:decorative xmlns:adec="http://schemas.microsoft.com/office/drawing/2017/decorative" val="1"/>
              </a:ext>
            </a:extLst>
          </p:cNvPr>
          <p:cNvSpPr>
            <a:spLocks/>
          </p:cNvSpPr>
          <p:nvPr userDrawn="1"/>
        </p:nvSpPr>
        <p:spPr bwMode="auto">
          <a:xfrm>
            <a:off x="6219656"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58" name="Straight Connector 157">
            <a:extLst>
              <a:ext uri="{FF2B5EF4-FFF2-40B4-BE49-F238E27FC236}">
                <a16:creationId xmlns:a16="http://schemas.microsoft.com/office/drawing/2014/main" id="{77869FC7-BFA9-CB48-8F56-745487AC9107}"/>
              </a:ext>
              <a:ext uri="{C183D7F6-B498-43B3-948B-1728B52AA6E4}">
                <adec:decorative xmlns:adec="http://schemas.microsoft.com/office/drawing/2017/decorative" val="1"/>
              </a:ext>
            </a:extLst>
          </p:cNvPr>
          <p:cNvCxnSpPr>
            <a:cxnSpLocks/>
          </p:cNvCxnSpPr>
          <p:nvPr userDrawn="1"/>
        </p:nvCxnSpPr>
        <p:spPr>
          <a:xfrm>
            <a:off x="6523200"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5" name="Text Placeholder 35">
            <a:extLst>
              <a:ext uri="{FF2B5EF4-FFF2-40B4-BE49-F238E27FC236}">
                <a16:creationId xmlns:a16="http://schemas.microsoft.com/office/drawing/2014/main" id="{2E4C8D99-8BC0-843D-C75C-25D5A9C41F9A}"/>
              </a:ext>
            </a:extLst>
          </p:cNvPr>
          <p:cNvSpPr>
            <a:spLocks noGrp="1"/>
          </p:cNvSpPr>
          <p:nvPr>
            <p:ph type="body" sz="quarter" idx="21" hasCustomPrompt="1"/>
          </p:nvPr>
        </p:nvSpPr>
        <p:spPr>
          <a:xfrm>
            <a:off x="6439430"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1" name="Text Placeholder 35">
            <a:extLst>
              <a:ext uri="{FF2B5EF4-FFF2-40B4-BE49-F238E27FC236}">
                <a16:creationId xmlns:a16="http://schemas.microsoft.com/office/drawing/2014/main" id="{00A7A2B4-E7FE-20A9-9EEF-B44C397FAC53}"/>
              </a:ext>
            </a:extLst>
          </p:cNvPr>
          <p:cNvSpPr>
            <a:spLocks noGrp="1"/>
          </p:cNvSpPr>
          <p:nvPr>
            <p:ph type="body" sz="quarter" idx="22" hasCustomPrompt="1"/>
          </p:nvPr>
        </p:nvSpPr>
        <p:spPr>
          <a:xfrm>
            <a:off x="6439430"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4" name="Rectangle: Rounded Corners 173">
            <a:extLst>
              <a:ext uri="{FF2B5EF4-FFF2-40B4-BE49-F238E27FC236}">
                <a16:creationId xmlns:a16="http://schemas.microsoft.com/office/drawing/2014/main" id="{4571B59D-9E06-8FF1-B146-0AA2FF2EAE13}"/>
              </a:ext>
              <a:ext uri="{C183D7F6-B498-43B3-948B-1728B52AA6E4}">
                <adec:decorative xmlns:adec="http://schemas.microsoft.com/office/drawing/2017/decorative" val="1"/>
              </a:ext>
            </a:extLst>
          </p:cNvPr>
          <p:cNvSpPr>
            <a:spLocks/>
          </p:cNvSpPr>
          <p:nvPr userDrawn="1"/>
        </p:nvSpPr>
        <p:spPr bwMode="auto">
          <a:xfrm>
            <a:off x="9035353"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78" name="Straight Connector 177">
            <a:extLst>
              <a:ext uri="{FF2B5EF4-FFF2-40B4-BE49-F238E27FC236}">
                <a16:creationId xmlns:a16="http://schemas.microsoft.com/office/drawing/2014/main" id="{C279A0F6-AC9B-2EED-55D4-04150A0DD298}"/>
              </a:ext>
              <a:ext uri="{C183D7F6-B498-43B3-948B-1728B52AA6E4}">
                <adec:decorative xmlns:adec="http://schemas.microsoft.com/office/drawing/2017/decorative" val="1"/>
              </a:ext>
            </a:extLst>
          </p:cNvPr>
          <p:cNvCxnSpPr>
            <a:cxnSpLocks/>
          </p:cNvCxnSpPr>
          <p:nvPr userDrawn="1"/>
        </p:nvCxnSpPr>
        <p:spPr>
          <a:xfrm>
            <a:off x="9338897"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 name="Text Placeholder 35">
            <a:extLst>
              <a:ext uri="{FF2B5EF4-FFF2-40B4-BE49-F238E27FC236}">
                <a16:creationId xmlns:a16="http://schemas.microsoft.com/office/drawing/2014/main" id="{101466BB-162A-A0E7-46C6-B3B25BB9A7AB}"/>
              </a:ext>
            </a:extLst>
          </p:cNvPr>
          <p:cNvSpPr>
            <a:spLocks noGrp="1"/>
          </p:cNvSpPr>
          <p:nvPr>
            <p:ph type="body" sz="quarter" idx="23" hasCustomPrompt="1"/>
          </p:nvPr>
        </p:nvSpPr>
        <p:spPr>
          <a:xfrm>
            <a:off x="925512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3" name="Text Placeholder 35">
            <a:extLst>
              <a:ext uri="{FF2B5EF4-FFF2-40B4-BE49-F238E27FC236}">
                <a16:creationId xmlns:a16="http://schemas.microsoft.com/office/drawing/2014/main" id="{605F3648-1819-2A2A-EB5C-2515ED2B6A35}"/>
              </a:ext>
            </a:extLst>
          </p:cNvPr>
          <p:cNvSpPr>
            <a:spLocks noGrp="1"/>
          </p:cNvSpPr>
          <p:nvPr>
            <p:ph type="body" sz="quarter" idx="24" hasCustomPrompt="1"/>
          </p:nvPr>
        </p:nvSpPr>
        <p:spPr>
          <a:xfrm>
            <a:off x="925512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6270149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Dark)">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4CF64B4-D4DC-A7B6-9717-79474B64A6D7}"/>
              </a:ext>
            </a:extLst>
          </p:cNvPr>
          <p:cNvGrpSpPr/>
          <p:nvPr userDrawn="1"/>
        </p:nvGrpSpPr>
        <p:grpSpPr>
          <a:xfrm>
            <a:off x="0" y="0"/>
            <a:ext cx="12192000" cy="6858002"/>
            <a:chOff x="0" y="0"/>
            <a:chExt cx="12192000" cy="6858002"/>
          </a:xfrm>
        </p:grpSpPr>
        <p:grpSp>
          <p:nvGrpSpPr>
            <p:cNvPr id="19" name="Group 18">
              <a:extLst>
                <a:ext uri="{FF2B5EF4-FFF2-40B4-BE49-F238E27FC236}">
                  <a16:creationId xmlns:a16="http://schemas.microsoft.com/office/drawing/2014/main" id="{0162699A-E41E-3D99-C301-7FD40EEFA1DC}"/>
                </a:ext>
              </a:extLst>
            </p:cNvPr>
            <p:cNvGrpSpPr/>
            <p:nvPr userDrawn="1"/>
          </p:nvGrpSpPr>
          <p:grpSpPr>
            <a:xfrm>
              <a:off x="0" y="0"/>
              <a:ext cx="12192000" cy="6858000"/>
              <a:chOff x="0" y="0"/>
              <a:chExt cx="12192000" cy="6858000"/>
            </a:xfrm>
          </p:grpSpPr>
          <p:pic>
            <p:nvPicPr>
              <p:cNvPr id="27" name="Picture 26" descr="A picture containing blue, electric blue, majorelle blue, blur&#10;&#10;Description automatically generated">
                <a:extLst>
                  <a:ext uri="{FF2B5EF4-FFF2-40B4-BE49-F238E27FC236}">
                    <a16:creationId xmlns:a16="http://schemas.microsoft.com/office/drawing/2014/main" id="{A3204511-06CD-9FB8-D62E-92A6A5B8752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8" name="Picture 27">
                <a:extLst>
                  <a:ext uri="{FF2B5EF4-FFF2-40B4-BE49-F238E27FC236}">
                    <a16:creationId xmlns:a16="http://schemas.microsoft.com/office/drawing/2014/main" id="{1874DA23-E87F-EB21-9DA1-567E2DD250B1}"/>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20" name="Group 19">
              <a:extLst>
                <a:ext uri="{FF2B5EF4-FFF2-40B4-BE49-F238E27FC236}">
                  <a16:creationId xmlns:a16="http://schemas.microsoft.com/office/drawing/2014/main" id="{C4910108-2A45-B41E-8FB2-6D0159D34903}"/>
                </a:ext>
              </a:extLst>
            </p:cNvPr>
            <p:cNvGrpSpPr/>
            <p:nvPr userDrawn="1"/>
          </p:nvGrpSpPr>
          <p:grpSpPr>
            <a:xfrm>
              <a:off x="0" y="0"/>
              <a:ext cx="12192000" cy="6858002"/>
              <a:chOff x="0" y="0"/>
              <a:chExt cx="12192000" cy="6858002"/>
            </a:xfrm>
          </p:grpSpPr>
          <p:grpSp>
            <p:nvGrpSpPr>
              <p:cNvPr id="21" name="Group 20">
                <a:extLst>
                  <a:ext uri="{FF2B5EF4-FFF2-40B4-BE49-F238E27FC236}">
                    <a16:creationId xmlns:a16="http://schemas.microsoft.com/office/drawing/2014/main" id="{C68EFB24-F60F-F5AA-6C8E-BC7C04D19EF0}"/>
                  </a:ext>
                </a:extLst>
              </p:cNvPr>
              <p:cNvGrpSpPr/>
              <p:nvPr/>
            </p:nvGrpSpPr>
            <p:grpSpPr>
              <a:xfrm>
                <a:off x="0" y="0"/>
                <a:ext cx="12192000" cy="6858002"/>
                <a:chOff x="0" y="0"/>
                <a:chExt cx="12192000" cy="6858002"/>
              </a:xfrm>
            </p:grpSpPr>
            <p:grpSp>
              <p:nvGrpSpPr>
                <p:cNvPr id="23" name="Group 22">
                  <a:extLst>
                    <a:ext uri="{FF2B5EF4-FFF2-40B4-BE49-F238E27FC236}">
                      <a16:creationId xmlns:a16="http://schemas.microsoft.com/office/drawing/2014/main" id="{680074C0-BD53-CF32-689D-7BA851ABBD9C}"/>
                    </a:ext>
                  </a:extLst>
                </p:cNvPr>
                <p:cNvGrpSpPr/>
                <p:nvPr/>
              </p:nvGrpSpPr>
              <p:grpSpPr>
                <a:xfrm>
                  <a:off x="9486900" y="0"/>
                  <a:ext cx="2705100" cy="694583"/>
                  <a:chOff x="9486900" y="0"/>
                  <a:chExt cx="2705100" cy="694583"/>
                </a:xfrm>
              </p:grpSpPr>
              <p:sp>
                <p:nvSpPr>
                  <p:cNvPr id="25" name="Freeform: Shape 24">
                    <a:extLst>
                      <a:ext uri="{FF2B5EF4-FFF2-40B4-BE49-F238E27FC236}">
                        <a16:creationId xmlns:a16="http://schemas.microsoft.com/office/drawing/2014/main" id="{F950FDD7-AD9B-D725-7E89-A366FA792F6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26" name="Freeform: Shape 25">
                    <a:extLst>
                      <a:ext uri="{FF2B5EF4-FFF2-40B4-BE49-F238E27FC236}">
                        <a16:creationId xmlns:a16="http://schemas.microsoft.com/office/drawing/2014/main" id="{3F604E45-E19D-AC53-13C6-8283B7F14ED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24" name="Freeform: Shape 23">
                  <a:extLst>
                    <a:ext uri="{FF2B5EF4-FFF2-40B4-BE49-F238E27FC236}">
                      <a16:creationId xmlns:a16="http://schemas.microsoft.com/office/drawing/2014/main" id="{30481EC0-46B9-821A-C656-F5D7DA12FA8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22" name="Freeform: Shape 21">
                <a:extLst>
                  <a:ext uri="{FF2B5EF4-FFF2-40B4-BE49-F238E27FC236}">
                    <a16:creationId xmlns:a16="http://schemas.microsoft.com/office/drawing/2014/main" id="{347EBAF1-FAAA-527D-5283-95F6013C354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2" name="Rectangle: Rounded Corners 1">
            <a:extLst>
              <a:ext uri="{FF2B5EF4-FFF2-40B4-BE49-F238E27FC236}">
                <a16:creationId xmlns:a16="http://schemas.microsoft.com/office/drawing/2014/main" id="{50F1D4C8-2BD0-D272-D4F8-7DF1015BA6A6}"/>
              </a:ext>
            </a:extLst>
          </p:cNvPr>
          <p:cNvSpPr/>
          <p:nvPr userDrawn="1"/>
        </p:nvSpPr>
        <p:spPr bwMode="auto">
          <a:xfrm>
            <a:off x="6187379" y="1468398"/>
            <a:ext cx="5422009"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12" name="Rectangle: Rounded Corners 11">
            <a:extLst>
              <a:ext uri="{FF2B5EF4-FFF2-40B4-BE49-F238E27FC236}">
                <a16:creationId xmlns:a16="http://schemas.microsoft.com/office/drawing/2014/main" id="{B1633E4A-EC5B-28FD-A53F-2CB0C31C79F8}"/>
              </a:ext>
            </a:extLst>
          </p:cNvPr>
          <p:cNvSpPr>
            <a:spLocks/>
          </p:cNvSpPr>
          <p:nvPr userDrawn="1"/>
        </p:nvSpPr>
        <p:spPr bwMode="auto">
          <a:xfrm>
            <a:off x="588263" y="1468398"/>
            <a:ext cx="5422009"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36" name="Title 1">
            <a:extLst>
              <a:ext uri="{FF2B5EF4-FFF2-40B4-BE49-F238E27FC236}">
                <a16:creationId xmlns:a16="http://schemas.microsoft.com/office/drawing/2014/main" id="{4ACE9511-F52F-C8FA-AC9A-3B9853AE68A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8" name="Text Placeholder 35">
            <a:extLst>
              <a:ext uri="{FF2B5EF4-FFF2-40B4-BE49-F238E27FC236}">
                <a16:creationId xmlns:a16="http://schemas.microsoft.com/office/drawing/2014/main" id="{4FA88EA3-74D7-8F20-6CF6-1D7ECD77907B}"/>
              </a:ext>
            </a:extLst>
          </p:cNvPr>
          <p:cNvSpPr>
            <a:spLocks noGrp="1"/>
          </p:cNvSpPr>
          <p:nvPr>
            <p:ph type="body" sz="quarter" idx="15" hasCustomPrompt="1"/>
          </p:nvPr>
        </p:nvSpPr>
        <p:spPr>
          <a:xfrm>
            <a:off x="808037"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AC594335-3B13-B806-DFDD-359BB86A058D}"/>
              </a:ext>
            </a:extLst>
          </p:cNvPr>
          <p:cNvSpPr>
            <a:spLocks noGrp="1"/>
          </p:cNvSpPr>
          <p:nvPr>
            <p:ph type="body" sz="quarter" idx="18" hasCustomPrompt="1"/>
          </p:nvPr>
        </p:nvSpPr>
        <p:spPr>
          <a:xfrm>
            <a:off x="808037"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8120E1C-AC93-18FA-B5C2-EFD0079C7625}"/>
              </a:ext>
            </a:extLst>
          </p:cNvPr>
          <p:cNvSpPr>
            <a:spLocks noGrp="1"/>
          </p:cNvSpPr>
          <p:nvPr>
            <p:ph type="body" sz="quarter" idx="19" hasCustomPrompt="1"/>
          </p:nvPr>
        </p:nvSpPr>
        <p:spPr>
          <a:xfrm>
            <a:off x="6415031" y="2269113"/>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73FD95C-796C-89AE-3D79-365AFA8DBB7B}"/>
              </a:ext>
            </a:extLst>
          </p:cNvPr>
          <p:cNvSpPr>
            <a:spLocks noGrp="1"/>
          </p:cNvSpPr>
          <p:nvPr>
            <p:ph type="body" sz="quarter" idx="20" hasCustomPrompt="1"/>
          </p:nvPr>
        </p:nvSpPr>
        <p:spPr>
          <a:xfrm>
            <a:off x="6415031" y="2692214"/>
            <a:ext cx="4992687"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2041929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EECA4E-B9EB-D9C8-1ABC-FD64965DBEC7}"/>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E20A3CF1-986C-3BCD-E38A-1429ADF84139}"/>
                </a:ext>
              </a:extLst>
            </p:cNvPr>
            <p:cNvGrpSpPr/>
            <p:nvPr userDrawn="1"/>
          </p:nvGrpSpPr>
          <p:grpSpPr>
            <a:xfrm>
              <a:off x="0" y="0"/>
              <a:ext cx="12192000" cy="6858000"/>
              <a:chOff x="0" y="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D4F23F2A-1483-5583-0E1D-4847763F37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D7F6BC42-9F1D-22FC-BD32-5BC631E6568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7" name="Group 6">
              <a:extLst>
                <a:ext uri="{FF2B5EF4-FFF2-40B4-BE49-F238E27FC236}">
                  <a16:creationId xmlns:a16="http://schemas.microsoft.com/office/drawing/2014/main" id="{3434FE91-CE20-01C8-9536-6BE178B69EDC}"/>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9137EAF7-3DFA-C027-7D94-880C5F8A7B03}"/>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93602F9D-37ED-18BC-8690-C680F2ADADD5}"/>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13827D9D-FDAE-654B-99F4-B4BD9949703E}"/>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3" name="Freeform: Shape 12">
                    <a:extLst>
                      <a:ext uri="{FF2B5EF4-FFF2-40B4-BE49-F238E27FC236}">
                        <a16:creationId xmlns:a16="http://schemas.microsoft.com/office/drawing/2014/main" id="{D284C2E7-31F2-BDC7-FD30-5CAB270FEDB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F861AD9C-4BB6-6D4B-2394-6E3128FB61D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3AAEDB83-BA32-82E2-475A-BE96D7FF51F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27" name="Rectangle: Rounded Corners 26">
            <a:extLst>
              <a:ext uri="{FF2B5EF4-FFF2-40B4-BE49-F238E27FC236}">
                <a16:creationId xmlns:a16="http://schemas.microsoft.com/office/drawing/2014/main" id="{C65F0DE8-A097-3207-ACD8-D398CB97192D}"/>
              </a:ext>
            </a:extLst>
          </p:cNvPr>
          <p:cNvSpPr>
            <a:spLocks/>
          </p:cNvSpPr>
          <p:nvPr userDrawn="1"/>
        </p:nvSpPr>
        <p:spPr bwMode="auto">
          <a:xfrm>
            <a:off x="8126412"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30" name="Rectangle: Rounded Corners 29">
            <a:extLst>
              <a:ext uri="{FF2B5EF4-FFF2-40B4-BE49-F238E27FC236}">
                <a16:creationId xmlns:a16="http://schemas.microsoft.com/office/drawing/2014/main" id="{8E74AD7E-C87C-8DC8-3068-5C3AFB0E2782}"/>
              </a:ext>
            </a:extLst>
          </p:cNvPr>
          <p:cNvSpPr>
            <a:spLocks/>
          </p:cNvSpPr>
          <p:nvPr userDrawn="1"/>
        </p:nvSpPr>
        <p:spPr bwMode="auto">
          <a:xfrm>
            <a:off x="4369132"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0" name="Rectangle: Rounded Corners 49">
            <a:extLst>
              <a:ext uri="{FF2B5EF4-FFF2-40B4-BE49-F238E27FC236}">
                <a16:creationId xmlns:a16="http://schemas.microsoft.com/office/drawing/2014/main" id="{15583138-21D4-8B1D-6BB4-BFDA0882BDE2}"/>
              </a:ext>
            </a:extLst>
          </p:cNvPr>
          <p:cNvSpPr>
            <a:spLocks/>
          </p:cNvSpPr>
          <p:nvPr userDrawn="1"/>
        </p:nvSpPr>
        <p:spPr bwMode="auto">
          <a:xfrm>
            <a:off x="588264" y="1468398"/>
            <a:ext cx="3477324"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1" name="Text Placeholder 35">
            <a:extLst>
              <a:ext uri="{FF2B5EF4-FFF2-40B4-BE49-F238E27FC236}">
                <a16:creationId xmlns:a16="http://schemas.microsoft.com/office/drawing/2014/main" id="{BA9EC78B-7623-7E3F-5561-C9C308EE422D}"/>
              </a:ext>
            </a:extLst>
          </p:cNvPr>
          <p:cNvSpPr>
            <a:spLocks noGrp="1"/>
          </p:cNvSpPr>
          <p:nvPr>
            <p:ph type="body" sz="quarter" idx="15" hasCustomPrompt="1"/>
          </p:nvPr>
        </p:nvSpPr>
        <p:spPr>
          <a:xfrm>
            <a:off x="808037"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Text Placeholder 35">
            <a:extLst>
              <a:ext uri="{FF2B5EF4-FFF2-40B4-BE49-F238E27FC236}">
                <a16:creationId xmlns:a16="http://schemas.microsoft.com/office/drawing/2014/main" id="{2D805644-012F-CE9C-EE58-81411CF8625C}"/>
              </a:ext>
            </a:extLst>
          </p:cNvPr>
          <p:cNvSpPr>
            <a:spLocks noGrp="1"/>
          </p:cNvSpPr>
          <p:nvPr>
            <p:ph type="body" sz="quarter" idx="18" hasCustomPrompt="1"/>
          </p:nvPr>
        </p:nvSpPr>
        <p:spPr>
          <a:xfrm>
            <a:off x="808037"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Text Placeholder 35">
            <a:extLst>
              <a:ext uri="{FF2B5EF4-FFF2-40B4-BE49-F238E27FC236}">
                <a16:creationId xmlns:a16="http://schemas.microsoft.com/office/drawing/2014/main" id="{37F74FEE-022D-CFCB-12DF-E632F4732B7A}"/>
              </a:ext>
            </a:extLst>
          </p:cNvPr>
          <p:cNvSpPr>
            <a:spLocks noGrp="1"/>
          </p:cNvSpPr>
          <p:nvPr>
            <p:ph type="body" sz="quarter" idx="19" hasCustomPrompt="1"/>
          </p:nvPr>
        </p:nvSpPr>
        <p:spPr>
          <a:xfrm>
            <a:off x="458890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Text Placeholder 35">
            <a:extLst>
              <a:ext uri="{FF2B5EF4-FFF2-40B4-BE49-F238E27FC236}">
                <a16:creationId xmlns:a16="http://schemas.microsoft.com/office/drawing/2014/main" id="{CBB72430-2878-2057-1C09-19632B3FFC1C}"/>
              </a:ext>
            </a:extLst>
          </p:cNvPr>
          <p:cNvSpPr>
            <a:spLocks noGrp="1"/>
          </p:cNvSpPr>
          <p:nvPr>
            <p:ph type="body" sz="quarter" idx="20" hasCustomPrompt="1"/>
          </p:nvPr>
        </p:nvSpPr>
        <p:spPr>
          <a:xfrm>
            <a:off x="458890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Text Placeholder 35">
            <a:extLst>
              <a:ext uri="{FF2B5EF4-FFF2-40B4-BE49-F238E27FC236}">
                <a16:creationId xmlns:a16="http://schemas.microsoft.com/office/drawing/2014/main" id="{58EAB592-0EAB-6E24-B7C0-D5620A42679A}"/>
              </a:ext>
            </a:extLst>
          </p:cNvPr>
          <p:cNvSpPr>
            <a:spLocks noGrp="1"/>
          </p:cNvSpPr>
          <p:nvPr>
            <p:ph type="body" sz="quarter" idx="21" hasCustomPrompt="1"/>
          </p:nvPr>
        </p:nvSpPr>
        <p:spPr>
          <a:xfrm>
            <a:off x="8346186" y="2269113"/>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C8C0A4A9-C502-C467-1D73-0218C36E1511}"/>
              </a:ext>
            </a:extLst>
          </p:cNvPr>
          <p:cNvSpPr>
            <a:spLocks noGrp="1"/>
          </p:cNvSpPr>
          <p:nvPr>
            <p:ph type="body" sz="quarter" idx="22" hasCustomPrompt="1"/>
          </p:nvPr>
        </p:nvSpPr>
        <p:spPr>
          <a:xfrm>
            <a:off x="8346186" y="2692214"/>
            <a:ext cx="305911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2051106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E25E5F6-0AEA-0505-0D11-F2644B1518A8}"/>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A8E8FE9A-05B1-DA6B-09C0-278C69273AED}"/>
                </a:ext>
              </a:extLst>
            </p:cNvPr>
            <p:cNvGrpSpPr/>
            <p:nvPr userDrawn="1"/>
          </p:nvGrpSpPr>
          <p:grpSpPr>
            <a:xfrm>
              <a:off x="0" y="0"/>
              <a:ext cx="12192000" cy="6858000"/>
              <a:chOff x="0" y="0"/>
              <a:chExt cx="12192000" cy="6858000"/>
            </a:xfrm>
          </p:grpSpPr>
          <p:pic>
            <p:nvPicPr>
              <p:cNvPr id="18" name="Picture 17" descr="A picture containing blue, electric blue, majorelle blue, blur&#10;&#10;Description automatically generated">
                <a:extLst>
                  <a:ext uri="{FF2B5EF4-FFF2-40B4-BE49-F238E27FC236}">
                    <a16:creationId xmlns:a16="http://schemas.microsoft.com/office/drawing/2014/main" id="{FF1A8D6C-5318-00BA-B122-BCA77224AAA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D154F6F-16FA-5C21-74B5-40BC23D376F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11" name="Group 10">
              <a:extLst>
                <a:ext uri="{FF2B5EF4-FFF2-40B4-BE49-F238E27FC236}">
                  <a16:creationId xmlns:a16="http://schemas.microsoft.com/office/drawing/2014/main" id="{ACE18651-1CF2-EDC9-DB80-FA60F621080E}"/>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0274335D-C269-B393-B63F-74B93783DB12}"/>
                  </a:ext>
                </a:extLst>
              </p:cNvPr>
              <p:cNvGrpSpPr/>
              <p:nvPr/>
            </p:nvGrpSpPr>
            <p:grpSpPr>
              <a:xfrm>
                <a:off x="0" y="0"/>
                <a:ext cx="12192000" cy="6858002"/>
                <a:chOff x="0" y="0"/>
                <a:chExt cx="12192000" cy="6858002"/>
              </a:xfrm>
            </p:grpSpPr>
            <p:grpSp>
              <p:nvGrpSpPr>
                <p:cNvPr id="14" name="Group 13">
                  <a:extLst>
                    <a:ext uri="{FF2B5EF4-FFF2-40B4-BE49-F238E27FC236}">
                      <a16:creationId xmlns:a16="http://schemas.microsoft.com/office/drawing/2014/main" id="{BA39D17A-A06B-C9B8-A137-3CEAD9585596}"/>
                    </a:ext>
                  </a:extLst>
                </p:cNvPr>
                <p:cNvGrpSpPr/>
                <p:nvPr/>
              </p:nvGrpSpPr>
              <p:grpSpPr>
                <a:xfrm>
                  <a:off x="9486900" y="0"/>
                  <a:ext cx="2705100" cy="694583"/>
                  <a:chOff x="9486900" y="0"/>
                  <a:chExt cx="2705100" cy="694583"/>
                </a:xfrm>
              </p:grpSpPr>
              <p:sp>
                <p:nvSpPr>
                  <p:cNvPr id="16" name="Freeform: Shape 15">
                    <a:extLst>
                      <a:ext uri="{FF2B5EF4-FFF2-40B4-BE49-F238E27FC236}">
                        <a16:creationId xmlns:a16="http://schemas.microsoft.com/office/drawing/2014/main" id="{C6D399D2-8778-9805-B41A-B64E2897B0E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7" name="Freeform: Shape 16">
                    <a:extLst>
                      <a:ext uri="{FF2B5EF4-FFF2-40B4-BE49-F238E27FC236}">
                        <a16:creationId xmlns:a16="http://schemas.microsoft.com/office/drawing/2014/main" id="{043E795E-1F42-D6D4-8D18-6E3F8C8677D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5" name="Freeform: Shape 14">
                  <a:extLst>
                    <a:ext uri="{FF2B5EF4-FFF2-40B4-BE49-F238E27FC236}">
                      <a16:creationId xmlns:a16="http://schemas.microsoft.com/office/drawing/2014/main" id="{E9989B36-8C0B-2987-3FC4-7EA39C9B1DC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3" name="Freeform: Shape 12">
                <a:extLst>
                  <a:ext uri="{FF2B5EF4-FFF2-40B4-BE49-F238E27FC236}">
                    <a16:creationId xmlns:a16="http://schemas.microsoft.com/office/drawing/2014/main" id="{97FCC91B-EB4E-224D-8426-17323DCFF02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3" name="Rectangle: Rounded Corners 2">
            <a:extLst>
              <a:ext uri="{FF2B5EF4-FFF2-40B4-BE49-F238E27FC236}">
                <a16:creationId xmlns:a16="http://schemas.microsoft.com/office/drawing/2014/main" id="{4BF0B8FD-063C-3A7B-A4E6-67D44CD479A3}"/>
              </a:ext>
            </a:extLst>
          </p:cNvPr>
          <p:cNvSpPr>
            <a:spLocks/>
          </p:cNvSpPr>
          <p:nvPr userDrawn="1"/>
        </p:nvSpPr>
        <p:spPr bwMode="auto">
          <a:xfrm>
            <a:off x="9035353"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6" name="Rectangle: Rounded Corners 5">
            <a:extLst>
              <a:ext uri="{FF2B5EF4-FFF2-40B4-BE49-F238E27FC236}">
                <a16:creationId xmlns:a16="http://schemas.microsoft.com/office/drawing/2014/main" id="{A833213E-9BF5-BA4E-112F-52147760EEB3}"/>
              </a:ext>
            </a:extLst>
          </p:cNvPr>
          <p:cNvSpPr>
            <a:spLocks/>
          </p:cNvSpPr>
          <p:nvPr userDrawn="1"/>
        </p:nvSpPr>
        <p:spPr bwMode="auto">
          <a:xfrm>
            <a:off x="6219656"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8" name="Rectangle: Rounded Corners 7">
            <a:extLst>
              <a:ext uri="{FF2B5EF4-FFF2-40B4-BE49-F238E27FC236}">
                <a16:creationId xmlns:a16="http://schemas.microsoft.com/office/drawing/2014/main" id="{18EBD841-657D-91D3-BF43-9B89FDE015CF}"/>
              </a:ext>
            </a:extLst>
          </p:cNvPr>
          <p:cNvSpPr>
            <a:spLocks/>
          </p:cNvSpPr>
          <p:nvPr userDrawn="1"/>
        </p:nvSpPr>
        <p:spPr bwMode="auto">
          <a:xfrm>
            <a:off x="3403960"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10" name="Rectangle: Rounded Corners 9">
            <a:extLst>
              <a:ext uri="{FF2B5EF4-FFF2-40B4-BE49-F238E27FC236}">
                <a16:creationId xmlns:a16="http://schemas.microsoft.com/office/drawing/2014/main" id="{37F6AD40-0DB2-B214-C350-1EB5C4F77F2E}"/>
              </a:ext>
            </a:extLst>
          </p:cNvPr>
          <p:cNvSpPr>
            <a:spLocks/>
          </p:cNvSpPr>
          <p:nvPr userDrawn="1"/>
        </p:nvSpPr>
        <p:spPr bwMode="auto">
          <a:xfrm>
            <a:off x="588264" y="1468398"/>
            <a:ext cx="2574035" cy="4800640"/>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5" name="Text Placeholder 35">
            <a:extLst>
              <a:ext uri="{FF2B5EF4-FFF2-40B4-BE49-F238E27FC236}">
                <a16:creationId xmlns:a16="http://schemas.microsoft.com/office/drawing/2014/main" id="{AFA23AD8-1779-5172-D9D8-11AF2111C463}"/>
              </a:ext>
            </a:extLst>
          </p:cNvPr>
          <p:cNvSpPr>
            <a:spLocks noGrp="1"/>
          </p:cNvSpPr>
          <p:nvPr>
            <p:ph type="body" sz="quarter" idx="15" hasCustomPrompt="1"/>
          </p:nvPr>
        </p:nvSpPr>
        <p:spPr>
          <a:xfrm>
            <a:off x="80803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F4247A13-5444-462B-53A0-7A9C693014D8}"/>
              </a:ext>
            </a:extLst>
          </p:cNvPr>
          <p:cNvSpPr>
            <a:spLocks noGrp="1"/>
          </p:cNvSpPr>
          <p:nvPr>
            <p:ph type="body" sz="quarter" idx="18" hasCustomPrompt="1"/>
          </p:nvPr>
        </p:nvSpPr>
        <p:spPr>
          <a:xfrm>
            <a:off x="80803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2" name="Text Placeholder 35">
            <a:extLst>
              <a:ext uri="{FF2B5EF4-FFF2-40B4-BE49-F238E27FC236}">
                <a16:creationId xmlns:a16="http://schemas.microsoft.com/office/drawing/2014/main" id="{CE721595-2ED2-E944-5DCB-7B9C2E6636FB}"/>
              </a:ext>
            </a:extLst>
          </p:cNvPr>
          <p:cNvSpPr>
            <a:spLocks noGrp="1"/>
          </p:cNvSpPr>
          <p:nvPr>
            <p:ph type="body" sz="quarter" idx="19" hasCustomPrompt="1"/>
          </p:nvPr>
        </p:nvSpPr>
        <p:spPr>
          <a:xfrm>
            <a:off x="3623734"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7FA1A1FC-2E4F-9436-00E5-9A7A7D8686C2}"/>
              </a:ext>
            </a:extLst>
          </p:cNvPr>
          <p:cNvSpPr>
            <a:spLocks noGrp="1"/>
          </p:cNvSpPr>
          <p:nvPr>
            <p:ph type="body" sz="quarter" idx="20" hasCustomPrompt="1"/>
          </p:nvPr>
        </p:nvSpPr>
        <p:spPr>
          <a:xfrm>
            <a:off x="3623734"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772EC14D-09D6-AEE1-6D24-94DC4AE366E6}"/>
              </a:ext>
            </a:extLst>
          </p:cNvPr>
          <p:cNvSpPr>
            <a:spLocks noGrp="1"/>
          </p:cNvSpPr>
          <p:nvPr>
            <p:ph type="body" sz="quarter" idx="21" hasCustomPrompt="1"/>
          </p:nvPr>
        </p:nvSpPr>
        <p:spPr>
          <a:xfrm>
            <a:off x="6439430"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8" name="Text Placeholder 35">
            <a:extLst>
              <a:ext uri="{FF2B5EF4-FFF2-40B4-BE49-F238E27FC236}">
                <a16:creationId xmlns:a16="http://schemas.microsoft.com/office/drawing/2014/main" id="{07BECBB1-8FF8-5336-42F4-E74763C3E6F2}"/>
              </a:ext>
            </a:extLst>
          </p:cNvPr>
          <p:cNvSpPr>
            <a:spLocks noGrp="1"/>
          </p:cNvSpPr>
          <p:nvPr>
            <p:ph type="body" sz="quarter" idx="22" hasCustomPrompt="1"/>
          </p:nvPr>
        </p:nvSpPr>
        <p:spPr>
          <a:xfrm>
            <a:off x="6439430"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7" name="Text Placeholder 35">
            <a:extLst>
              <a:ext uri="{FF2B5EF4-FFF2-40B4-BE49-F238E27FC236}">
                <a16:creationId xmlns:a16="http://schemas.microsoft.com/office/drawing/2014/main" id="{03328BDA-C735-F0B0-70D8-458639AF7AEF}"/>
              </a:ext>
            </a:extLst>
          </p:cNvPr>
          <p:cNvSpPr>
            <a:spLocks noGrp="1"/>
          </p:cNvSpPr>
          <p:nvPr>
            <p:ph type="body" sz="quarter" idx="23" hasCustomPrompt="1"/>
          </p:nvPr>
        </p:nvSpPr>
        <p:spPr>
          <a:xfrm>
            <a:off x="9255127" y="2269113"/>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1B221C5F-FF34-FD3C-A4DB-5B8FA4FD17D6}"/>
              </a:ext>
            </a:extLst>
          </p:cNvPr>
          <p:cNvSpPr>
            <a:spLocks noGrp="1"/>
          </p:cNvSpPr>
          <p:nvPr>
            <p:ph type="body" sz="quarter" idx="24" hasCustomPrompt="1"/>
          </p:nvPr>
        </p:nvSpPr>
        <p:spPr>
          <a:xfrm>
            <a:off x="9255127" y="2692214"/>
            <a:ext cx="2163763" cy="338854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32184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19507-EE0D-EF1A-81F6-94E06DEF55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E568AF-0EB0-7581-7972-B4F28B06CD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9F978B-569E-3F7A-9338-9274A1B4A2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479719-6A2D-2956-3574-50F9F3ACDCF8}"/>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6" name="Footer Placeholder 5">
            <a:extLst>
              <a:ext uri="{FF2B5EF4-FFF2-40B4-BE49-F238E27FC236}">
                <a16:creationId xmlns:a16="http://schemas.microsoft.com/office/drawing/2014/main" id="{932F390D-2824-0692-230A-52BD9D3CBA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E3B05C-CC95-0A3D-96FD-04376B544AB3}"/>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7344679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ive Column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98704B8-7D4D-46C4-5DA3-EE1079DD52F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6CFB0BD3-BB5D-83A0-1535-267C3E734D4B}"/>
                </a:ext>
              </a:extLst>
            </p:cNvPr>
            <p:cNvGrpSpPr/>
            <p:nvPr userDrawn="1"/>
          </p:nvGrpSpPr>
          <p:grpSpPr>
            <a:xfrm>
              <a:off x="0" y="0"/>
              <a:ext cx="12192000" cy="6858000"/>
              <a:chOff x="0" y="0"/>
              <a:chExt cx="12192000" cy="6858000"/>
            </a:xfrm>
          </p:grpSpPr>
          <p:pic>
            <p:nvPicPr>
              <p:cNvPr id="15" name="Picture 14" descr="A picture containing blue, electric blue, majorelle blue, blur&#10;&#10;Description automatically generated">
                <a:extLst>
                  <a:ext uri="{FF2B5EF4-FFF2-40B4-BE49-F238E27FC236}">
                    <a16:creationId xmlns:a16="http://schemas.microsoft.com/office/drawing/2014/main" id="{B789AF27-044C-032C-26AA-431A890743C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9989FD12-7505-3B73-B3AA-77DF9A836DC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7" name="Group 6">
              <a:extLst>
                <a:ext uri="{FF2B5EF4-FFF2-40B4-BE49-F238E27FC236}">
                  <a16:creationId xmlns:a16="http://schemas.microsoft.com/office/drawing/2014/main" id="{333EFD97-BBC6-D0FA-30FC-DB8F2CB8D7CB}"/>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FE500D7-F3F2-C9A5-BAE4-B065E3FFDBCA}"/>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4F355B30-451A-47CA-24D6-770E6358347E}"/>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A5B19C6B-48BC-9BAE-54C0-0108DCFE48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4" name="Freeform: Shape 13">
                    <a:extLst>
                      <a:ext uri="{FF2B5EF4-FFF2-40B4-BE49-F238E27FC236}">
                        <a16:creationId xmlns:a16="http://schemas.microsoft.com/office/drawing/2014/main" id="{981CB587-7831-F3B6-5847-6F2D7C41B151}"/>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F38A1A69-3CF0-38E3-DD15-B6B64633F0AC}"/>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EFEC32C0-8ED1-4F54-D798-1044AD4DCCC3}"/>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grpSp>
      <p:sp>
        <p:nvSpPr>
          <p:cNvPr id="13" name="Rectangle: Rounded Corners 12">
            <a:extLst>
              <a:ext uri="{FF2B5EF4-FFF2-40B4-BE49-F238E27FC236}">
                <a16:creationId xmlns:a16="http://schemas.microsoft.com/office/drawing/2014/main" id="{DA8AB36B-9DE2-43F6-AAF9-30CC30B4DA1A}"/>
              </a:ext>
              <a:ext uri="{C183D7F6-B498-43B3-948B-1728B52AA6E4}">
                <adec:decorative xmlns:adec="http://schemas.microsoft.com/office/drawing/2017/decorative" val="1"/>
              </a:ext>
            </a:extLst>
          </p:cNvPr>
          <p:cNvSpPr/>
          <p:nvPr userDrawn="1"/>
        </p:nvSpPr>
        <p:spPr bwMode="auto">
          <a:xfrm>
            <a:off x="580586" y="2477731"/>
            <a:ext cx="11030828" cy="3779977"/>
          </a:xfrm>
          <a:prstGeom prst="roundRect">
            <a:avLst>
              <a:gd name="adj" fmla="val 855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lv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20" name="Straight Connector 19">
            <a:extLst>
              <a:ext uri="{FF2B5EF4-FFF2-40B4-BE49-F238E27FC236}">
                <a16:creationId xmlns:a16="http://schemas.microsoft.com/office/drawing/2014/main" id="{15C60D05-7E7E-DAD7-1716-93FF5D735CD4}"/>
              </a:ext>
              <a:ext uri="{C183D7F6-B498-43B3-948B-1728B52AA6E4}">
                <adec:decorative xmlns:adec="http://schemas.microsoft.com/office/drawing/2017/decorative" val="1"/>
              </a:ext>
            </a:extLst>
          </p:cNvPr>
          <p:cNvCxnSpPr>
            <a:cxnSpLocks/>
          </p:cNvCxnSpPr>
          <p:nvPr/>
        </p:nvCxnSpPr>
        <p:spPr>
          <a:xfrm>
            <a:off x="7166944"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17E78F8-373B-05B1-B73A-73AD8CB6C3E7}"/>
              </a:ext>
              <a:ext uri="{C183D7F6-B498-43B3-948B-1728B52AA6E4}">
                <adec:decorative xmlns:adec="http://schemas.microsoft.com/office/drawing/2017/decorative" val="1"/>
              </a:ext>
            </a:extLst>
          </p:cNvPr>
          <p:cNvCxnSpPr>
            <a:cxnSpLocks/>
          </p:cNvCxnSpPr>
          <p:nvPr/>
        </p:nvCxnSpPr>
        <p:spPr>
          <a:xfrm>
            <a:off x="9351400"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851ADC5-D057-0A07-BB87-F7194BBDEFA0}"/>
              </a:ext>
              <a:ext uri="{C183D7F6-B498-43B3-948B-1728B52AA6E4}">
                <adec:decorative xmlns:adec="http://schemas.microsoft.com/office/drawing/2017/decorative" val="1"/>
              </a:ext>
            </a:extLst>
          </p:cNvPr>
          <p:cNvCxnSpPr>
            <a:cxnSpLocks/>
          </p:cNvCxnSpPr>
          <p:nvPr/>
        </p:nvCxnSpPr>
        <p:spPr>
          <a:xfrm>
            <a:off x="2798032"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0CD0BC-C87D-A7AC-561F-E381B3CD281C}"/>
              </a:ext>
              <a:ext uri="{C183D7F6-B498-43B3-948B-1728B52AA6E4}">
                <adec:decorative xmlns:adec="http://schemas.microsoft.com/office/drawing/2017/decorative" val="1"/>
              </a:ext>
            </a:extLst>
          </p:cNvPr>
          <p:cNvCxnSpPr>
            <a:cxnSpLocks/>
          </p:cNvCxnSpPr>
          <p:nvPr/>
        </p:nvCxnSpPr>
        <p:spPr>
          <a:xfrm>
            <a:off x="4982488" y="2477730"/>
            <a:ext cx="0" cy="370219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Freeform: Shape 80">
            <a:extLst>
              <a:ext uri="{FF2B5EF4-FFF2-40B4-BE49-F238E27FC236}">
                <a16:creationId xmlns:a16="http://schemas.microsoft.com/office/drawing/2014/main" id="{F3519852-7744-5930-DEA4-644EC694E8E2}"/>
              </a:ext>
              <a:ext uri="{C183D7F6-B498-43B3-948B-1728B52AA6E4}">
                <adec:decorative xmlns:adec="http://schemas.microsoft.com/office/drawing/2017/decorative" val="1"/>
              </a:ext>
            </a:extLst>
          </p:cNvPr>
          <p:cNvSpPr/>
          <p:nvPr userDrawn="1"/>
        </p:nvSpPr>
        <p:spPr bwMode="auto">
          <a:xfrm>
            <a:off x="677174" y="6179921"/>
            <a:ext cx="10837652" cy="77787"/>
          </a:xfrm>
          <a:custGeom>
            <a:avLst/>
            <a:gdLst>
              <a:gd name="connsiteX0" fmla="*/ 0 w 10837652"/>
              <a:gd name="connsiteY0" fmla="*/ 0 h 77787"/>
              <a:gd name="connsiteX1" fmla="*/ 10837652 w 10837652"/>
              <a:gd name="connsiteY1" fmla="*/ 0 h 77787"/>
              <a:gd name="connsiteX2" fmla="*/ 10804354 w 10837652"/>
              <a:gd name="connsiteY2" fmla="*/ 27474 h 77787"/>
              <a:gd name="connsiteX3" fmla="*/ 10639640 w 10837652"/>
              <a:gd name="connsiteY3" fmla="*/ 77787 h 77787"/>
              <a:gd name="connsiteX4" fmla="*/ 198012 w 10837652"/>
              <a:gd name="connsiteY4" fmla="*/ 77787 h 77787"/>
              <a:gd name="connsiteX5" fmla="*/ 33299 w 10837652"/>
              <a:gd name="connsiteY5" fmla="*/ 27474 h 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7652" h="77787">
                <a:moveTo>
                  <a:pt x="0" y="0"/>
                </a:moveTo>
                <a:lnTo>
                  <a:pt x="10837652" y="0"/>
                </a:lnTo>
                <a:lnTo>
                  <a:pt x="10804354" y="27474"/>
                </a:lnTo>
                <a:cubicBezTo>
                  <a:pt x="10757335" y="59239"/>
                  <a:pt x="10700654" y="77787"/>
                  <a:pt x="10639640" y="77787"/>
                </a:cubicBezTo>
                <a:lnTo>
                  <a:pt x="198012" y="77787"/>
                </a:lnTo>
                <a:cubicBezTo>
                  <a:pt x="136999" y="77787"/>
                  <a:pt x="80317" y="59239"/>
                  <a:pt x="33299" y="27474"/>
                </a:cubicBezTo>
                <a:close/>
              </a:path>
            </a:pathLst>
          </a:cu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a:solidFill>
                <a:srgbClr val="FFFFFF"/>
              </a:solidFill>
              <a:ea typeface="Segoe UI" pitchFamily="34" charset="0"/>
              <a:cs typeface="Segoe UI" pitchFamily="34" charset="0"/>
            </a:endParaRPr>
          </a:p>
        </p:txBody>
      </p:sp>
      <p:sp>
        <p:nvSpPr>
          <p:cNvPr id="59" name="Title 1">
            <a:extLst>
              <a:ext uri="{FF2B5EF4-FFF2-40B4-BE49-F238E27FC236}">
                <a16:creationId xmlns:a16="http://schemas.microsoft.com/office/drawing/2014/main" id="{85898F71-11FD-517B-3F6C-CA86282F6C99}"/>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userDrawn="1">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2" name="Text Placeholder 35">
            <a:extLst>
              <a:ext uri="{FF2B5EF4-FFF2-40B4-BE49-F238E27FC236}">
                <a16:creationId xmlns:a16="http://schemas.microsoft.com/office/drawing/2014/main" id="{F7CC93B6-DC95-01DC-5602-898D1753FC8F}"/>
              </a:ext>
            </a:extLst>
          </p:cNvPr>
          <p:cNvSpPr>
            <a:spLocks noGrp="1"/>
          </p:cNvSpPr>
          <p:nvPr userDrawn="1">
            <p:ph type="body" sz="quarter" idx="15" hasCustomPrompt="1"/>
          </p:nvPr>
        </p:nvSpPr>
        <p:spPr>
          <a:xfrm>
            <a:off x="721982"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Text Placeholder 35">
            <a:extLst>
              <a:ext uri="{FF2B5EF4-FFF2-40B4-BE49-F238E27FC236}">
                <a16:creationId xmlns:a16="http://schemas.microsoft.com/office/drawing/2014/main" id="{B35E4FBE-90B1-5FB4-0A9F-A3B574F1BB25}"/>
              </a:ext>
            </a:extLst>
          </p:cNvPr>
          <p:cNvSpPr>
            <a:spLocks noGrp="1"/>
          </p:cNvSpPr>
          <p:nvPr userDrawn="1">
            <p:ph type="body" sz="quarter" idx="18" hasCustomPrompt="1"/>
          </p:nvPr>
        </p:nvSpPr>
        <p:spPr>
          <a:xfrm>
            <a:off x="721982"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4" name="Text Placeholder 35">
            <a:extLst>
              <a:ext uri="{FF2B5EF4-FFF2-40B4-BE49-F238E27FC236}">
                <a16:creationId xmlns:a16="http://schemas.microsoft.com/office/drawing/2014/main" id="{AD003D60-8790-D35A-3C5B-4B041FC218B3}"/>
              </a:ext>
            </a:extLst>
          </p:cNvPr>
          <p:cNvSpPr>
            <a:spLocks noGrp="1"/>
          </p:cNvSpPr>
          <p:nvPr userDrawn="1">
            <p:ph type="body" sz="quarter" idx="19" hasCustomPrompt="1"/>
          </p:nvPr>
        </p:nvSpPr>
        <p:spPr>
          <a:xfrm>
            <a:off x="2937019"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5D8ED371-8D6A-250E-3863-5350BC5E7E82}"/>
              </a:ext>
            </a:extLst>
          </p:cNvPr>
          <p:cNvSpPr>
            <a:spLocks noGrp="1"/>
          </p:cNvSpPr>
          <p:nvPr userDrawn="1">
            <p:ph type="body" sz="quarter" idx="20" hasCustomPrompt="1"/>
          </p:nvPr>
        </p:nvSpPr>
        <p:spPr>
          <a:xfrm>
            <a:off x="2906438"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6" name="Text Placeholder 35">
            <a:extLst>
              <a:ext uri="{FF2B5EF4-FFF2-40B4-BE49-F238E27FC236}">
                <a16:creationId xmlns:a16="http://schemas.microsoft.com/office/drawing/2014/main" id="{9D1EB66A-CFA0-2E5D-D3F7-6DF2592C83F2}"/>
              </a:ext>
            </a:extLst>
          </p:cNvPr>
          <p:cNvSpPr>
            <a:spLocks noGrp="1"/>
          </p:cNvSpPr>
          <p:nvPr userDrawn="1">
            <p:ph type="body" sz="quarter" idx="21" hasCustomPrompt="1"/>
          </p:nvPr>
        </p:nvSpPr>
        <p:spPr>
          <a:xfrm>
            <a:off x="5109156"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7" name="Text Placeholder 35">
            <a:extLst>
              <a:ext uri="{FF2B5EF4-FFF2-40B4-BE49-F238E27FC236}">
                <a16:creationId xmlns:a16="http://schemas.microsoft.com/office/drawing/2014/main" id="{F138C0BB-1180-AE02-EAA1-C0AA4BB03AEA}"/>
              </a:ext>
            </a:extLst>
          </p:cNvPr>
          <p:cNvSpPr>
            <a:spLocks noGrp="1"/>
          </p:cNvSpPr>
          <p:nvPr userDrawn="1">
            <p:ph type="body" sz="quarter" idx="22" hasCustomPrompt="1"/>
          </p:nvPr>
        </p:nvSpPr>
        <p:spPr>
          <a:xfrm>
            <a:off x="5090894"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8" name="Text Placeholder 35">
            <a:extLst>
              <a:ext uri="{FF2B5EF4-FFF2-40B4-BE49-F238E27FC236}">
                <a16:creationId xmlns:a16="http://schemas.microsoft.com/office/drawing/2014/main" id="{FBD629CA-3753-BD50-F584-0A9CB1045BC6}"/>
              </a:ext>
            </a:extLst>
          </p:cNvPr>
          <p:cNvSpPr>
            <a:spLocks noGrp="1"/>
          </p:cNvSpPr>
          <p:nvPr userDrawn="1">
            <p:ph type="body" sz="quarter" idx="23" hasCustomPrompt="1"/>
          </p:nvPr>
        </p:nvSpPr>
        <p:spPr>
          <a:xfrm>
            <a:off x="7285545"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9" name="Text Placeholder 35">
            <a:extLst>
              <a:ext uri="{FF2B5EF4-FFF2-40B4-BE49-F238E27FC236}">
                <a16:creationId xmlns:a16="http://schemas.microsoft.com/office/drawing/2014/main" id="{09E664BB-4DDC-F4D5-7EA6-F9EFEE5DAD71}"/>
              </a:ext>
            </a:extLst>
          </p:cNvPr>
          <p:cNvSpPr>
            <a:spLocks noGrp="1"/>
          </p:cNvSpPr>
          <p:nvPr userDrawn="1">
            <p:ph type="body" sz="quarter" idx="24" hasCustomPrompt="1"/>
          </p:nvPr>
        </p:nvSpPr>
        <p:spPr>
          <a:xfrm>
            <a:off x="7275350" y="3518773"/>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0" name="Text Placeholder 35">
            <a:extLst>
              <a:ext uri="{FF2B5EF4-FFF2-40B4-BE49-F238E27FC236}">
                <a16:creationId xmlns:a16="http://schemas.microsoft.com/office/drawing/2014/main" id="{DAA12B3D-86DE-D1B2-33ED-17B269B2A35A}"/>
              </a:ext>
            </a:extLst>
          </p:cNvPr>
          <p:cNvSpPr>
            <a:spLocks noGrp="1"/>
          </p:cNvSpPr>
          <p:nvPr userDrawn="1">
            <p:ph type="body" sz="quarter" idx="25" hasCustomPrompt="1"/>
          </p:nvPr>
        </p:nvSpPr>
        <p:spPr>
          <a:xfrm>
            <a:off x="9459807" y="3074808"/>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1" name="Text Placeholder 35">
            <a:extLst>
              <a:ext uri="{FF2B5EF4-FFF2-40B4-BE49-F238E27FC236}">
                <a16:creationId xmlns:a16="http://schemas.microsoft.com/office/drawing/2014/main" id="{82962E1E-EADE-2CEF-D066-99136F6789AB}"/>
              </a:ext>
            </a:extLst>
          </p:cNvPr>
          <p:cNvSpPr>
            <a:spLocks noGrp="1"/>
          </p:cNvSpPr>
          <p:nvPr userDrawn="1">
            <p:ph type="body" sz="quarter" idx="26" hasCustomPrompt="1"/>
          </p:nvPr>
        </p:nvSpPr>
        <p:spPr>
          <a:xfrm>
            <a:off x="9459807" y="3520778"/>
            <a:ext cx="1967644" cy="2557936"/>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1287258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with side imag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CDDACDF-E91A-E905-1F10-5A3B5538FF0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76F4DF44-B21E-C368-4DEB-B1FA8C2168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E0A9CFB-6818-48EC-8068-57249818A93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8E85A788-854D-8EAE-1FC3-8FE9827F6309}"/>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14997B84-C50D-599F-9CFA-65280AF6A6A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07D4EA90-D625-30D5-7D29-C53284FEF0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cxnSp>
        <p:nvCxnSpPr>
          <p:cNvPr id="11" name="Straight Connector 10">
            <a:extLst>
              <a:ext uri="{FF2B5EF4-FFF2-40B4-BE49-F238E27FC236}">
                <a16:creationId xmlns:a16="http://schemas.microsoft.com/office/drawing/2014/main" id="{591B683C-991C-64E1-6F9A-9E8E82B5F8CA}"/>
              </a:ext>
              <a:ext uri="{C183D7F6-B498-43B3-948B-1728B52AA6E4}">
                <adec:decorative xmlns:adec="http://schemas.microsoft.com/office/drawing/2017/decorative" val="1"/>
              </a:ext>
            </a:extLst>
          </p:cNvPr>
          <p:cNvCxnSpPr>
            <a:cxnSpLocks/>
          </p:cNvCxnSpPr>
          <p:nvPr userDrawn="1"/>
        </p:nvCxnSpPr>
        <p:spPr>
          <a:xfrm>
            <a:off x="588263" y="2278213"/>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9B17D06-2B06-A1D6-0FBC-032B1EE7D8A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D0AE5BD-19F0-D0AE-42B1-A8E4454CDCE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4" name="Freeform: Shape 13">
              <a:extLst>
                <a:ext uri="{FF2B5EF4-FFF2-40B4-BE49-F238E27FC236}">
                  <a16:creationId xmlns:a16="http://schemas.microsoft.com/office/drawing/2014/main" id="{1154C99A-8C0D-EABC-13FC-155A579C3AF6}"/>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6" name="Title 1">
            <a:extLst>
              <a:ext uri="{FF2B5EF4-FFF2-40B4-BE49-F238E27FC236}">
                <a16:creationId xmlns:a16="http://schemas.microsoft.com/office/drawing/2014/main" id="{A8CB4E05-213E-1AAB-2F8F-1B197E0BCEDA}"/>
              </a:ext>
            </a:extLst>
          </p:cNvPr>
          <p:cNvSpPr>
            <a:spLocks noGrp="1"/>
          </p:cNvSpPr>
          <p:nvPr>
            <p:ph type="title" hasCustomPrompt="1"/>
          </p:nvPr>
        </p:nvSpPr>
        <p:spPr>
          <a:xfrm>
            <a:off x="588263" y="786193"/>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7" name="Text Placeholder 35">
            <a:extLst>
              <a:ext uri="{FF2B5EF4-FFF2-40B4-BE49-F238E27FC236}">
                <a16:creationId xmlns:a16="http://schemas.microsoft.com/office/drawing/2014/main" id="{1F869892-E7B2-AEDD-8D4E-B7FDCAD90C00}"/>
              </a:ext>
            </a:extLst>
          </p:cNvPr>
          <p:cNvSpPr>
            <a:spLocks noGrp="1"/>
          </p:cNvSpPr>
          <p:nvPr>
            <p:ph type="body" sz="quarter" idx="17" hasCustomPrompt="1"/>
          </p:nvPr>
        </p:nvSpPr>
        <p:spPr>
          <a:xfrm>
            <a:off x="588263" y="2524791"/>
            <a:ext cx="4956194" cy="2315908"/>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29C44985-F4B2-4B87-1A53-B5D35B74BC2A}"/>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965551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image column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335457-EC2F-EB1A-B0F6-B940276E473A}"/>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5D1B9DF4-F760-B216-0DA3-A94449F01C3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2861989-7235-CD1D-DA25-AF315104DEDA}"/>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1B4BD8C0-6577-4A34-D015-202645ED9084}"/>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28CD6D2B-4CF3-771A-2080-BD0FE0AB855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221EBDC2-FCB3-34D3-D939-CE2DE575E919}"/>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grpSp>
        <p:nvGrpSpPr>
          <p:cNvPr id="9" name="Group 8">
            <a:extLst>
              <a:ext uri="{FF2B5EF4-FFF2-40B4-BE49-F238E27FC236}">
                <a16:creationId xmlns:a16="http://schemas.microsoft.com/office/drawing/2014/main" id="{9AA6A546-0095-CC92-363A-70F8CB37C7E6}"/>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0" name="Freeform: Shape 9">
              <a:extLst>
                <a:ext uri="{FF2B5EF4-FFF2-40B4-BE49-F238E27FC236}">
                  <a16:creationId xmlns:a16="http://schemas.microsoft.com/office/drawing/2014/main" id="{DD7F24C4-768D-5560-3FB1-02AB410DDE7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7545ECDA-69F1-8AA4-0B5B-FDF86DD1E0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9" name="Title 1">
            <a:extLst>
              <a:ext uri="{FF2B5EF4-FFF2-40B4-BE49-F238E27FC236}">
                <a16:creationId xmlns:a16="http://schemas.microsoft.com/office/drawing/2014/main" id="{34C023AE-5A2D-858C-C490-9C186F157A8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4" name="Rectangle: Rounded Corners 13">
            <a:extLst>
              <a:ext uri="{FF2B5EF4-FFF2-40B4-BE49-F238E27FC236}">
                <a16:creationId xmlns:a16="http://schemas.microsoft.com/office/drawing/2014/main" id="{B752E2FC-EF70-9CA1-0453-071FF6E396A3}"/>
              </a:ext>
              <a:ext uri="{C183D7F6-B498-43B3-948B-1728B52AA6E4}">
                <adec:decorative xmlns:adec="http://schemas.microsoft.com/office/drawing/2017/decorative" val="1"/>
              </a:ext>
            </a:extLst>
          </p:cNvPr>
          <p:cNvSpPr/>
          <p:nvPr userDrawn="1"/>
        </p:nvSpPr>
        <p:spPr bwMode="auto">
          <a:xfrm>
            <a:off x="730416"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33" name="Picture Placeholder 58">
            <a:extLst>
              <a:ext uri="{FF2B5EF4-FFF2-40B4-BE49-F238E27FC236}">
                <a16:creationId xmlns:a16="http://schemas.microsoft.com/office/drawing/2014/main" id="{3231FACE-796E-0AB0-0DFB-D36D4AA9081E}"/>
              </a:ext>
            </a:extLst>
          </p:cNvPr>
          <p:cNvSpPr>
            <a:spLocks noGrp="1"/>
          </p:cNvSpPr>
          <p:nvPr>
            <p:ph type="pic" sz="quarter" idx="22"/>
          </p:nvPr>
        </p:nvSpPr>
        <p:spPr>
          <a:xfrm>
            <a:off x="868326"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6" name="Text Placeholder 35">
            <a:extLst>
              <a:ext uri="{FF2B5EF4-FFF2-40B4-BE49-F238E27FC236}">
                <a16:creationId xmlns:a16="http://schemas.microsoft.com/office/drawing/2014/main" id="{52CCE436-7175-560D-31F9-7D5BD152B258}"/>
              </a:ext>
            </a:extLst>
          </p:cNvPr>
          <p:cNvSpPr>
            <a:spLocks noGrp="1"/>
          </p:cNvSpPr>
          <p:nvPr>
            <p:ph type="body" sz="quarter" idx="15" hasCustomPrompt="1"/>
          </p:nvPr>
        </p:nvSpPr>
        <p:spPr>
          <a:xfrm>
            <a:off x="977203"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BBEB8DE5-3415-D38E-75DE-5227E77472C3}"/>
              </a:ext>
            </a:extLst>
          </p:cNvPr>
          <p:cNvSpPr>
            <a:spLocks noGrp="1"/>
          </p:cNvSpPr>
          <p:nvPr>
            <p:ph type="body" sz="quarter" idx="17" hasCustomPrompt="1"/>
          </p:nvPr>
        </p:nvSpPr>
        <p:spPr>
          <a:xfrm>
            <a:off x="977202"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Rectangle: Rounded Corners 45">
            <a:extLst>
              <a:ext uri="{FF2B5EF4-FFF2-40B4-BE49-F238E27FC236}">
                <a16:creationId xmlns:a16="http://schemas.microsoft.com/office/drawing/2014/main" id="{80B8A980-FFF3-DAEE-17CD-BFA3E9A874EA}"/>
              </a:ext>
              <a:ext uri="{C183D7F6-B498-43B3-948B-1728B52AA6E4}">
                <adec:decorative xmlns:adec="http://schemas.microsoft.com/office/drawing/2017/decorative" val="1"/>
              </a:ext>
            </a:extLst>
          </p:cNvPr>
          <p:cNvSpPr/>
          <p:nvPr userDrawn="1"/>
        </p:nvSpPr>
        <p:spPr bwMode="auto">
          <a:xfrm>
            <a:off x="6382614"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52" name="Picture Placeholder 58">
            <a:extLst>
              <a:ext uri="{FF2B5EF4-FFF2-40B4-BE49-F238E27FC236}">
                <a16:creationId xmlns:a16="http://schemas.microsoft.com/office/drawing/2014/main" id="{FEE313CF-09FA-C64A-8E0C-FD2516BAD7BE}"/>
              </a:ext>
            </a:extLst>
          </p:cNvPr>
          <p:cNvSpPr>
            <a:spLocks noGrp="1"/>
          </p:cNvSpPr>
          <p:nvPr>
            <p:ph type="pic" sz="quarter" idx="23"/>
          </p:nvPr>
        </p:nvSpPr>
        <p:spPr>
          <a:xfrm>
            <a:off x="6520524"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53" name="Text Placeholder 35">
            <a:extLst>
              <a:ext uri="{FF2B5EF4-FFF2-40B4-BE49-F238E27FC236}">
                <a16:creationId xmlns:a16="http://schemas.microsoft.com/office/drawing/2014/main" id="{ADF6C677-0FC9-20E6-0017-2763FC62C0F6}"/>
              </a:ext>
            </a:extLst>
          </p:cNvPr>
          <p:cNvSpPr>
            <a:spLocks noGrp="1"/>
          </p:cNvSpPr>
          <p:nvPr>
            <p:ph type="body" sz="quarter" idx="18" hasCustomPrompt="1"/>
          </p:nvPr>
        </p:nvSpPr>
        <p:spPr>
          <a:xfrm>
            <a:off x="6629400"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CEB9D15B-2371-5C71-D92A-F3B469AAC02D}"/>
              </a:ext>
            </a:extLst>
          </p:cNvPr>
          <p:cNvSpPr>
            <a:spLocks noGrp="1"/>
          </p:cNvSpPr>
          <p:nvPr>
            <p:ph type="body" sz="quarter" idx="19" hasCustomPrompt="1"/>
          </p:nvPr>
        </p:nvSpPr>
        <p:spPr>
          <a:xfrm>
            <a:off x="6629401"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0345399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with side imag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072F3-E83D-7BC9-B889-8822192322AE}"/>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3EF610A-A7B7-A534-75A2-EFD5BC312E7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92F6666-2516-F221-7719-FC24033CBA83}"/>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2D2B7BF2-6CC1-8452-E2F7-172E34A95C19}"/>
              </a:ext>
              <a:ext uri="{C183D7F6-B498-43B3-948B-1728B52AA6E4}">
                <adec:decorative xmlns:adec="http://schemas.microsoft.com/office/drawing/2017/decorative" val="1"/>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AE17A165-F18F-AC2F-F3AC-15252E043E4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8" name="Freeform: Shape 7">
              <a:extLst>
                <a:ext uri="{FF2B5EF4-FFF2-40B4-BE49-F238E27FC236}">
                  <a16:creationId xmlns:a16="http://schemas.microsoft.com/office/drawing/2014/main" id="{46FE4C56-E270-0802-E54E-C3CB0E5BADD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grpSp>
        <p:nvGrpSpPr>
          <p:cNvPr id="10" name="Group 9">
            <a:extLst>
              <a:ext uri="{FF2B5EF4-FFF2-40B4-BE49-F238E27FC236}">
                <a16:creationId xmlns:a16="http://schemas.microsoft.com/office/drawing/2014/main" id="{FBA366A9-CB5F-587B-731C-7AF44856C2ED}"/>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1" name="Freeform: Shape 10">
              <a:extLst>
                <a:ext uri="{FF2B5EF4-FFF2-40B4-BE49-F238E27FC236}">
                  <a16:creationId xmlns:a16="http://schemas.microsoft.com/office/drawing/2014/main" id="{A90FF5AA-C114-0551-5D69-21436E408389}"/>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CF2B147F-132E-7F96-D00D-4D0B0EF86247}"/>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sp>
        <p:nvSpPr>
          <p:cNvPr id="15" name="Title 1">
            <a:extLst>
              <a:ext uri="{FF2B5EF4-FFF2-40B4-BE49-F238E27FC236}">
                <a16:creationId xmlns:a16="http://schemas.microsoft.com/office/drawing/2014/main" id="{579F99F0-94F9-9F50-E1D6-E129252E013F}"/>
              </a:ext>
            </a:extLst>
          </p:cNvPr>
          <p:cNvSpPr>
            <a:spLocks noGrp="1"/>
          </p:cNvSpPr>
          <p:nvPr>
            <p:ph type="title" hasCustomPrompt="1"/>
          </p:nvPr>
        </p:nvSpPr>
        <p:spPr>
          <a:xfrm>
            <a:off x="588263" y="2813445"/>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4" name="Picture Placeholder 58">
            <a:extLst>
              <a:ext uri="{FF2B5EF4-FFF2-40B4-BE49-F238E27FC236}">
                <a16:creationId xmlns:a16="http://schemas.microsoft.com/office/drawing/2014/main" id="{04C8C2BA-A4DE-C21C-53E0-D3F5453389BF}"/>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26534666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slide with circle image (Dark)">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66E22722-B5B3-DF7A-B6A5-A775F1571F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33E3849C-FB19-714C-D137-0B6806FECA4E}"/>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770EAC04-1B38-68C8-658E-19A667C83441}"/>
              </a:ext>
            </a:extLst>
          </p:cNvPr>
          <p:cNvSpPr/>
          <p:nvPr userDrawn="1"/>
        </p:nvSpPr>
        <p:spPr bwMode="auto">
          <a:xfrm rot="5400000" flipV="1">
            <a:off x="223839" y="360365"/>
            <a:ext cx="2017712" cy="1296988"/>
          </a:xfrm>
          <a:prstGeom prst="rect">
            <a:avLst/>
          </a:prstGeom>
          <a:gradFill>
            <a:gsLst>
              <a:gs pos="16000">
                <a:schemeClr val="tx2">
                  <a:alpha val="0"/>
                </a:schemeClr>
              </a:gs>
              <a:gs pos="84000">
                <a:schemeClr val="tx2">
                  <a:lumMod val="75000"/>
                </a:schemeClr>
              </a:gs>
            </a:gsLst>
            <a:lin ang="10800000" scaled="1"/>
          </a:gradFill>
          <a:ln>
            <a:noFill/>
            <a:headEnd type="none" w="med" len="med"/>
            <a:tailEnd type="none" w="med" len="med"/>
          </a:ln>
          <a:effectLst>
            <a:outerShdw blurRad="76200" dist="38100" dir="10800000" sx="101000" sy="101000" algn="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AF93028C-5304-B9F8-4FFE-E7B115839A12}"/>
              </a:ext>
            </a:extLst>
          </p:cNvPr>
          <p:cNvSpPr/>
          <p:nvPr userDrawn="1"/>
        </p:nvSpPr>
        <p:spPr bwMode="auto">
          <a:xfrm>
            <a:off x="7675881" y="1463040"/>
            <a:ext cx="3931920" cy="3931920"/>
          </a:xfrm>
          <a:prstGeom prst="ellipse">
            <a:avLst/>
          </a:prstGeom>
          <a:solidFill>
            <a:schemeClr val="bg1"/>
          </a:solidFill>
          <a:ln w="8467" cap="flat">
            <a:noFill/>
            <a:prstDash val="solid"/>
            <a:miter/>
          </a:ln>
          <a:effectLst>
            <a:outerShdw blurRad="444500" dist="317500" dir="8100000" sx="95000" sy="95000" algn="tr" rotWithShape="0">
              <a:prstClr val="black">
                <a:alpha val="55000"/>
              </a:prstClr>
            </a:outerShdw>
          </a:effectLst>
        </p:spPr>
        <p:txBody>
          <a:bodyPr rtlCol="0" anchor="ctr"/>
          <a:lstStyle/>
          <a:p>
            <a:endParaRPr lang="en-IN" err="1">
              <a:solidFill>
                <a:schemeClr val="tx1"/>
              </a:solidFill>
            </a:endParaRPr>
          </a:p>
        </p:txBody>
      </p:sp>
      <p:sp>
        <p:nvSpPr>
          <p:cNvPr id="8" name="Graphic 28">
            <a:extLst>
              <a:ext uri="{FF2B5EF4-FFF2-40B4-BE49-F238E27FC236}">
                <a16:creationId xmlns:a16="http://schemas.microsoft.com/office/drawing/2014/main" id="{B863102E-9688-B676-72F4-CE919D9B706C}"/>
              </a:ext>
            </a:extLst>
          </p:cNvPr>
          <p:cNvSpPr/>
          <p:nvPr userDrawn="1"/>
        </p:nvSpPr>
        <p:spPr>
          <a:xfrm>
            <a:off x="754008" y="1432563"/>
            <a:ext cx="965312" cy="725262"/>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9" name="Group 8">
            <a:extLst>
              <a:ext uri="{FF2B5EF4-FFF2-40B4-BE49-F238E27FC236}">
                <a16:creationId xmlns:a16="http://schemas.microsoft.com/office/drawing/2014/main" id="{8EFB388B-E329-DA0A-A4D7-D91918B6B689}"/>
              </a:ext>
            </a:extLst>
          </p:cNvPr>
          <p:cNvGrpSpPr/>
          <p:nvPr userDrawn="1"/>
        </p:nvGrpSpPr>
        <p:grpSpPr>
          <a:xfrm>
            <a:off x="7471836" y="1"/>
            <a:ext cx="4720163" cy="1211986"/>
            <a:chOff x="4863262" y="0"/>
            <a:chExt cx="6378217" cy="1637721"/>
          </a:xfrm>
        </p:grpSpPr>
        <p:sp>
          <p:nvSpPr>
            <p:cNvPr id="10" name="Freeform: Shape 9">
              <a:extLst>
                <a:ext uri="{FF2B5EF4-FFF2-40B4-BE49-F238E27FC236}">
                  <a16:creationId xmlns:a16="http://schemas.microsoft.com/office/drawing/2014/main" id="{84A5E03B-15CA-E373-8011-3DC181F004CD}"/>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sp>
          <p:nvSpPr>
            <p:cNvPr id="11" name="Freeform: Shape 10">
              <a:extLst>
                <a:ext uri="{FF2B5EF4-FFF2-40B4-BE49-F238E27FC236}">
                  <a16:creationId xmlns:a16="http://schemas.microsoft.com/office/drawing/2014/main" id="{75B93DFD-7253-B0D7-B4FC-7042F893CCAC}"/>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p>
          </p:txBody>
        </p:sp>
      </p:grpSp>
      <p:grpSp>
        <p:nvGrpSpPr>
          <p:cNvPr id="12" name="Group 11">
            <a:extLst>
              <a:ext uri="{FF2B5EF4-FFF2-40B4-BE49-F238E27FC236}">
                <a16:creationId xmlns:a16="http://schemas.microsoft.com/office/drawing/2014/main" id="{45F9E862-C8B6-F40B-DEB5-6AF843B09383}"/>
              </a:ext>
            </a:extLst>
          </p:cNvPr>
          <p:cNvGrpSpPr/>
          <p:nvPr userDrawn="1"/>
        </p:nvGrpSpPr>
        <p:grpSpPr>
          <a:xfrm>
            <a:off x="0" y="5477179"/>
            <a:ext cx="5299075" cy="1381018"/>
            <a:chOff x="950520" y="5263912"/>
            <a:chExt cx="6117399" cy="1594285"/>
          </a:xfrm>
        </p:grpSpPr>
        <p:sp>
          <p:nvSpPr>
            <p:cNvPr id="13" name="Freeform: Shape 12">
              <a:extLst>
                <a:ext uri="{FF2B5EF4-FFF2-40B4-BE49-F238E27FC236}">
                  <a16:creationId xmlns:a16="http://schemas.microsoft.com/office/drawing/2014/main" id="{F015E282-78BA-28C1-E48E-735F196898A6}"/>
                </a:ext>
              </a:extLst>
            </p:cNvPr>
            <p:cNvSpPr/>
            <p:nvPr/>
          </p:nvSpPr>
          <p:spPr>
            <a:xfrm>
              <a:off x="950520" y="5263912"/>
              <a:ext cx="6117399" cy="1594285"/>
            </a:xfrm>
            <a:custGeom>
              <a:avLst/>
              <a:gdLst>
                <a:gd name="connsiteX0" fmla="*/ 6117400 w 6117399"/>
                <a:gd name="connsiteY0" fmla="*/ 1594285 h 1594285"/>
                <a:gd name="connsiteX1" fmla="*/ 2120397 w 6117399"/>
                <a:gd name="connsiteY1" fmla="*/ 5581 h 1594285"/>
                <a:gd name="connsiteX2" fmla="*/ 0 w 6117399"/>
                <a:gd name="connsiteY2" fmla="*/ 450163 h 1594285"/>
                <a:gd name="connsiteX3" fmla="*/ 0 w 6117399"/>
                <a:gd name="connsiteY3" fmla="*/ 1594285 h 1594285"/>
                <a:gd name="connsiteX4" fmla="*/ 6117400 w 6117399"/>
                <a:gd name="connsiteY4" fmla="*/ 1594285 h 1594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1594285">
                  <a:moveTo>
                    <a:pt x="6117400" y="1594285"/>
                  </a:moveTo>
                  <a:cubicBezTo>
                    <a:pt x="4701294" y="1374449"/>
                    <a:pt x="3506331" y="76378"/>
                    <a:pt x="2120397" y="5581"/>
                  </a:cubicBezTo>
                  <a:cubicBezTo>
                    <a:pt x="865565" y="-58485"/>
                    <a:pt x="0" y="450163"/>
                    <a:pt x="0" y="450163"/>
                  </a:cubicBezTo>
                  <a:lnTo>
                    <a:pt x="0" y="1594285"/>
                  </a:lnTo>
                  <a:lnTo>
                    <a:pt x="6117400" y="1594285"/>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B0122188-199D-D5DC-D048-E3259AB72EE4}"/>
                </a:ext>
              </a:extLst>
            </p:cNvPr>
            <p:cNvSpPr/>
            <p:nvPr/>
          </p:nvSpPr>
          <p:spPr>
            <a:xfrm>
              <a:off x="950520" y="5868051"/>
              <a:ext cx="6117399" cy="990146"/>
            </a:xfrm>
            <a:custGeom>
              <a:avLst/>
              <a:gdLst>
                <a:gd name="connsiteX0" fmla="*/ 6117400 w 6117399"/>
                <a:gd name="connsiteY0" fmla="*/ 990147 h 990146"/>
                <a:gd name="connsiteX1" fmla="*/ 2190046 w 6117399"/>
                <a:gd name="connsiteY1" fmla="*/ 4210 h 990146"/>
                <a:gd name="connsiteX2" fmla="*/ 0 w 6117399"/>
                <a:gd name="connsiteY2" fmla="*/ 311513 h 990146"/>
                <a:gd name="connsiteX3" fmla="*/ 0 w 6117399"/>
                <a:gd name="connsiteY3" fmla="*/ 990147 h 990146"/>
                <a:gd name="connsiteX4" fmla="*/ 6117400 w 6117399"/>
                <a:gd name="connsiteY4" fmla="*/ 990147 h 990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990146">
                  <a:moveTo>
                    <a:pt x="6117400" y="990147"/>
                  </a:moveTo>
                  <a:cubicBezTo>
                    <a:pt x="4519312" y="837029"/>
                    <a:pt x="3378436" y="48241"/>
                    <a:pt x="2190046" y="4210"/>
                  </a:cubicBezTo>
                  <a:cubicBezTo>
                    <a:pt x="934462" y="-42275"/>
                    <a:pt x="0" y="311513"/>
                    <a:pt x="0" y="311513"/>
                  </a:cubicBezTo>
                  <a:lnTo>
                    <a:pt x="0" y="990147"/>
                  </a:lnTo>
                  <a:lnTo>
                    <a:pt x="6117400" y="99014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70000"/>
                </a:prstClr>
              </a:outerShdw>
            </a:effectLst>
          </p:spPr>
          <p:txBody>
            <a:bodyPr wrap="square" rtlCol="0" anchor="ctr">
              <a:noAutofit/>
            </a:bodyPr>
            <a:lstStyle/>
            <a:p>
              <a:endParaRPr lang="en-US"/>
            </a:p>
          </p:txBody>
        </p:sp>
      </p:grpSp>
      <p:sp>
        <p:nvSpPr>
          <p:cNvPr id="18" name="Text Placeholder 35">
            <a:extLst>
              <a:ext uri="{FF2B5EF4-FFF2-40B4-BE49-F238E27FC236}">
                <a16:creationId xmlns:a16="http://schemas.microsoft.com/office/drawing/2014/main" id="{BD3C3D3A-B804-24C4-3670-A60637D801F8}"/>
              </a:ext>
            </a:extLst>
          </p:cNvPr>
          <p:cNvSpPr>
            <a:spLocks noGrp="1"/>
          </p:cNvSpPr>
          <p:nvPr>
            <p:ph type="body" sz="quarter" idx="17" hasCustomPrompt="1"/>
          </p:nvPr>
        </p:nvSpPr>
        <p:spPr>
          <a:xfrm>
            <a:off x="1236664" y="2505671"/>
            <a:ext cx="5656263" cy="2215991"/>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3AA1D0C2-76E9-7278-2049-B187D5FC10E4}"/>
              </a:ext>
            </a:extLst>
          </p:cNvPr>
          <p:cNvSpPr>
            <a:spLocks noGrp="1"/>
          </p:cNvSpPr>
          <p:nvPr>
            <p:ph type="body" sz="quarter" idx="15" hasCustomPrompt="1"/>
          </p:nvPr>
        </p:nvSpPr>
        <p:spPr>
          <a:xfrm>
            <a:off x="1236664" y="4969297"/>
            <a:ext cx="5656263"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7" name="Picture Placeholder 58">
            <a:extLst>
              <a:ext uri="{FF2B5EF4-FFF2-40B4-BE49-F238E27FC236}">
                <a16:creationId xmlns:a16="http://schemas.microsoft.com/office/drawing/2014/main" id="{6DA8A634-F07E-B50C-1BA8-0CB62155DE7A}"/>
              </a:ext>
            </a:extLst>
          </p:cNvPr>
          <p:cNvSpPr>
            <a:spLocks noGrp="1"/>
          </p:cNvSpPr>
          <p:nvPr>
            <p:ph type="pic" sz="quarter" idx="22"/>
          </p:nvPr>
        </p:nvSpPr>
        <p:spPr>
          <a:xfrm>
            <a:off x="7758432" y="1545591"/>
            <a:ext cx="3766818" cy="3766818"/>
          </a:xfrm>
          <a:prstGeom prst="ellipse">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40449181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slide with box imag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D39174-8A80-2D08-5E69-4EAEC5FC616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E71F3A4-FB3F-81D4-707D-C1CC017E3C33}"/>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7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Rounded Corners 4">
            <a:extLst>
              <a:ext uri="{FF2B5EF4-FFF2-40B4-BE49-F238E27FC236}">
                <a16:creationId xmlns:a16="http://schemas.microsoft.com/office/drawing/2014/main" id="{E0F2D002-979D-5C94-184D-43E1100E59F4}"/>
              </a:ext>
              <a:ext uri="{C183D7F6-B498-43B3-948B-1728B52AA6E4}">
                <adec:decorative xmlns:adec="http://schemas.microsoft.com/office/drawing/2017/decorative" val="1"/>
              </a:ext>
            </a:extLst>
          </p:cNvPr>
          <p:cNvSpPr/>
          <p:nvPr userDrawn="1"/>
        </p:nvSpPr>
        <p:spPr bwMode="auto">
          <a:xfrm>
            <a:off x="6892925" y="585788"/>
            <a:ext cx="4716463" cy="5683249"/>
          </a:xfrm>
          <a:prstGeom prst="roundRect">
            <a:avLst>
              <a:gd name="adj" fmla="val 6345"/>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6E620489-3B35-B2FF-2B1F-FD7FE22D4DE6}"/>
              </a:ext>
              <a:ext uri="{C183D7F6-B498-43B3-948B-1728B52AA6E4}">
                <adec:decorative xmlns:adec="http://schemas.microsoft.com/office/drawing/2017/decorative" val="1"/>
              </a:ext>
            </a:extLst>
          </p:cNvPr>
          <p:cNvSpPr/>
          <p:nvPr userDrawn="1"/>
        </p:nvSpPr>
        <p:spPr bwMode="auto">
          <a:xfrm>
            <a:off x="0" y="2017713"/>
            <a:ext cx="6892925" cy="3486784"/>
          </a:xfrm>
          <a:prstGeom prst="rect">
            <a:avLst/>
          </a:prstGeom>
          <a:gradFill flip="none" rotWithShape="1">
            <a:gsLst>
              <a:gs pos="0">
                <a:schemeClr val="tx1">
                  <a:alpha val="0"/>
                </a:schemeClr>
              </a:gs>
              <a:gs pos="99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5D12B4-76DF-612A-81F7-817627203F85}"/>
              </a:ext>
              <a:ext uri="{C183D7F6-B498-43B3-948B-1728B52AA6E4}">
                <adec:decorative xmlns:adec="http://schemas.microsoft.com/office/drawing/2017/decorative" val="1"/>
              </a:ext>
            </a:extLst>
          </p:cNvPr>
          <p:cNvGrpSpPr/>
          <p:nvPr userDrawn="1"/>
        </p:nvGrpSpPr>
        <p:grpSpPr>
          <a:xfrm>
            <a:off x="584200" y="1215243"/>
            <a:ext cx="965312" cy="977565"/>
            <a:chOff x="142812" y="139308"/>
            <a:chExt cx="301753" cy="305583"/>
          </a:xfrm>
        </p:grpSpPr>
        <p:sp>
          <p:nvSpPr>
            <p:cNvPr id="10" name="Rectangle: Rounded Corners 9">
              <a:extLst>
                <a:ext uri="{FF2B5EF4-FFF2-40B4-BE49-F238E27FC236}">
                  <a16:creationId xmlns:a16="http://schemas.microsoft.com/office/drawing/2014/main" id="{6E311E46-274D-2F70-2EDE-ADC9249D6033}"/>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B909BD42-BC8A-370C-B49A-5DA13164C98D}"/>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2" name="Graphic 28">
            <a:extLst>
              <a:ext uri="{FF2B5EF4-FFF2-40B4-BE49-F238E27FC236}">
                <a16:creationId xmlns:a16="http://schemas.microsoft.com/office/drawing/2014/main" id="{2D590AED-3B64-F4BC-B5B9-3A5C906E257C}"/>
              </a:ext>
              <a:ext uri="{C183D7F6-B498-43B3-948B-1728B52AA6E4}">
                <adec:decorative xmlns:adec="http://schemas.microsoft.com/office/drawing/2017/decorative" val="1"/>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Text Placeholder 35">
            <a:extLst>
              <a:ext uri="{FF2B5EF4-FFF2-40B4-BE49-F238E27FC236}">
                <a16:creationId xmlns:a16="http://schemas.microsoft.com/office/drawing/2014/main" id="{02EF1E71-0382-4513-27F8-A573764F5AAD}"/>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F36B7424-9BA3-2874-37AA-D45994593555}"/>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6" name="Picture Placeholder 58">
            <a:extLst>
              <a:ext uri="{FF2B5EF4-FFF2-40B4-BE49-F238E27FC236}">
                <a16:creationId xmlns:a16="http://schemas.microsoft.com/office/drawing/2014/main" id="{6203129B-B6A0-80FE-E261-3AE8434A5CB1}"/>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6887030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D09D48-91F1-226C-E485-B721D7C4ACFF}"/>
              </a:ext>
              <a:ext uri="{C183D7F6-B498-43B3-948B-1728B52AA6E4}">
                <adec:decorative xmlns:adec="http://schemas.microsoft.com/office/drawing/2017/decorative" val="1"/>
              </a:ext>
            </a:extLst>
          </p:cNvPr>
          <p:cNvGrpSpPr/>
          <p:nvPr userDrawn="1"/>
        </p:nvGrpSpPr>
        <p:grpSpPr>
          <a:xfrm>
            <a:off x="0" y="0"/>
            <a:ext cx="12192000" cy="6795078"/>
            <a:chOff x="0" y="62922"/>
            <a:chExt cx="12192000" cy="6795078"/>
          </a:xfrm>
        </p:grpSpPr>
        <p:pic>
          <p:nvPicPr>
            <p:cNvPr id="4" name="Picture 3" descr="A picture containing blue, electric blue, majorelle blue, blur&#10;&#10;Description automatically generated">
              <a:extLst>
                <a:ext uri="{FF2B5EF4-FFF2-40B4-BE49-F238E27FC236}">
                  <a16:creationId xmlns:a16="http://schemas.microsoft.com/office/drawing/2014/main" id="{67964EF7-8D19-D3F0-E828-0E1D83C52D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pic>
          <p:nvPicPr>
            <p:cNvPr id="5" name="Picture 4">
              <a:extLst>
                <a:ext uri="{FF2B5EF4-FFF2-40B4-BE49-F238E27FC236}">
                  <a16:creationId xmlns:a16="http://schemas.microsoft.com/office/drawing/2014/main" id="{C44B2F78-21E6-3BF0-DFD5-7683A327CB4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62922"/>
              <a:ext cx="12192000" cy="6795078"/>
            </a:xfrm>
            <a:prstGeom prst="rect">
              <a:avLst/>
            </a:prstGeom>
          </p:spPr>
        </p:pic>
      </p:grpSp>
      <p:grpSp>
        <p:nvGrpSpPr>
          <p:cNvPr id="6" name="Group 5">
            <a:extLst>
              <a:ext uri="{FF2B5EF4-FFF2-40B4-BE49-F238E27FC236}">
                <a16:creationId xmlns:a16="http://schemas.microsoft.com/office/drawing/2014/main" id="{617F2815-2723-8B68-1895-6F75E8862D7D}"/>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B9A27B1C-368E-BD59-3CAD-0D5C2B8916D6}"/>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8B939BCA-4EA2-A201-945F-BE978159287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E7973B7-4DAE-CD9B-D7A6-6662912FCE9D}"/>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C95961F-3CB5-1F23-81EC-159C024A83F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5B985903-2D31-FC1B-0009-3AA6C0F934F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3B55194A-D386-BFF1-143D-B6E2BB4E09C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Rectangle: Single Corner Rounded 12">
            <a:extLst>
              <a:ext uri="{FF2B5EF4-FFF2-40B4-BE49-F238E27FC236}">
                <a16:creationId xmlns:a16="http://schemas.microsoft.com/office/drawing/2014/main" id="{8374FACD-52DD-EA00-5EF3-BC4189A80511}"/>
              </a:ext>
              <a:ext uri="{C183D7F6-B498-43B3-948B-1728B52AA6E4}">
                <adec:decorative xmlns:adec="http://schemas.microsoft.com/office/drawing/2017/decorative" val="1"/>
              </a:ext>
            </a:extLst>
          </p:cNvPr>
          <p:cNvSpPr/>
          <p:nvPr userDrawn="1"/>
        </p:nvSpPr>
        <p:spPr bwMode="auto">
          <a:xfrm flipH="1" flipV="1">
            <a:off x="588262" y="1436687"/>
            <a:ext cx="11603738" cy="4818968"/>
          </a:xfrm>
          <a:prstGeom prst="round1Rect">
            <a:avLst>
              <a:gd name="adj" fmla="val 98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14" name="Rectangle 13">
            <a:extLst>
              <a:ext uri="{FF2B5EF4-FFF2-40B4-BE49-F238E27FC236}">
                <a16:creationId xmlns:a16="http://schemas.microsoft.com/office/drawing/2014/main" id="{49C9DDBF-8B25-3840-D167-F7A82E6FE24F}"/>
              </a:ext>
              <a:ext uri="{C183D7F6-B498-43B3-948B-1728B52AA6E4}">
                <adec:decorative xmlns:adec="http://schemas.microsoft.com/office/drawing/2017/decorative" val="1"/>
              </a:ext>
            </a:extLst>
          </p:cNvPr>
          <p:cNvSpPr/>
          <p:nvPr userDrawn="1"/>
        </p:nvSpPr>
        <p:spPr bwMode="auto">
          <a:xfrm>
            <a:off x="588262" y="1436687"/>
            <a:ext cx="11603738" cy="27432"/>
          </a:xfrm>
          <a:prstGeom prst="rect">
            <a:avLst/>
          </a:pr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cxnSp>
        <p:nvCxnSpPr>
          <p:cNvPr id="19" name="Straight Connector 18">
            <a:extLst>
              <a:ext uri="{FF2B5EF4-FFF2-40B4-BE49-F238E27FC236}">
                <a16:creationId xmlns:a16="http://schemas.microsoft.com/office/drawing/2014/main" id="{F91E9A27-D6CC-6ADB-3B1A-09AD805944C2}"/>
              </a:ext>
              <a:ext uri="{C183D7F6-B498-43B3-948B-1728B52AA6E4}">
                <adec:decorative xmlns:adec="http://schemas.microsoft.com/office/drawing/2017/decorative" val="1"/>
              </a:ext>
            </a:extLst>
          </p:cNvPr>
          <p:cNvCxnSpPr>
            <a:cxnSpLocks/>
          </p:cNvCxnSpPr>
          <p:nvPr userDrawn="1"/>
        </p:nvCxnSpPr>
        <p:spPr>
          <a:xfrm>
            <a:off x="588262" y="3960694"/>
            <a:ext cx="536803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BA56D00-DB58-EDF1-0A30-1D11A02C988D}"/>
              </a:ext>
              <a:ext uri="{C183D7F6-B498-43B3-948B-1728B52AA6E4}">
                <adec:decorative xmlns:adec="http://schemas.microsoft.com/office/drawing/2017/decorative" val="1"/>
              </a:ext>
            </a:extLst>
          </p:cNvPr>
          <p:cNvCxnSpPr>
            <a:cxnSpLocks/>
          </p:cNvCxnSpPr>
          <p:nvPr userDrawn="1"/>
        </p:nvCxnSpPr>
        <p:spPr>
          <a:xfrm rot="16200000">
            <a:off x="443006" y="2381007"/>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702CFBE-401A-43E3-048B-447ADDF25605}"/>
              </a:ext>
              <a:ext uri="{C183D7F6-B498-43B3-948B-1728B52AA6E4}">
                <adec:decorative xmlns:adec="http://schemas.microsoft.com/office/drawing/2017/decorative" val="1"/>
              </a:ext>
            </a:extLst>
          </p:cNvPr>
          <p:cNvCxnSpPr>
            <a:cxnSpLocks/>
          </p:cNvCxnSpPr>
          <p:nvPr userDrawn="1"/>
        </p:nvCxnSpPr>
        <p:spPr>
          <a:xfrm rot="16200000">
            <a:off x="443006" y="4506369"/>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AF20B33-9D22-25D5-0CFB-8DFC6DD8700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4037518A-EA26-1916-E462-AE8ECFD50937}"/>
              </a:ext>
            </a:extLst>
          </p:cNvPr>
          <p:cNvSpPr>
            <a:spLocks noGrp="1"/>
          </p:cNvSpPr>
          <p:nvPr>
            <p:ph type="body" sz="quarter" idx="15" hasCustomPrompt="1"/>
          </p:nvPr>
        </p:nvSpPr>
        <p:spPr>
          <a:xfrm>
            <a:off x="777238" y="1621002"/>
            <a:ext cx="10826500" cy="298305"/>
          </a:xfrm>
          <a:noFill/>
        </p:spPr>
        <p:txBody>
          <a:bodyPr wrap="square" lIns="0" tIns="0" rIns="0" bIns="0" anchor="t">
            <a:noAutofit/>
          </a:bodyPr>
          <a:lstStyle>
            <a:lvl1pPr marL="0" indent="0" algn="l">
              <a:buFont typeface="Arial" panose="020B0604020202020204" pitchFamily="34" charse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9B957023-D5C8-4C46-7AF3-D557E5C52B36}"/>
              </a:ext>
            </a:extLst>
          </p:cNvPr>
          <p:cNvSpPr>
            <a:spLocks noGrp="1"/>
          </p:cNvSpPr>
          <p:nvPr>
            <p:ph type="body" sz="quarter" idx="16" hasCustomPrompt="1"/>
          </p:nvPr>
        </p:nvSpPr>
        <p:spPr>
          <a:xfrm>
            <a:off x="1402152" y="2261674"/>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294C83CD-3C29-43EC-9DE9-6C8EDB40C39B}"/>
              </a:ext>
            </a:extLst>
          </p:cNvPr>
          <p:cNvSpPr>
            <a:spLocks noGrp="1"/>
          </p:cNvSpPr>
          <p:nvPr>
            <p:ph type="body" sz="quarter" idx="17" hasCustomPrompt="1"/>
          </p:nvPr>
        </p:nvSpPr>
        <p:spPr>
          <a:xfrm>
            <a:off x="1533639" y="2611299"/>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0679245-30A6-784E-C5A4-39B1596ABD57}"/>
              </a:ext>
            </a:extLst>
          </p:cNvPr>
          <p:cNvSpPr>
            <a:spLocks noGrp="1"/>
          </p:cNvSpPr>
          <p:nvPr>
            <p:ph type="body" sz="quarter" idx="18" hasCustomPrompt="1"/>
          </p:nvPr>
        </p:nvSpPr>
        <p:spPr>
          <a:xfrm>
            <a:off x="1402152" y="4384037"/>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C6D3CFE0-62C9-7A43-A5F6-FE9BC528729B}"/>
              </a:ext>
            </a:extLst>
          </p:cNvPr>
          <p:cNvSpPr>
            <a:spLocks noGrp="1"/>
          </p:cNvSpPr>
          <p:nvPr>
            <p:ph type="body" sz="quarter" idx="19" hasCustomPrompt="1"/>
          </p:nvPr>
        </p:nvSpPr>
        <p:spPr>
          <a:xfrm>
            <a:off x="1533639" y="4733662"/>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Picture Placeholder 58">
            <a:extLst>
              <a:ext uri="{FF2B5EF4-FFF2-40B4-BE49-F238E27FC236}">
                <a16:creationId xmlns:a16="http://schemas.microsoft.com/office/drawing/2014/main" id="{7B5AAAD8-C5EB-3E6E-0760-A7F9BAF331FF}"/>
              </a:ext>
            </a:extLst>
          </p:cNvPr>
          <p:cNvSpPr>
            <a:spLocks noGrp="1"/>
          </p:cNvSpPr>
          <p:nvPr>
            <p:ph type="pic" sz="quarter" idx="22"/>
          </p:nvPr>
        </p:nvSpPr>
        <p:spPr>
          <a:xfrm>
            <a:off x="5998916" y="2417148"/>
            <a:ext cx="5604824" cy="322727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
        <p:nvSpPr>
          <p:cNvPr id="40" name="Text Placeholder 35">
            <a:extLst>
              <a:ext uri="{FF2B5EF4-FFF2-40B4-BE49-F238E27FC236}">
                <a16:creationId xmlns:a16="http://schemas.microsoft.com/office/drawing/2014/main" id="{9C0064E9-2676-9B0B-2197-936C8E2D5A44}"/>
              </a:ext>
            </a:extLst>
          </p:cNvPr>
          <p:cNvSpPr>
            <a:spLocks noGrp="1"/>
          </p:cNvSpPr>
          <p:nvPr>
            <p:ph type="body" sz="quarter" idx="20" hasCustomPrompt="1"/>
          </p:nvPr>
        </p:nvSpPr>
        <p:spPr>
          <a:xfrm>
            <a:off x="5998914" y="5869249"/>
            <a:ext cx="5488235" cy="139110"/>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0204936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579011D-1C7C-A2D2-7808-778E3AF0A32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1405A153-0FFD-A2D6-638C-28F3375F9F3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D3AB161C-9D77-344D-0323-290CAD47B99D}"/>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sp>
        <p:nvSpPr>
          <p:cNvPr id="6" name="Rectangle 5">
            <a:extLst>
              <a:ext uri="{FF2B5EF4-FFF2-40B4-BE49-F238E27FC236}">
                <a16:creationId xmlns:a16="http://schemas.microsoft.com/office/drawing/2014/main" id="{765890C9-BA95-2FE6-8773-A60695F10BCC}"/>
              </a:ext>
              <a:ext uri="{C183D7F6-B498-43B3-948B-1728B52AA6E4}">
                <adec:decorative xmlns:adec="http://schemas.microsoft.com/office/drawing/2017/decorative" val="1"/>
              </a:ext>
            </a:extLst>
          </p:cNvPr>
          <p:cNvSpPr/>
          <p:nvPr userDrawn="1"/>
        </p:nvSpPr>
        <p:spPr bwMode="auto">
          <a:xfrm rot="16200000">
            <a:off x="6061472" y="-4758631"/>
            <a:ext cx="69057" cy="12192002"/>
          </a:xfrm>
          <a:prstGeom prst="rect">
            <a:avLst/>
          </a:prstGeom>
          <a:gradFill flip="none" rotWithShape="1">
            <a:gsLst>
              <a:gs pos="100000">
                <a:schemeClr val="tx2">
                  <a:lumMod val="60000"/>
                  <a:lumOff val="40000"/>
                </a:schemeClr>
              </a:gs>
              <a:gs pos="2000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2FA1BDB4-6EB2-0357-3B85-B3F56B10EBA5}"/>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C8145BDC-F2EF-D1D7-6F29-82C55C01A23D}"/>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6DBD9920-8688-04DD-AFE5-C5E74AE7A447}"/>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C00AC885-4AA7-1995-4F2C-071DB9B3475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3" name="Freeform: Shape 12">
                  <a:extLst>
                    <a:ext uri="{FF2B5EF4-FFF2-40B4-BE49-F238E27FC236}">
                      <a16:creationId xmlns:a16="http://schemas.microsoft.com/office/drawing/2014/main" id="{1669860A-6C81-F026-FAF3-A86F6CE4ED8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65C4A214-FF46-CE62-C4E3-DBD245C79BC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17039192-0BBB-AF94-CF10-B163B256C6E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4" name="Rectangle: Top Corners Rounded 13">
            <a:extLst>
              <a:ext uri="{FF2B5EF4-FFF2-40B4-BE49-F238E27FC236}">
                <a16:creationId xmlns:a16="http://schemas.microsoft.com/office/drawing/2014/main" id="{378E9B85-FD23-5291-6803-9521E13AAA85}"/>
              </a:ext>
              <a:ext uri="{C183D7F6-B498-43B3-948B-1728B52AA6E4}">
                <adec:decorative xmlns:adec="http://schemas.microsoft.com/office/drawing/2017/decorative" val="1"/>
              </a:ext>
            </a:extLst>
          </p:cNvPr>
          <p:cNvSpPr/>
          <p:nvPr userDrawn="1"/>
        </p:nvSpPr>
        <p:spPr bwMode="auto">
          <a:xfrm rot="16200000">
            <a:off x="2937230" y="1964970"/>
            <a:ext cx="1908830" cy="6614889"/>
          </a:xfrm>
          <a:prstGeom prst="round2SameRect">
            <a:avLst>
              <a:gd name="adj1" fmla="val 9481"/>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cxnSp>
        <p:nvCxnSpPr>
          <p:cNvPr id="17" name="Straight Connector 16">
            <a:extLst>
              <a:ext uri="{FF2B5EF4-FFF2-40B4-BE49-F238E27FC236}">
                <a16:creationId xmlns:a16="http://schemas.microsoft.com/office/drawing/2014/main" id="{B14EFCE7-4A4D-3160-4EF8-6BCDDC364BC6}"/>
              </a:ext>
              <a:ext uri="{C183D7F6-B498-43B3-948B-1728B52AA6E4}">
                <adec:decorative xmlns:adec="http://schemas.microsoft.com/office/drawing/2017/decorative" val="1"/>
              </a:ext>
            </a:extLst>
          </p:cNvPr>
          <p:cNvCxnSpPr>
            <a:cxnSpLocks/>
          </p:cNvCxnSpPr>
          <p:nvPr userDrawn="1"/>
        </p:nvCxnSpPr>
        <p:spPr>
          <a:xfrm rot="5400000">
            <a:off x="2908877" y="5272415"/>
            <a:ext cx="170303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D8B3620-9E88-798D-E42D-DDF13FEA7D58}"/>
              </a:ext>
            </a:extLst>
          </p:cNvPr>
          <p:cNvCxnSpPr>
            <a:cxnSpLocks/>
          </p:cNvCxnSpPr>
          <p:nvPr userDrawn="1"/>
        </p:nvCxnSpPr>
        <p:spPr>
          <a:xfrm flipH="1">
            <a:off x="1432561" y="2769472"/>
            <a:ext cx="538733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386064D2-13E1-572C-329E-2685E1408598}"/>
              </a:ext>
            </a:extLst>
          </p:cNvPr>
          <p:cNvSpPr>
            <a:spLocks noGrp="1"/>
          </p:cNvSpPr>
          <p:nvPr>
            <p:ph type="title"/>
          </p:nvPr>
        </p:nvSpPr>
        <p:spPr>
          <a:xfrm>
            <a:off x="588263" y="457200"/>
            <a:ext cx="6429757"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E491AA92-D73B-6E33-721B-4F139E3205E4}"/>
              </a:ext>
            </a:extLst>
          </p:cNvPr>
          <p:cNvSpPr>
            <a:spLocks noGrp="1"/>
          </p:cNvSpPr>
          <p:nvPr>
            <p:ph type="body" sz="quarter" idx="16" hasCustomPrompt="1"/>
          </p:nvPr>
        </p:nvSpPr>
        <p:spPr>
          <a:xfrm>
            <a:off x="1432340" y="1509442"/>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0943156C-40F4-8A48-5E6D-AAD60CC3B45D}"/>
              </a:ext>
            </a:extLst>
          </p:cNvPr>
          <p:cNvSpPr>
            <a:spLocks noGrp="1"/>
          </p:cNvSpPr>
          <p:nvPr>
            <p:ph type="body" sz="quarter" idx="18" hasCustomPrompt="1"/>
          </p:nvPr>
        </p:nvSpPr>
        <p:spPr>
          <a:xfrm>
            <a:off x="1432340" y="1895144"/>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B5100769-766C-D10B-F6CB-BC1C67659FDE}"/>
              </a:ext>
            </a:extLst>
          </p:cNvPr>
          <p:cNvSpPr>
            <a:spLocks noGrp="1"/>
          </p:cNvSpPr>
          <p:nvPr>
            <p:ph type="body" sz="quarter" idx="19" hasCustomPrompt="1"/>
          </p:nvPr>
        </p:nvSpPr>
        <p:spPr>
          <a:xfrm>
            <a:off x="1432340" y="2907015"/>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F239A77-6870-09E0-EBCA-C8A6DEDD98A1}"/>
              </a:ext>
            </a:extLst>
          </p:cNvPr>
          <p:cNvSpPr>
            <a:spLocks noGrp="1"/>
          </p:cNvSpPr>
          <p:nvPr>
            <p:ph type="body" sz="quarter" idx="20" hasCustomPrompt="1"/>
          </p:nvPr>
        </p:nvSpPr>
        <p:spPr>
          <a:xfrm>
            <a:off x="1432340" y="3292717"/>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72D22397-195F-7C5B-3BCB-3E13FA171310}"/>
              </a:ext>
            </a:extLst>
          </p:cNvPr>
          <p:cNvSpPr>
            <a:spLocks noGrp="1"/>
          </p:cNvSpPr>
          <p:nvPr>
            <p:ph type="body" sz="quarter" idx="21" hasCustomPrompt="1"/>
          </p:nvPr>
        </p:nvSpPr>
        <p:spPr>
          <a:xfrm>
            <a:off x="78464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CC463DDF-4012-B1E9-19C2-9B1C0962CB64}"/>
              </a:ext>
            </a:extLst>
          </p:cNvPr>
          <p:cNvSpPr>
            <a:spLocks noGrp="1"/>
          </p:cNvSpPr>
          <p:nvPr>
            <p:ph type="body" sz="quarter" idx="22" hasCustomPrompt="1"/>
          </p:nvPr>
        </p:nvSpPr>
        <p:spPr>
          <a:xfrm>
            <a:off x="78464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438EFA4A-A8C7-49F9-3827-4FA4A6E0F3DC}"/>
              </a:ext>
            </a:extLst>
          </p:cNvPr>
          <p:cNvSpPr>
            <a:spLocks noGrp="1"/>
          </p:cNvSpPr>
          <p:nvPr>
            <p:ph type="body" sz="quarter" idx="23" hasCustomPrompt="1"/>
          </p:nvPr>
        </p:nvSpPr>
        <p:spPr>
          <a:xfrm>
            <a:off x="396630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5EC1ED19-3FAA-4E32-70A9-E69DF22EC12F}"/>
              </a:ext>
            </a:extLst>
          </p:cNvPr>
          <p:cNvSpPr>
            <a:spLocks noGrp="1"/>
          </p:cNvSpPr>
          <p:nvPr>
            <p:ph type="body" sz="quarter" idx="24" hasCustomPrompt="1"/>
          </p:nvPr>
        </p:nvSpPr>
        <p:spPr>
          <a:xfrm>
            <a:off x="396630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Picture Placeholder 58">
            <a:extLst>
              <a:ext uri="{FF2B5EF4-FFF2-40B4-BE49-F238E27FC236}">
                <a16:creationId xmlns:a16="http://schemas.microsoft.com/office/drawing/2014/main" id="{F20CB609-76D6-2283-30D6-80BBB75FCEC8}"/>
              </a:ext>
            </a:extLst>
          </p:cNvPr>
          <p:cNvSpPr>
            <a:spLocks noGrp="1"/>
          </p:cNvSpPr>
          <p:nvPr>
            <p:ph type="pic" sz="quarter" idx="25"/>
          </p:nvPr>
        </p:nvSpPr>
        <p:spPr>
          <a:xfrm>
            <a:off x="7199091" y="215899"/>
            <a:ext cx="4410299" cy="6426199"/>
          </a:xfrm>
          <a:prstGeom prst="roundRect">
            <a:avLst>
              <a:gd name="adj" fmla="val 5089"/>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7980961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Journey slide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A5B046-59E0-972E-F8C1-34708B147DE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E439117-F8A5-C6CE-6461-FB96C254E4FE}"/>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6412AB3-9178-BD49-8DA0-44FF6A9F02CE}"/>
              </a:ext>
              <a:ext uri="{C183D7F6-B498-43B3-948B-1728B52AA6E4}">
                <adec:decorative xmlns:adec="http://schemas.microsoft.com/office/drawing/2017/decorative" val="1"/>
              </a:ext>
            </a:extLst>
          </p:cNvPr>
          <p:cNvSpPr/>
          <p:nvPr userDrawn="1"/>
        </p:nvSpPr>
        <p:spPr bwMode="auto">
          <a:xfrm>
            <a:off x="0" y="1663700"/>
            <a:ext cx="12192000" cy="3975100"/>
          </a:xfrm>
          <a:prstGeom prst="rect">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8" name="Straight Connector 7">
            <a:extLst>
              <a:ext uri="{FF2B5EF4-FFF2-40B4-BE49-F238E27FC236}">
                <a16:creationId xmlns:a16="http://schemas.microsoft.com/office/drawing/2014/main" id="{79FEAACB-A92D-48D2-828C-4E09A76C5F5F}"/>
              </a:ext>
              <a:ext uri="{C183D7F6-B498-43B3-948B-1728B52AA6E4}">
                <adec:decorative xmlns:adec="http://schemas.microsoft.com/office/drawing/2017/decorative" val="1"/>
              </a:ext>
            </a:extLst>
          </p:cNvPr>
          <p:cNvCxnSpPr>
            <a:cxnSpLocks/>
          </p:cNvCxnSpPr>
          <p:nvPr/>
        </p:nvCxnSpPr>
        <p:spPr>
          <a:xfrm>
            <a:off x="484632" y="3437367"/>
            <a:ext cx="11222737" cy="0"/>
          </a:xfrm>
          <a:prstGeom prst="line">
            <a:avLst/>
          </a:prstGeom>
          <a:ln w="231775" cap="rnd">
            <a:gradFill flip="none" rotWithShape="1">
              <a:gsLst>
                <a:gs pos="0">
                  <a:schemeClr val="tx2">
                    <a:lumMod val="50000"/>
                  </a:schemeClr>
                </a:gs>
                <a:gs pos="100000">
                  <a:schemeClr val="tx2">
                    <a:lumMod val="60000"/>
                    <a:lumOff val="40000"/>
                  </a:schemeClr>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AD2F12-CB4D-616E-E0BA-E7FF540F1EA2}"/>
              </a:ext>
              <a:ext uri="{C183D7F6-B498-43B3-948B-1728B52AA6E4}">
                <adec:decorative xmlns:adec="http://schemas.microsoft.com/office/drawing/2017/decorative" val="1"/>
              </a:ext>
            </a:extLst>
          </p:cNvPr>
          <p:cNvCxnSpPr>
            <a:cxnSpLocks/>
          </p:cNvCxnSpPr>
          <p:nvPr/>
        </p:nvCxnSpPr>
        <p:spPr>
          <a:xfrm>
            <a:off x="484632" y="3440798"/>
            <a:ext cx="11222737" cy="0"/>
          </a:xfrm>
          <a:prstGeom prst="line">
            <a:avLst/>
          </a:prstGeom>
          <a:ln w="57150" cap="rnd">
            <a:gradFill flip="none" rotWithShape="1">
              <a:gsLst>
                <a:gs pos="0">
                  <a:schemeClr val="bg1">
                    <a:lumMod val="95000"/>
                  </a:schemeClr>
                </a:gs>
                <a:gs pos="100000">
                  <a:schemeClr val="bg1"/>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F93A6098-6275-2D2D-5D0D-D30882EAAB1A}"/>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61" name="Group 60">
              <a:extLst>
                <a:ext uri="{FF2B5EF4-FFF2-40B4-BE49-F238E27FC236}">
                  <a16:creationId xmlns:a16="http://schemas.microsoft.com/office/drawing/2014/main" id="{1120C87C-41F6-535E-C3EF-1E7FB6DAA3A0}"/>
                </a:ext>
              </a:extLst>
            </p:cNvPr>
            <p:cNvGrpSpPr/>
            <p:nvPr/>
          </p:nvGrpSpPr>
          <p:grpSpPr>
            <a:xfrm>
              <a:off x="0" y="0"/>
              <a:ext cx="12192000" cy="6858002"/>
              <a:chOff x="0" y="0"/>
              <a:chExt cx="12192000" cy="6858002"/>
            </a:xfrm>
          </p:grpSpPr>
          <p:grpSp>
            <p:nvGrpSpPr>
              <p:cNvPr id="63" name="Group 62">
                <a:extLst>
                  <a:ext uri="{FF2B5EF4-FFF2-40B4-BE49-F238E27FC236}">
                    <a16:creationId xmlns:a16="http://schemas.microsoft.com/office/drawing/2014/main" id="{2848DB1C-4508-050F-79AA-9E3B2D0F959D}"/>
                  </a:ext>
                </a:extLst>
              </p:cNvPr>
              <p:cNvGrpSpPr/>
              <p:nvPr/>
            </p:nvGrpSpPr>
            <p:grpSpPr>
              <a:xfrm>
                <a:off x="9486900" y="0"/>
                <a:ext cx="2705100" cy="694583"/>
                <a:chOff x="9486900" y="0"/>
                <a:chExt cx="2705100" cy="694583"/>
              </a:xfrm>
            </p:grpSpPr>
            <p:sp>
              <p:nvSpPr>
                <p:cNvPr id="65" name="Freeform: Shape 64">
                  <a:extLst>
                    <a:ext uri="{FF2B5EF4-FFF2-40B4-BE49-F238E27FC236}">
                      <a16:creationId xmlns:a16="http://schemas.microsoft.com/office/drawing/2014/main" id="{7B68DDC4-B2B8-80C0-1C9F-1C57CC99DAB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66" name="Freeform: Shape 65">
                  <a:extLst>
                    <a:ext uri="{FF2B5EF4-FFF2-40B4-BE49-F238E27FC236}">
                      <a16:creationId xmlns:a16="http://schemas.microsoft.com/office/drawing/2014/main" id="{7AC86BD7-10E6-8DEF-0575-09A29456699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64" name="Freeform: Shape 63">
                <a:extLst>
                  <a:ext uri="{FF2B5EF4-FFF2-40B4-BE49-F238E27FC236}">
                    <a16:creationId xmlns:a16="http://schemas.microsoft.com/office/drawing/2014/main" id="{16CE70C2-FD38-D729-58CE-3006778DDEB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2" name="Freeform: Shape 61">
              <a:extLst>
                <a:ext uri="{FF2B5EF4-FFF2-40B4-BE49-F238E27FC236}">
                  <a16:creationId xmlns:a16="http://schemas.microsoft.com/office/drawing/2014/main" id="{E6EA16CD-6DCE-FC65-B870-3C1BE0FBA25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7" name="Title 1">
            <a:extLst>
              <a:ext uri="{FF2B5EF4-FFF2-40B4-BE49-F238E27FC236}">
                <a16:creationId xmlns:a16="http://schemas.microsoft.com/office/drawing/2014/main" id="{458BF5E6-C801-CE32-4857-8F86425191A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8" name="Text Placeholder 35">
            <a:extLst>
              <a:ext uri="{FF2B5EF4-FFF2-40B4-BE49-F238E27FC236}">
                <a16:creationId xmlns:a16="http://schemas.microsoft.com/office/drawing/2014/main" id="{BB9DFC15-607F-54DB-357C-04CD1CE9FDEC}"/>
              </a:ext>
            </a:extLst>
          </p:cNvPr>
          <p:cNvSpPr>
            <a:spLocks noGrp="1"/>
          </p:cNvSpPr>
          <p:nvPr>
            <p:ph type="body" sz="quarter" idx="21" hasCustomPrompt="1"/>
          </p:nvPr>
        </p:nvSpPr>
        <p:spPr>
          <a:xfrm>
            <a:off x="1229360"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9" name="Text Placeholder 35">
            <a:extLst>
              <a:ext uri="{FF2B5EF4-FFF2-40B4-BE49-F238E27FC236}">
                <a16:creationId xmlns:a16="http://schemas.microsoft.com/office/drawing/2014/main" id="{189414AC-6F31-B358-37BD-98B4D94B2FB0}"/>
              </a:ext>
            </a:extLst>
          </p:cNvPr>
          <p:cNvSpPr>
            <a:spLocks noGrp="1"/>
          </p:cNvSpPr>
          <p:nvPr>
            <p:ph type="body" sz="quarter" idx="22" hasCustomPrompt="1"/>
          </p:nvPr>
        </p:nvSpPr>
        <p:spPr>
          <a:xfrm>
            <a:off x="1229360"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0" name="Text Placeholder 35">
            <a:extLst>
              <a:ext uri="{FF2B5EF4-FFF2-40B4-BE49-F238E27FC236}">
                <a16:creationId xmlns:a16="http://schemas.microsoft.com/office/drawing/2014/main" id="{95424BEE-6890-D3E6-DDDF-B9937D75673A}"/>
              </a:ext>
            </a:extLst>
          </p:cNvPr>
          <p:cNvSpPr>
            <a:spLocks noGrp="1"/>
          </p:cNvSpPr>
          <p:nvPr>
            <p:ph type="body" sz="quarter" idx="23" hasCustomPrompt="1"/>
          </p:nvPr>
        </p:nvSpPr>
        <p:spPr>
          <a:xfrm>
            <a:off x="4692907"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1" name="Text Placeholder 35">
            <a:extLst>
              <a:ext uri="{FF2B5EF4-FFF2-40B4-BE49-F238E27FC236}">
                <a16:creationId xmlns:a16="http://schemas.microsoft.com/office/drawing/2014/main" id="{0DDA5669-4F4C-BF00-5A68-D29157DB3035}"/>
              </a:ext>
            </a:extLst>
          </p:cNvPr>
          <p:cNvSpPr>
            <a:spLocks noGrp="1"/>
          </p:cNvSpPr>
          <p:nvPr>
            <p:ph type="body" sz="quarter" idx="24" hasCustomPrompt="1"/>
          </p:nvPr>
        </p:nvSpPr>
        <p:spPr>
          <a:xfrm>
            <a:off x="4692907"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2" name="Text Placeholder 35">
            <a:extLst>
              <a:ext uri="{FF2B5EF4-FFF2-40B4-BE49-F238E27FC236}">
                <a16:creationId xmlns:a16="http://schemas.microsoft.com/office/drawing/2014/main" id="{3DDD5FF4-28C3-5688-D4D5-D310B4C9EF43}"/>
              </a:ext>
            </a:extLst>
          </p:cNvPr>
          <p:cNvSpPr>
            <a:spLocks noGrp="1"/>
          </p:cNvSpPr>
          <p:nvPr>
            <p:ph type="body" sz="quarter" idx="25" hasCustomPrompt="1"/>
          </p:nvPr>
        </p:nvSpPr>
        <p:spPr>
          <a:xfrm>
            <a:off x="8156454"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3" name="Text Placeholder 35">
            <a:extLst>
              <a:ext uri="{FF2B5EF4-FFF2-40B4-BE49-F238E27FC236}">
                <a16:creationId xmlns:a16="http://schemas.microsoft.com/office/drawing/2014/main" id="{E25B8280-4D41-B249-B0BE-CB743A8BB013}"/>
              </a:ext>
            </a:extLst>
          </p:cNvPr>
          <p:cNvSpPr>
            <a:spLocks noGrp="1"/>
          </p:cNvSpPr>
          <p:nvPr>
            <p:ph type="body" sz="quarter" idx="26" hasCustomPrompt="1"/>
          </p:nvPr>
        </p:nvSpPr>
        <p:spPr>
          <a:xfrm>
            <a:off x="8156454"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6FD07BB8-E65C-4D7B-3227-5B6B27FF0DE9}"/>
              </a:ext>
            </a:extLst>
          </p:cNvPr>
          <p:cNvSpPr>
            <a:spLocks noGrp="1"/>
          </p:cNvSpPr>
          <p:nvPr>
            <p:ph type="body" sz="quarter" idx="29" hasCustomPrompt="1"/>
          </p:nvPr>
        </p:nvSpPr>
        <p:spPr>
          <a:xfrm>
            <a:off x="3018508"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7" name="Text Placeholder 35">
            <a:extLst>
              <a:ext uri="{FF2B5EF4-FFF2-40B4-BE49-F238E27FC236}">
                <a16:creationId xmlns:a16="http://schemas.microsoft.com/office/drawing/2014/main" id="{59B7617D-5400-AD67-34DE-4DED7F0BF422}"/>
              </a:ext>
            </a:extLst>
          </p:cNvPr>
          <p:cNvSpPr>
            <a:spLocks noGrp="1"/>
          </p:cNvSpPr>
          <p:nvPr>
            <p:ph type="body" sz="quarter" idx="30" hasCustomPrompt="1"/>
          </p:nvPr>
        </p:nvSpPr>
        <p:spPr>
          <a:xfrm>
            <a:off x="3018508"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4" name="Text Placeholder 35">
            <a:extLst>
              <a:ext uri="{FF2B5EF4-FFF2-40B4-BE49-F238E27FC236}">
                <a16:creationId xmlns:a16="http://schemas.microsoft.com/office/drawing/2014/main" id="{A7201DD7-B2B1-18D8-C764-B00E25118D54}"/>
              </a:ext>
            </a:extLst>
          </p:cNvPr>
          <p:cNvSpPr>
            <a:spLocks noGrp="1"/>
          </p:cNvSpPr>
          <p:nvPr>
            <p:ph type="body" sz="quarter" idx="27" hasCustomPrompt="1"/>
          </p:nvPr>
        </p:nvSpPr>
        <p:spPr>
          <a:xfrm>
            <a:off x="6482055"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5" name="Text Placeholder 35">
            <a:extLst>
              <a:ext uri="{FF2B5EF4-FFF2-40B4-BE49-F238E27FC236}">
                <a16:creationId xmlns:a16="http://schemas.microsoft.com/office/drawing/2014/main" id="{F4B8B905-C7DA-7937-0719-71BFCCA4A0AE}"/>
              </a:ext>
            </a:extLst>
          </p:cNvPr>
          <p:cNvSpPr>
            <a:spLocks noGrp="1"/>
          </p:cNvSpPr>
          <p:nvPr>
            <p:ph type="body" sz="quarter" idx="28" hasCustomPrompt="1"/>
          </p:nvPr>
        </p:nvSpPr>
        <p:spPr>
          <a:xfrm>
            <a:off x="6482055"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8" name="Text Placeholder 35">
            <a:extLst>
              <a:ext uri="{FF2B5EF4-FFF2-40B4-BE49-F238E27FC236}">
                <a16:creationId xmlns:a16="http://schemas.microsoft.com/office/drawing/2014/main" id="{27A0A4C3-06DD-141F-B062-3F1926EFC76D}"/>
              </a:ext>
            </a:extLst>
          </p:cNvPr>
          <p:cNvSpPr>
            <a:spLocks noGrp="1"/>
          </p:cNvSpPr>
          <p:nvPr>
            <p:ph type="body" sz="quarter" idx="31" hasCustomPrompt="1"/>
          </p:nvPr>
        </p:nvSpPr>
        <p:spPr>
          <a:xfrm>
            <a:off x="9945603" y="3830449"/>
            <a:ext cx="1827298"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9" name="Text Placeholder 35">
            <a:extLst>
              <a:ext uri="{FF2B5EF4-FFF2-40B4-BE49-F238E27FC236}">
                <a16:creationId xmlns:a16="http://schemas.microsoft.com/office/drawing/2014/main" id="{6AEA7289-7121-7115-FDCB-317D2D9C3BF0}"/>
              </a:ext>
            </a:extLst>
          </p:cNvPr>
          <p:cNvSpPr>
            <a:spLocks noGrp="1"/>
          </p:cNvSpPr>
          <p:nvPr>
            <p:ph type="body" sz="quarter" idx="32" hasCustomPrompt="1"/>
          </p:nvPr>
        </p:nvSpPr>
        <p:spPr>
          <a:xfrm>
            <a:off x="9945604" y="4153425"/>
            <a:ext cx="1827296"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0569693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Journey slide 2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2D6FE3-3B27-1DFD-0D96-8B845B1D339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C51E1B8-74C0-FCF7-6360-5E09521D177B}"/>
              </a:ext>
              <a:ext uri="{C183D7F6-B498-43B3-948B-1728B52AA6E4}">
                <adec:decorative xmlns:adec="http://schemas.microsoft.com/office/drawing/2017/decorative" val="1"/>
              </a:ext>
            </a:extLst>
          </p:cNvPr>
          <p:cNvPicPr>
            <a:picLocks noChangeAspect="1"/>
          </p:cNvPicPr>
          <p:nvPr userDrawn="1"/>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575E6861-E08B-2006-2C1A-C0134ACA3E9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D76EFE29-6736-0590-0F90-2DE6443B4897}"/>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4897373-7F99-1627-C04F-E621CF58ED5F}"/>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6B82EA48-DAB6-55ED-13B8-C129CFE6378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F8F8D310-F6C8-C061-815D-2B38C947717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F1434399-00A1-8F02-0D47-6A971607F89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7" name="Freeform: Shape 6">
              <a:extLst>
                <a:ext uri="{FF2B5EF4-FFF2-40B4-BE49-F238E27FC236}">
                  <a16:creationId xmlns:a16="http://schemas.microsoft.com/office/drawing/2014/main" id="{D96CDF64-9A87-F83A-707E-B0698057723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70AB124E-D719-02B2-A829-283ADD554E46}"/>
              </a:ext>
              <a:ext uri="{C183D7F6-B498-43B3-948B-1728B52AA6E4}">
                <adec:decorative xmlns:adec="http://schemas.microsoft.com/office/drawing/2017/decorative" val="1"/>
              </a:ext>
            </a:extLst>
          </p:cNvPr>
          <p:cNvSpPr/>
          <p:nvPr userDrawn="1"/>
        </p:nvSpPr>
        <p:spPr bwMode="auto">
          <a:xfrm flipV="1">
            <a:off x="-1" y="1436688"/>
            <a:ext cx="12192001" cy="4595812"/>
          </a:xfrm>
          <a:prstGeom prst="round1Rect">
            <a:avLst>
              <a:gd name="adj" fmla="val 17740"/>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a:solidFill>
                <a:schemeClr val="bg1"/>
              </a:solidFill>
              <a:latin typeface="+mj-lt"/>
              <a:ea typeface="Segoe UI Black" panose="020B0A02040204020203" pitchFamily="34" charset="0"/>
            </a:endParaRPr>
          </a:p>
        </p:txBody>
      </p:sp>
      <p:sp>
        <p:nvSpPr>
          <p:cNvPr id="14" name="Rectangle: Top Corners Rounded 13">
            <a:extLst>
              <a:ext uri="{FF2B5EF4-FFF2-40B4-BE49-F238E27FC236}">
                <a16:creationId xmlns:a16="http://schemas.microsoft.com/office/drawing/2014/main" id="{68A552BB-576F-1E88-CFA9-61230400739B}"/>
              </a:ext>
              <a:ext uri="{C183D7F6-B498-43B3-948B-1728B52AA6E4}">
                <adec:decorative xmlns:adec="http://schemas.microsoft.com/office/drawing/2017/decorative" val="1"/>
              </a:ext>
            </a:extLst>
          </p:cNvPr>
          <p:cNvSpPr/>
          <p:nvPr userDrawn="1"/>
        </p:nvSpPr>
        <p:spPr bwMode="auto">
          <a:xfrm rot="5400000" flipH="1">
            <a:off x="5433569" y="-2076654"/>
            <a:ext cx="736600" cy="11603740"/>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sp>
        <p:nvSpPr>
          <p:cNvPr id="45" name="Title 1">
            <a:extLst>
              <a:ext uri="{FF2B5EF4-FFF2-40B4-BE49-F238E27FC236}">
                <a16:creationId xmlns:a16="http://schemas.microsoft.com/office/drawing/2014/main" id="{CEAC6A46-1430-1B76-FCED-FC7C29AB3612}"/>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48A49D8-5813-6529-9752-9EA0BEEE7966}"/>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2E5FBA0-273F-E26E-B729-D4A77A04E71E}"/>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7D7C18BE-5B23-17A1-2A4A-6202E9CD8BC3}"/>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D3EBE101-992A-308E-88CA-151CDA547095}"/>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75F6DB81-2B06-0702-5952-D99FF76D8744}"/>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16DD49E8-9D9F-71B6-9196-A39FF19B6027}"/>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5C5217AB-2FA9-93A3-6620-B0E0487556B5}"/>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541CD13A-E0B5-99C0-044F-9FAA02E20EB1}"/>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E949BB2D-E1D5-20CB-F8FD-33D595CF831D}"/>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DA426B23-927C-FD71-FCFD-55F06FCA1B66}"/>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339EB25-DBF8-2DA9-F8AA-38BA83D13521}"/>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19F66D2-B094-4DD5-B653-75D9A5561677}"/>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115123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31DDD-733D-0A9F-6934-A52E3EED09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AFDF7E5-31E9-5449-DB81-DEFBC702D3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98315E9-7A17-E9C7-39D3-B5CC2BD917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DD7FEA-FBB5-8ADE-1774-60F0F805BF0B}"/>
              </a:ext>
            </a:extLst>
          </p:cNvPr>
          <p:cNvSpPr>
            <a:spLocks noGrp="1"/>
          </p:cNvSpPr>
          <p:nvPr>
            <p:ph type="dt" sz="half" idx="10"/>
          </p:nvPr>
        </p:nvSpPr>
        <p:spPr/>
        <p:txBody>
          <a:bodyPr/>
          <a:lstStyle/>
          <a:p>
            <a:fld id="{78834B7A-A772-41F8-99FF-2368B14B0677}" type="datetimeFigureOut">
              <a:rPr lang="en-US" smtClean="0"/>
              <a:t>10/28/2025</a:t>
            </a:fld>
            <a:endParaRPr lang="en-US"/>
          </a:p>
        </p:txBody>
      </p:sp>
      <p:sp>
        <p:nvSpPr>
          <p:cNvPr id="6" name="Footer Placeholder 5">
            <a:extLst>
              <a:ext uri="{FF2B5EF4-FFF2-40B4-BE49-F238E27FC236}">
                <a16:creationId xmlns:a16="http://schemas.microsoft.com/office/drawing/2014/main" id="{5972E351-9CC6-9692-73F7-59DDAA0524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411058-90DD-4B91-E05E-EBA49638386E}"/>
              </a:ext>
            </a:extLst>
          </p:cNvPr>
          <p:cNvSpPr>
            <a:spLocks noGrp="1"/>
          </p:cNvSpPr>
          <p:nvPr>
            <p:ph type="sldNum" sz="quarter" idx="12"/>
          </p:nvPr>
        </p:nvSpPr>
        <p:spPr/>
        <p:txBody>
          <a:bodyPr/>
          <a:lstStyle/>
          <a:p>
            <a:fld id="{4624AFDC-5FAE-486C-8FFC-8EB2A77CD6CB}" type="slidenum">
              <a:rPr lang="en-US" smtClean="0"/>
              <a:t>‹#›</a:t>
            </a:fld>
            <a:endParaRPr lang="en-US"/>
          </a:p>
        </p:txBody>
      </p:sp>
    </p:spTree>
    <p:extLst>
      <p:ext uri="{BB962C8B-B14F-4D97-AF65-F5344CB8AC3E}">
        <p14:creationId xmlns:p14="http://schemas.microsoft.com/office/powerpoint/2010/main" val="29661359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slide (Dark)">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874A330F-DDD7-6DF9-0C2B-2C2EA20C8EC6}"/>
              </a:ext>
            </a:extLst>
          </p:cNvPr>
          <p:cNvGrpSpPr/>
          <p:nvPr userDrawn="1"/>
        </p:nvGrpSpPr>
        <p:grpSpPr>
          <a:xfrm>
            <a:off x="0" y="0"/>
            <a:ext cx="12192000" cy="6858002"/>
            <a:chOff x="0" y="0"/>
            <a:chExt cx="12192000" cy="6858002"/>
          </a:xfrm>
        </p:grpSpPr>
        <p:grpSp>
          <p:nvGrpSpPr>
            <p:cNvPr id="3" name="Group 2">
              <a:extLst>
                <a:ext uri="{FF2B5EF4-FFF2-40B4-BE49-F238E27FC236}">
                  <a16:creationId xmlns:a16="http://schemas.microsoft.com/office/drawing/2014/main" id="{17BDB50D-FC04-E2B7-C48F-442EA377C86F}"/>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03F587C-4752-0120-FF5E-4E77D202A3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80BD8AB-3887-B6E4-FF30-02B77D702E2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D9AEBB9E-0EA3-3CF9-5E84-2AD025ABEBA3}"/>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783062F9-78A8-3C20-DE7A-F3101BE763C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A04F062B-9A5C-E7A5-630E-7F5ED1BE26D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5D9E7ED-3A7D-DA98-F03F-E33C76EA6D1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40801A54-6F60-A7D0-43C8-BC30F73BBDA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F4C353FE-A337-4604-1B2F-9C1C2955E0F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2AF0A7C8-246B-1CEF-A00E-97CD85F3745F}"/>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3" name="Rectangle: Top Corners Rounded 12">
            <a:extLst>
              <a:ext uri="{FF2B5EF4-FFF2-40B4-BE49-F238E27FC236}">
                <a16:creationId xmlns:a16="http://schemas.microsoft.com/office/drawing/2014/main" id="{271E3197-E26B-45C1-DD94-4A613C6354AE}"/>
              </a:ext>
            </a:extLst>
          </p:cNvPr>
          <p:cNvSpPr>
            <a:spLocks/>
          </p:cNvSpPr>
          <p:nvPr userDrawn="1"/>
        </p:nvSpPr>
        <p:spPr bwMode="auto">
          <a:xfrm flipH="1">
            <a:off x="588263" y="1733550"/>
            <a:ext cx="11015472" cy="4535488"/>
          </a:xfrm>
          <a:prstGeom prst="round2SameRect">
            <a:avLst>
              <a:gd name="adj1" fmla="val 0"/>
              <a:gd name="adj2" fmla="val 4489"/>
            </a:avLst>
          </a:prstGeom>
          <a:solidFill>
            <a:schemeClr val="tx2">
              <a:alpha val="50000"/>
            </a:schemeClr>
          </a:solidFill>
          <a:ln>
            <a:no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1600" err="1">
              <a:solidFill>
                <a:schemeClr val="tx1"/>
              </a:solidFill>
            </a:endParaRPr>
          </a:p>
        </p:txBody>
      </p:sp>
      <p:sp>
        <p:nvSpPr>
          <p:cNvPr id="14" name="Rectangle: Top Corners Rounded 13">
            <a:extLst>
              <a:ext uri="{FF2B5EF4-FFF2-40B4-BE49-F238E27FC236}">
                <a16:creationId xmlns:a16="http://schemas.microsoft.com/office/drawing/2014/main" id="{DD05F191-7555-34BA-B45C-AE7DE52D8836}"/>
              </a:ext>
            </a:extLst>
          </p:cNvPr>
          <p:cNvSpPr>
            <a:spLocks/>
          </p:cNvSpPr>
          <p:nvPr userDrawn="1"/>
        </p:nvSpPr>
        <p:spPr bwMode="auto">
          <a:xfrm flipH="1">
            <a:off x="587206" y="1428750"/>
            <a:ext cx="11017586" cy="596900"/>
          </a:xfrm>
          <a:prstGeom prst="round2SameRect">
            <a:avLst>
              <a:gd name="adj1" fmla="val 39007"/>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7" name="Title 1">
            <a:extLst>
              <a:ext uri="{FF2B5EF4-FFF2-40B4-BE49-F238E27FC236}">
                <a16:creationId xmlns:a16="http://schemas.microsoft.com/office/drawing/2014/main" id="{A6446783-E9BE-EE7B-DDAA-4BCDACD80AC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6084385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363C66-72AD-0E93-28D4-C669190056B8}"/>
              </a:ext>
            </a:extLst>
          </p:cNvPr>
          <p:cNvGrpSpPr/>
          <p:nvPr userDrawn="1"/>
        </p:nvGrpSpPr>
        <p:grpSpPr>
          <a:xfrm>
            <a:off x="0" y="0"/>
            <a:ext cx="12192000" cy="6858002"/>
            <a:chOff x="0" y="0"/>
            <a:chExt cx="12192000" cy="6858002"/>
          </a:xfrm>
        </p:grpSpPr>
        <p:grpSp>
          <p:nvGrpSpPr>
            <p:cNvPr id="4" name="Group 3">
              <a:extLst>
                <a:ext uri="{FF2B5EF4-FFF2-40B4-BE49-F238E27FC236}">
                  <a16:creationId xmlns:a16="http://schemas.microsoft.com/office/drawing/2014/main" id="{036CB204-80CF-5C05-00D4-6522A363309E}"/>
                </a:ext>
              </a:extLst>
            </p:cNvPr>
            <p:cNvGrpSpPr/>
            <p:nvPr userDrawn="1"/>
          </p:nvGrpSpPr>
          <p:grpSpPr>
            <a:xfrm>
              <a:off x="0" y="0"/>
              <a:ext cx="12192000" cy="6858000"/>
              <a:chOff x="0" y="0"/>
              <a:chExt cx="12192000" cy="6858000"/>
            </a:xfrm>
          </p:grpSpPr>
          <p:pic>
            <p:nvPicPr>
              <p:cNvPr id="12" name="Picture 11" descr="A picture containing blue, electric blue, majorelle blue, blur&#10;&#10;Description automatically generated">
                <a:extLst>
                  <a:ext uri="{FF2B5EF4-FFF2-40B4-BE49-F238E27FC236}">
                    <a16:creationId xmlns:a16="http://schemas.microsoft.com/office/drawing/2014/main" id="{3600F912-90CC-925B-6278-FC1727358D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A528B455-FECB-B7D6-8FDE-2BD26324B12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5" name="Group 4">
              <a:extLst>
                <a:ext uri="{FF2B5EF4-FFF2-40B4-BE49-F238E27FC236}">
                  <a16:creationId xmlns:a16="http://schemas.microsoft.com/office/drawing/2014/main" id="{5BC8496B-4DAF-63EE-5AFF-13FDF20CF832}"/>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B30AFDA1-5FC7-2B43-88B2-43863D232F69}"/>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0B02FFC-A32A-F3BE-3E95-79CE346B4955}"/>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898A0F8A-0B9B-58F2-2FE7-B8E7B354319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1" name="Freeform: Shape 10">
                    <a:extLst>
                      <a:ext uri="{FF2B5EF4-FFF2-40B4-BE49-F238E27FC236}">
                        <a16:creationId xmlns:a16="http://schemas.microsoft.com/office/drawing/2014/main" id="{6D747D3C-2451-FA89-28AD-1469BA113F4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9" name="Freeform: Shape 8">
                  <a:extLst>
                    <a:ext uri="{FF2B5EF4-FFF2-40B4-BE49-F238E27FC236}">
                      <a16:creationId xmlns:a16="http://schemas.microsoft.com/office/drawing/2014/main" id="{831EEA3D-EDA2-D0AE-B040-3D77052A4E93}"/>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7" name="Freeform: Shape 6">
                <a:extLst>
                  <a:ext uri="{FF2B5EF4-FFF2-40B4-BE49-F238E27FC236}">
                    <a16:creationId xmlns:a16="http://schemas.microsoft.com/office/drawing/2014/main" id="{DCB8B348-739B-0B41-0AEF-A96A3E004DC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2358671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slid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5108E6-F6F8-A1F5-D4D2-168834BBD8D3}"/>
              </a:ext>
              <a:ext uri="{C183D7F6-B498-43B3-948B-1728B52AA6E4}">
                <adec:decorative xmlns:adec="http://schemas.microsoft.com/office/drawing/2017/decorative" val="1"/>
              </a:ext>
            </a:extLst>
          </p:cNvPr>
          <p:cNvGrpSpPr/>
          <p:nvPr userDrawn="1"/>
        </p:nvGrpSpPr>
        <p:grpSpPr>
          <a:xfrm>
            <a:off x="0" y="0"/>
            <a:ext cx="12192000" cy="6795078"/>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2E60905-D987-21A2-FFB1-C791541C93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0BC4C46-3888-2503-8FA7-E7099CE0B0B5}"/>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6F28955F-905C-5BE2-F38D-47D06EBBBC25}"/>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FD5F1DF1-B26F-5F38-677F-549B56603FC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14CB9709-BB9B-6D0E-86E9-E6402290ABAE}"/>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AE64557-0FC7-FE0D-9C0B-66910B13DCA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7EB0CEA-736C-A6B5-49A3-2D7056524E7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D27B92EA-0834-4C12-CB46-D141B90558C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30000"/>
                  </a:prstClr>
                </a:outerShdw>
              </a:effectLst>
            </p:spPr>
            <p:txBody>
              <a:bodyPr wrap="square" rtlCol="0" anchor="ctr">
                <a:noAutofit/>
              </a:bodyPr>
              <a:lstStyle/>
              <a:p>
                <a:endParaRPr lang="en-US">
                  <a:solidFill>
                    <a:schemeClr val="bg1"/>
                  </a:solidFill>
                </a:endParaRPr>
              </a:p>
            </p:txBody>
          </p:sp>
        </p:grpSp>
        <p:sp>
          <p:nvSpPr>
            <p:cNvPr id="8" name="Freeform: Shape 7">
              <a:extLst>
                <a:ext uri="{FF2B5EF4-FFF2-40B4-BE49-F238E27FC236}">
                  <a16:creationId xmlns:a16="http://schemas.microsoft.com/office/drawing/2014/main" id="{991E6195-8EC5-A016-E27E-79A12AAF102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Rounded Corners 12">
            <a:extLst>
              <a:ext uri="{FF2B5EF4-FFF2-40B4-BE49-F238E27FC236}">
                <a16:creationId xmlns:a16="http://schemas.microsoft.com/office/drawing/2014/main" id="{80D6BA44-DC14-C18F-8042-67753A9036AC}"/>
              </a:ext>
              <a:ext uri="{C183D7F6-B498-43B3-948B-1728B52AA6E4}">
                <adec:decorative xmlns:adec="http://schemas.microsoft.com/office/drawing/2017/decorative" val="1"/>
              </a:ext>
            </a:extLst>
          </p:cNvPr>
          <p:cNvSpPr>
            <a:spLocks/>
          </p:cNvSpPr>
          <p:nvPr userDrawn="1"/>
        </p:nvSpPr>
        <p:spPr bwMode="auto">
          <a:xfrm flipH="1">
            <a:off x="7069254" y="1428750"/>
            <a:ext cx="4539340" cy="4478564"/>
          </a:xfrm>
          <a:prstGeom prst="roundRect">
            <a:avLst>
              <a:gd name="adj" fmla="val 688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4" name="Rectangle: Rounded Corners 13">
            <a:extLst>
              <a:ext uri="{FF2B5EF4-FFF2-40B4-BE49-F238E27FC236}">
                <a16:creationId xmlns:a16="http://schemas.microsoft.com/office/drawing/2014/main" id="{82BD30B4-F090-031E-0456-132A1C717A4C}"/>
              </a:ext>
              <a:ext uri="{C183D7F6-B498-43B3-948B-1728B52AA6E4}">
                <adec:decorative xmlns:adec="http://schemas.microsoft.com/office/drawing/2017/decorative" val="1"/>
              </a:ext>
            </a:extLst>
          </p:cNvPr>
          <p:cNvSpPr>
            <a:spLocks/>
          </p:cNvSpPr>
          <p:nvPr userDrawn="1"/>
        </p:nvSpPr>
        <p:spPr bwMode="auto">
          <a:xfrm flipH="1">
            <a:off x="588263" y="1428750"/>
            <a:ext cx="6291508" cy="4478564"/>
          </a:xfrm>
          <a:prstGeom prst="roundRect">
            <a:avLst>
              <a:gd name="adj" fmla="val 603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8" name="Title 1">
            <a:extLst>
              <a:ext uri="{FF2B5EF4-FFF2-40B4-BE49-F238E27FC236}">
                <a16:creationId xmlns:a16="http://schemas.microsoft.com/office/drawing/2014/main" id="{0AC946C8-1EF7-AB95-20E5-E529D07E8A5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15486723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with venn diagram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E8879C0-FA43-E72C-072A-9FF21510100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FA7CA2AB-A783-6A4E-A150-AB8C5EC7868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179F96F-A61F-F9DB-2A42-8A2685403DD4}"/>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B2591517-E68A-0823-F095-19185AE61A99}"/>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5B936E5E-A088-1300-15A2-A199C5C73558}"/>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952C1DDE-2498-91AF-7F3F-124AD3E8DE2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8A9D393A-AC0B-6291-6EC3-6654F3B03AE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4166D34-F33B-BE5E-F8E6-B264FF2490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8AE73743-B861-5DE2-1C6A-475E414C6FA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0CE7177C-A577-4462-BA5B-051EAD09713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Single Corner Rounded 12">
            <a:extLst>
              <a:ext uri="{FF2B5EF4-FFF2-40B4-BE49-F238E27FC236}">
                <a16:creationId xmlns:a16="http://schemas.microsoft.com/office/drawing/2014/main" id="{7BB55CB6-BA4A-E3D5-645C-7F36B6CD6AF0}"/>
              </a:ext>
              <a:ext uri="{C183D7F6-B498-43B3-948B-1728B52AA6E4}">
                <adec:decorative xmlns:adec="http://schemas.microsoft.com/office/drawing/2017/decorative" val="1"/>
              </a:ext>
            </a:extLst>
          </p:cNvPr>
          <p:cNvSpPr/>
          <p:nvPr userDrawn="1"/>
        </p:nvSpPr>
        <p:spPr bwMode="auto">
          <a:xfrm>
            <a:off x="0" y="1436688"/>
            <a:ext cx="7467600" cy="5421312"/>
          </a:xfrm>
          <a:prstGeom prst="round1Rect">
            <a:avLst>
              <a:gd name="adj" fmla="val 11027"/>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ext Placeholder 35">
            <a:extLst>
              <a:ext uri="{FF2B5EF4-FFF2-40B4-BE49-F238E27FC236}">
                <a16:creationId xmlns:a16="http://schemas.microsoft.com/office/drawing/2014/main" id="{AF034EAB-2E3D-D643-0B99-E818D4CD2EDC}"/>
              </a:ext>
            </a:extLst>
          </p:cNvPr>
          <p:cNvSpPr>
            <a:spLocks noGrp="1"/>
          </p:cNvSpPr>
          <p:nvPr>
            <p:ph type="body" sz="quarter" idx="26" hasCustomPrompt="1"/>
          </p:nvPr>
        </p:nvSpPr>
        <p:spPr>
          <a:xfrm>
            <a:off x="8127999" y="307248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2</a:t>
            </a:r>
          </a:p>
        </p:txBody>
      </p:sp>
      <p:sp>
        <p:nvSpPr>
          <p:cNvPr id="37" name="Title 1">
            <a:extLst>
              <a:ext uri="{FF2B5EF4-FFF2-40B4-BE49-F238E27FC236}">
                <a16:creationId xmlns:a16="http://schemas.microsoft.com/office/drawing/2014/main" id="{0CB835E1-7049-E087-9A1A-298CE16395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0" name="Text Placeholder 35">
            <a:extLst>
              <a:ext uri="{FF2B5EF4-FFF2-40B4-BE49-F238E27FC236}">
                <a16:creationId xmlns:a16="http://schemas.microsoft.com/office/drawing/2014/main" id="{6215A782-12AB-D629-E35A-6E935ADBC0EB}"/>
              </a:ext>
            </a:extLst>
          </p:cNvPr>
          <p:cNvSpPr>
            <a:spLocks noGrp="1"/>
          </p:cNvSpPr>
          <p:nvPr>
            <p:ph type="body" sz="quarter" idx="23" hasCustomPrompt="1"/>
          </p:nvPr>
        </p:nvSpPr>
        <p:spPr>
          <a:xfrm>
            <a:off x="8127999" y="1352010"/>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1</a:t>
            </a:r>
          </a:p>
        </p:txBody>
      </p:sp>
      <p:sp>
        <p:nvSpPr>
          <p:cNvPr id="38" name="Text Placeholder 35">
            <a:extLst>
              <a:ext uri="{FF2B5EF4-FFF2-40B4-BE49-F238E27FC236}">
                <a16:creationId xmlns:a16="http://schemas.microsoft.com/office/drawing/2014/main" id="{07B4BF87-1C47-8917-D288-5578973F8D8C}"/>
              </a:ext>
            </a:extLst>
          </p:cNvPr>
          <p:cNvSpPr>
            <a:spLocks noGrp="1"/>
          </p:cNvSpPr>
          <p:nvPr>
            <p:ph type="body" sz="quarter" idx="21" hasCustomPrompt="1"/>
          </p:nvPr>
        </p:nvSpPr>
        <p:spPr>
          <a:xfrm>
            <a:off x="8127999" y="1949738"/>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36AB4032-C2BF-A099-3CA7-4A57D251BEFF}"/>
              </a:ext>
            </a:extLst>
          </p:cNvPr>
          <p:cNvSpPr>
            <a:spLocks noGrp="1"/>
          </p:cNvSpPr>
          <p:nvPr>
            <p:ph type="body" sz="quarter" idx="22" hasCustomPrompt="1"/>
          </p:nvPr>
        </p:nvSpPr>
        <p:spPr>
          <a:xfrm>
            <a:off x="8127999" y="2277208"/>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0899BBF-606C-66FA-800D-C5409F2E44E4}"/>
              </a:ext>
            </a:extLst>
          </p:cNvPr>
          <p:cNvSpPr>
            <a:spLocks noGrp="1"/>
          </p:cNvSpPr>
          <p:nvPr>
            <p:ph type="body" sz="quarter" idx="24" hasCustomPrompt="1"/>
          </p:nvPr>
        </p:nvSpPr>
        <p:spPr>
          <a:xfrm>
            <a:off x="8127999" y="367021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2" name="Text Placeholder 35">
            <a:extLst>
              <a:ext uri="{FF2B5EF4-FFF2-40B4-BE49-F238E27FC236}">
                <a16:creationId xmlns:a16="http://schemas.microsoft.com/office/drawing/2014/main" id="{BCDCCCD1-EBE9-2267-68B8-D32015846134}"/>
              </a:ext>
            </a:extLst>
          </p:cNvPr>
          <p:cNvSpPr>
            <a:spLocks noGrp="1"/>
          </p:cNvSpPr>
          <p:nvPr>
            <p:ph type="body" sz="quarter" idx="25" hasCustomPrompt="1"/>
          </p:nvPr>
        </p:nvSpPr>
        <p:spPr>
          <a:xfrm>
            <a:off x="8127999" y="399768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Text Placeholder 35">
            <a:extLst>
              <a:ext uri="{FF2B5EF4-FFF2-40B4-BE49-F238E27FC236}">
                <a16:creationId xmlns:a16="http://schemas.microsoft.com/office/drawing/2014/main" id="{C565B56E-F858-CB19-32C6-2305C6ADC3D6}"/>
              </a:ext>
            </a:extLst>
          </p:cNvPr>
          <p:cNvSpPr>
            <a:spLocks noGrp="1"/>
          </p:cNvSpPr>
          <p:nvPr>
            <p:ph type="body" sz="quarter" idx="29" hasCustomPrompt="1"/>
          </p:nvPr>
        </p:nvSpPr>
        <p:spPr>
          <a:xfrm>
            <a:off x="8127999" y="479702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3</a:t>
            </a:r>
          </a:p>
        </p:txBody>
      </p:sp>
      <p:sp>
        <p:nvSpPr>
          <p:cNvPr id="44" name="Text Placeholder 35">
            <a:extLst>
              <a:ext uri="{FF2B5EF4-FFF2-40B4-BE49-F238E27FC236}">
                <a16:creationId xmlns:a16="http://schemas.microsoft.com/office/drawing/2014/main" id="{1AE91CED-35D1-7968-988F-D0E391632042}"/>
              </a:ext>
            </a:extLst>
          </p:cNvPr>
          <p:cNvSpPr>
            <a:spLocks noGrp="1"/>
          </p:cNvSpPr>
          <p:nvPr>
            <p:ph type="body" sz="quarter" idx="27" hasCustomPrompt="1"/>
          </p:nvPr>
        </p:nvSpPr>
        <p:spPr>
          <a:xfrm>
            <a:off x="8127999" y="539475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5" name="Text Placeholder 35">
            <a:extLst>
              <a:ext uri="{FF2B5EF4-FFF2-40B4-BE49-F238E27FC236}">
                <a16:creationId xmlns:a16="http://schemas.microsoft.com/office/drawing/2014/main" id="{B20B879D-9E24-FEC6-307F-6791BFD9C0BB}"/>
              </a:ext>
            </a:extLst>
          </p:cNvPr>
          <p:cNvSpPr>
            <a:spLocks noGrp="1"/>
          </p:cNvSpPr>
          <p:nvPr>
            <p:ph type="body" sz="quarter" idx="28" hasCustomPrompt="1"/>
          </p:nvPr>
        </p:nvSpPr>
        <p:spPr>
          <a:xfrm>
            <a:off x="8127999" y="572222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9856136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yramid slide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DC6972-23CA-3300-EDB4-109A197299D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24FF1EB-18BD-1966-ACCE-D94152B500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3234AF1-69F4-D405-A2A5-2FAAC8D010E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31167EA5-A747-0369-DA83-C0321B1995A1}"/>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F945ADD-E77A-DD29-F01A-20F30E233A75}"/>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5F595E67-387A-2EA7-6456-14D105486C80}"/>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BD7FA6BA-63E8-4B96-4FBE-BB616FCCF13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6CF8393E-A694-5A9A-ABDA-5EAC43AF085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4E878C13-065E-3898-C0ED-2DA7D3227D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D67CD042-7365-247B-C2A6-29F2AF1DEE6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12">
            <a:extLst>
              <a:ext uri="{FF2B5EF4-FFF2-40B4-BE49-F238E27FC236}">
                <a16:creationId xmlns:a16="http://schemas.microsoft.com/office/drawing/2014/main" id="{A0D3F5FB-F504-7273-60B0-E352EA2B1D0E}"/>
              </a:ext>
              <a:ext uri="{C183D7F6-B498-43B3-948B-1728B52AA6E4}">
                <adec:decorative xmlns:adec="http://schemas.microsoft.com/office/drawing/2017/decorative" val="1"/>
              </a:ext>
            </a:extLst>
          </p:cNvPr>
          <p:cNvSpPr/>
          <p:nvPr userDrawn="1"/>
        </p:nvSpPr>
        <p:spPr bwMode="auto">
          <a:xfrm>
            <a:off x="0" y="1436688"/>
            <a:ext cx="12192000" cy="4646612"/>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46" name="Title 1">
            <a:extLst>
              <a:ext uri="{FF2B5EF4-FFF2-40B4-BE49-F238E27FC236}">
                <a16:creationId xmlns:a16="http://schemas.microsoft.com/office/drawing/2014/main" id="{3AADEA7D-7308-9B45-06B2-B2259E4E7CF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584378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custom layout (Dar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4248CB-5698-FF7B-6538-600BA47353CC}"/>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176B034-901C-1F82-171B-435D2B20F7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9B4DD4E-E67C-34A5-0B30-B4C8CC8A591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7E1302F9-D982-798B-B108-0562122DE58F}"/>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DA5E5E54-5A4D-72A2-EF60-F7EDAA4AF351}"/>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D33A7637-FB0D-5C20-9F4E-6D1A0DB05BB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401B8B9-2B48-8104-29D1-FD6826B8C2FA}"/>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36801F86-C036-250C-71B1-0A0D7EFB2D0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C852F0F2-407E-EBED-3F62-E3D4C1D5BF6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67A2CCF2-B385-EB7E-4059-B2FB601BEAB9}"/>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29E05340-EAB3-BF76-6461-A52DC59EB9A5}"/>
              </a:ext>
              <a:ext uri="{C183D7F6-B498-43B3-948B-1728B52AA6E4}">
                <adec:decorative xmlns:adec="http://schemas.microsoft.com/office/drawing/2017/decorative" val="1"/>
              </a:ext>
            </a:extLst>
          </p:cNvPr>
          <p:cNvSpPr/>
          <p:nvPr userDrawn="1"/>
        </p:nvSpPr>
        <p:spPr bwMode="auto">
          <a:xfrm>
            <a:off x="0" y="1436688"/>
            <a:ext cx="5740400" cy="5113533"/>
          </a:xfrm>
          <a:prstGeom prst="round1Rect">
            <a:avLst>
              <a:gd name="adj" fmla="val 13021"/>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20" name="Rectangle 19">
            <a:extLst>
              <a:ext uri="{FF2B5EF4-FFF2-40B4-BE49-F238E27FC236}">
                <a16:creationId xmlns:a16="http://schemas.microsoft.com/office/drawing/2014/main" id="{429E4EC0-E6DF-0784-45EC-7C4F0CB40D4E}"/>
              </a:ext>
              <a:ext uri="{C183D7F6-B498-43B3-948B-1728B52AA6E4}">
                <adec:decorative xmlns:adec="http://schemas.microsoft.com/office/drawing/2017/decorative" val="1"/>
              </a:ext>
            </a:extLst>
          </p:cNvPr>
          <p:cNvSpPr/>
          <p:nvPr userDrawn="1"/>
        </p:nvSpPr>
        <p:spPr bwMode="auto">
          <a:xfrm rot="5400000" flipH="1">
            <a:off x="5942111" y="608110"/>
            <a:ext cx="307777" cy="12192000"/>
          </a:xfrm>
          <a:prstGeom prst="rect">
            <a:avLst/>
          </a:prstGeom>
          <a:gradFill flip="none" rotWithShape="1">
            <a:gsLst>
              <a:gs pos="35000">
                <a:schemeClr val="tx2"/>
              </a:gs>
              <a:gs pos="100000">
                <a:schemeClr val="tx2">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21" name="Straight Connector 20">
            <a:extLst>
              <a:ext uri="{FF2B5EF4-FFF2-40B4-BE49-F238E27FC236}">
                <a16:creationId xmlns:a16="http://schemas.microsoft.com/office/drawing/2014/main" id="{1485150E-FD47-127E-B673-87034023E3A9}"/>
              </a:ext>
              <a:ext uri="{C183D7F6-B498-43B3-948B-1728B52AA6E4}">
                <adec:decorative xmlns:adec="http://schemas.microsoft.com/office/drawing/2017/decorative" val="1"/>
              </a:ext>
            </a:extLst>
          </p:cNvPr>
          <p:cNvCxnSpPr>
            <a:cxnSpLocks/>
          </p:cNvCxnSpPr>
          <p:nvPr userDrawn="1"/>
        </p:nvCxnSpPr>
        <p:spPr>
          <a:xfrm>
            <a:off x="588263"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3ACBB4-384E-885D-7CBB-FDF6BEECA133}"/>
              </a:ext>
              <a:ext uri="{C183D7F6-B498-43B3-948B-1728B52AA6E4}">
                <adec:decorative xmlns:adec="http://schemas.microsoft.com/office/drawing/2017/decorative" val="1"/>
              </a:ext>
            </a:extLst>
          </p:cNvPr>
          <p:cNvCxnSpPr>
            <a:cxnSpLocks/>
          </p:cNvCxnSpPr>
          <p:nvPr userDrawn="1"/>
        </p:nvCxnSpPr>
        <p:spPr>
          <a:xfrm>
            <a:off x="6242050"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E864A51C-A10A-791A-1F2F-D7F40621687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C5240CBC-7D1F-D0EB-B270-D1A8E397C72E}"/>
              </a:ext>
            </a:extLst>
          </p:cNvPr>
          <p:cNvSpPr>
            <a:spLocks noGrp="1"/>
          </p:cNvSpPr>
          <p:nvPr>
            <p:ph type="body" sz="quarter" idx="25" hasCustomPrompt="1"/>
          </p:nvPr>
        </p:nvSpPr>
        <p:spPr>
          <a:xfrm>
            <a:off x="588263" y="1789499"/>
            <a:ext cx="4710812" cy="4210022"/>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5" name="Text Placeholder 35">
            <a:extLst>
              <a:ext uri="{FF2B5EF4-FFF2-40B4-BE49-F238E27FC236}">
                <a16:creationId xmlns:a16="http://schemas.microsoft.com/office/drawing/2014/main" id="{568557E8-52CA-7494-0F15-97192FF3574B}"/>
              </a:ext>
            </a:extLst>
          </p:cNvPr>
          <p:cNvSpPr>
            <a:spLocks noGrp="1"/>
          </p:cNvSpPr>
          <p:nvPr>
            <p:ph type="body" sz="quarter" idx="21" hasCustomPrompt="1"/>
          </p:nvPr>
        </p:nvSpPr>
        <p:spPr>
          <a:xfrm>
            <a:off x="6242050" y="170926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A24E86BE-7759-B356-C8A8-88ED77B2C491}"/>
              </a:ext>
            </a:extLst>
          </p:cNvPr>
          <p:cNvSpPr>
            <a:spLocks noGrp="1"/>
          </p:cNvSpPr>
          <p:nvPr>
            <p:ph type="body" sz="quarter" idx="26" hasCustomPrompt="1"/>
          </p:nvPr>
        </p:nvSpPr>
        <p:spPr>
          <a:xfrm>
            <a:off x="6242049" y="215847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Text Placeholder 35">
            <a:extLst>
              <a:ext uri="{FF2B5EF4-FFF2-40B4-BE49-F238E27FC236}">
                <a16:creationId xmlns:a16="http://schemas.microsoft.com/office/drawing/2014/main" id="{CCB3333D-D5A8-4332-0DDF-EA9406656A84}"/>
              </a:ext>
            </a:extLst>
          </p:cNvPr>
          <p:cNvSpPr>
            <a:spLocks noGrp="1"/>
          </p:cNvSpPr>
          <p:nvPr>
            <p:ph type="body" sz="quarter" idx="27" hasCustomPrompt="1"/>
          </p:nvPr>
        </p:nvSpPr>
        <p:spPr>
          <a:xfrm>
            <a:off x="6242050" y="404981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EF298AF3-BA50-1E5A-2D87-AD25C976757F}"/>
              </a:ext>
            </a:extLst>
          </p:cNvPr>
          <p:cNvSpPr>
            <a:spLocks noGrp="1"/>
          </p:cNvSpPr>
          <p:nvPr>
            <p:ph type="body" sz="quarter" idx="28" hasCustomPrompt="1"/>
          </p:nvPr>
        </p:nvSpPr>
        <p:spPr>
          <a:xfrm>
            <a:off x="6242049" y="449902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4490634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er story slide (Dar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5216DB-886C-1209-F59E-1FF3A7115660}"/>
              </a:ext>
              <a:ext uri="{C183D7F6-B498-43B3-948B-1728B52AA6E4}">
                <adec:decorative xmlns:adec="http://schemas.microsoft.com/office/drawing/2017/decorative" val="1"/>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B0DF6C4-49F2-30D1-69C3-45FFD14CEDBF}"/>
                </a:ext>
              </a:extLst>
            </p:cNvPr>
            <p:cNvGrpSpPr/>
            <p:nvPr userDrawn="1"/>
          </p:nvGrpSpPr>
          <p:grpSpPr>
            <a:xfrm>
              <a:off x="0" y="0"/>
              <a:ext cx="12192000" cy="6858000"/>
              <a:chOff x="0" y="0"/>
              <a:chExt cx="12192000" cy="6858000"/>
            </a:xfrm>
          </p:grpSpPr>
          <p:pic>
            <p:nvPicPr>
              <p:cNvPr id="32" name="Picture 31" descr="A picture containing blue, electric blue, majorelle blue, blur&#10;&#10;Description automatically generated">
                <a:extLst>
                  <a:ext uri="{FF2B5EF4-FFF2-40B4-BE49-F238E27FC236}">
                    <a16:creationId xmlns:a16="http://schemas.microsoft.com/office/drawing/2014/main" id="{4CC43BD4-1985-F9B3-44AE-6C68FB362A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B4C10C80-D9BE-482B-B12F-DD0965C83419}"/>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FF627A0-12F6-F460-B544-FBB2F7D2A318}"/>
                </a:ext>
              </a:extLst>
            </p:cNvPr>
            <p:cNvGrpSpPr/>
            <p:nvPr userDrawn="1"/>
          </p:nvGrpSpPr>
          <p:grpSpPr>
            <a:xfrm>
              <a:off x="0" y="0"/>
              <a:ext cx="12192000" cy="6858002"/>
              <a:chOff x="0" y="0"/>
              <a:chExt cx="12192000" cy="6858002"/>
            </a:xfrm>
          </p:grpSpPr>
          <p:grpSp>
            <p:nvGrpSpPr>
              <p:cNvPr id="11" name="Group 10">
                <a:extLst>
                  <a:ext uri="{FF2B5EF4-FFF2-40B4-BE49-F238E27FC236}">
                    <a16:creationId xmlns:a16="http://schemas.microsoft.com/office/drawing/2014/main" id="{450D8E45-35B6-B4E2-FDC3-4DF308DB27BA}"/>
                  </a:ext>
                </a:extLst>
              </p:cNvPr>
              <p:cNvGrpSpPr/>
              <p:nvPr/>
            </p:nvGrpSpPr>
            <p:grpSpPr>
              <a:xfrm>
                <a:off x="0" y="0"/>
                <a:ext cx="12192000" cy="6858002"/>
                <a:chOff x="0" y="0"/>
                <a:chExt cx="12192000" cy="6858002"/>
              </a:xfrm>
            </p:grpSpPr>
            <p:grpSp>
              <p:nvGrpSpPr>
                <p:cNvPr id="13" name="Group 12">
                  <a:extLst>
                    <a:ext uri="{FF2B5EF4-FFF2-40B4-BE49-F238E27FC236}">
                      <a16:creationId xmlns:a16="http://schemas.microsoft.com/office/drawing/2014/main" id="{8252B64A-D78A-9FE3-C7E3-3A2E5492F12B}"/>
                    </a:ext>
                  </a:extLst>
                </p:cNvPr>
                <p:cNvGrpSpPr/>
                <p:nvPr/>
              </p:nvGrpSpPr>
              <p:grpSpPr>
                <a:xfrm>
                  <a:off x="9486900" y="0"/>
                  <a:ext cx="2705100" cy="694583"/>
                  <a:chOff x="9486900" y="0"/>
                  <a:chExt cx="2705100" cy="694583"/>
                </a:xfrm>
              </p:grpSpPr>
              <p:sp>
                <p:nvSpPr>
                  <p:cNvPr id="22" name="Freeform: Shape 21">
                    <a:extLst>
                      <a:ext uri="{FF2B5EF4-FFF2-40B4-BE49-F238E27FC236}">
                        <a16:creationId xmlns:a16="http://schemas.microsoft.com/office/drawing/2014/main" id="{3A2A68B5-18BF-DCBE-D545-1F1EEE60858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30000"/>
                      </a:prstClr>
                    </a:outerShdw>
                  </a:effectLst>
                </p:spPr>
                <p:txBody>
                  <a:bodyPr rtlCol="0" anchor="ctr"/>
                  <a:lstStyle/>
                  <a:p>
                    <a:endParaRPr lang="en-US">
                      <a:solidFill>
                        <a:schemeClr val="bg1"/>
                      </a:solidFill>
                    </a:endParaRPr>
                  </a:p>
                </p:txBody>
              </p:sp>
              <p:sp>
                <p:nvSpPr>
                  <p:cNvPr id="31" name="Freeform: Shape 30">
                    <a:extLst>
                      <a:ext uri="{FF2B5EF4-FFF2-40B4-BE49-F238E27FC236}">
                        <a16:creationId xmlns:a16="http://schemas.microsoft.com/office/drawing/2014/main" id="{EC3BC400-28E0-DFD7-A22F-962FB51CAA6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8" name="Freeform: Shape 17">
                  <a:extLst>
                    <a:ext uri="{FF2B5EF4-FFF2-40B4-BE49-F238E27FC236}">
                      <a16:creationId xmlns:a16="http://schemas.microsoft.com/office/drawing/2014/main" id="{86938314-582E-2943-CC2F-39AC385C3C10}"/>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10000"/>
                    </a:prstClr>
                  </a:outerShdw>
                </a:effectLst>
              </p:spPr>
              <p:txBody>
                <a:bodyPr rtlCol="0" anchor="ctr"/>
                <a:lstStyle/>
                <a:p>
                  <a:endParaRPr lang="en-US">
                    <a:solidFill>
                      <a:schemeClr val="bg1"/>
                    </a:solidFill>
                  </a:endParaRPr>
                </a:p>
              </p:txBody>
            </p:sp>
          </p:grpSp>
          <p:sp>
            <p:nvSpPr>
              <p:cNvPr id="12" name="Freeform: Shape 11">
                <a:extLst>
                  <a:ext uri="{FF2B5EF4-FFF2-40B4-BE49-F238E27FC236}">
                    <a16:creationId xmlns:a16="http://schemas.microsoft.com/office/drawing/2014/main" id="{750AE3A2-F49C-48CF-5346-988DA98C4B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50000"/>
                  </a:prstClr>
                </a:outerShdw>
              </a:effectLst>
            </p:spPr>
            <p:txBody>
              <a:bodyPr wrap="square" rtlCol="0" anchor="ctr">
                <a:noAutofit/>
              </a:bodyPr>
              <a:lstStyle/>
              <a:p>
                <a:endParaRPr lang="en-US">
                  <a:solidFill>
                    <a:schemeClr val="bg1"/>
                  </a:solidFill>
                </a:endParaRPr>
              </a:p>
            </p:txBody>
          </p:sp>
        </p:grpSp>
      </p:grpSp>
      <p:sp>
        <p:nvSpPr>
          <p:cNvPr id="7" name="Rectangle: Top Corners Rounded 6">
            <a:extLst>
              <a:ext uri="{FF2B5EF4-FFF2-40B4-BE49-F238E27FC236}">
                <a16:creationId xmlns:a16="http://schemas.microsoft.com/office/drawing/2014/main" id="{CB0B2AFE-795D-9F81-C2DA-BE6BA5909955}"/>
              </a:ext>
              <a:ext uri="{C183D7F6-B498-43B3-948B-1728B52AA6E4}">
                <adec:decorative xmlns:adec="http://schemas.microsoft.com/office/drawing/2017/decorative" val="1"/>
              </a:ext>
            </a:extLst>
          </p:cNvPr>
          <p:cNvSpPr/>
          <p:nvPr userDrawn="1"/>
        </p:nvSpPr>
        <p:spPr bwMode="auto">
          <a:xfrm flipH="1">
            <a:off x="2994654" y="4151782"/>
            <a:ext cx="9211883" cy="2706217"/>
          </a:xfrm>
          <a:prstGeom prst="round2SameRect">
            <a:avLst>
              <a:gd name="adj1" fmla="val 0"/>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 uri="{C183D7F6-B498-43B3-948B-1728B52AA6E4}">
                <adec:decorative xmlns:adec="http://schemas.microsoft.com/office/drawing/2017/decorative" val="1"/>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no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 uri="{C183D7F6-B498-43B3-948B-1728B52AA6E4}">
                <adec:decorative xmlns:adec="http://schemas.microsoft.com/office/drawing/2017/decorative" val="1"/>
              </a:ext>
            </a:extLst>
          </p:cNvPr>
          <p:cNvSpPr/>
          <p:nvPr userDrawn="1"/>
        </p:nvSpPr>
        <p:spPr bwMode="auto">
          <a:xfrm>
            <a:off x="-1" y="0"/>
            <a:ext cx="2994654" cy="685800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IN" err="1"/>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indent="0" algn="ctr">
              <a:buFont typeface="Arial" panose="020B0604020202020204" pitchFamily="34" charset="0"/>
              <a:buNone/>
            </a:pPr>
            <a:endParaRPr lang="en-US">
              <a:solidFill>
                <a:schemeClr val="lt1"/>
              </a:solidFill>
            </a:endParaRPr>
          </a:p>
        </p:txBody>
      </p:sp>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3" name="Text Placeholder 35">
            <a:extLst>
              <a:ext uri="{FF2B5EF4-FFF2-40B4-BE49-F238E27FC236}">
                <a16:creationId xmlns:a16="http://schemas.microsoft.com/office/drawing/2014/main" id="{CB435F08-83C4-6039-9412-D302CC3999B4}"/>
              </a:ext>
            </a:extLst>
          </p:cNvPr>
          <p:cNvSpPr>
            <a:spLocks noGrp="1"/>
          </p:cNvSpPr>
          <p:nvPr>
            <p:ph type="body" sz="quarter" idx="17" hasCustomPrompt="1"/>
          </p:nvPr>
        </p:nvSpPr>
        <p:spPr>
          <a:xfrm>
            <a:off x="292100" y="585789"/>
            <a:ext cx="1437389" cy="438552"/>
          </a:xfrm>
          <a:noFill/>
        </p:spPr>
        <p:txBody>
          <a:bodyPr wrap="square" lIns="0" tIns="0" rIns="0" bIns="0" anchor="ctr">
            <a:noAutofit/>
          </a:bodyPr>
          <a:lstStyle>
            <a:lvl1pPr marL="0" indent="0" algn="ctr">
              <a:spcBef>
                <a:spcPts val="200"/>
              </a:spcBef>
              <a:spcAft>
                <a:spcPts val="200"/>
              </a:spcAft>
              <a:buFont typeface="Arial" panose="020B0604020202020204" pitchFamily="34" charset="0"/>
              <a:buNone/>
              <a:defRPr kumimoji="0" lang="en-US" sz="2000" b="0" i="0" u="none" strike="noStrike" cap="none" spc="300"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LOGO</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37" name="Group 36">
            <a:extLst>
              <a:ext uri="{FF2B5EF4-FFF2-40B4-BE49-F238E27FC236}">
                <a16:creationId xmlns:a16="http://schemas.microsoft.com/office/drawing/2014/main" id="{E4776AAC-9A32-F029-8160-C8B636AF5080}"/>
              </a:ext>
              <a:ext uri="{C183D7F6-B498-43B3-948B-1728B52AA6E4}">
                <adec:decorative xmlns:adec="http://schemas.microsoft.com/office/drawing/2017/decorative" val="1"/>
              </a:ext>
            </a:extLst>
          </p:cNvPr>
          <p:cNvGrpSpPr/>
          <p:nvPr userDrawn="1"/>
        </p:nvGrpSpPr>
        <p:grpSpPr>
          <a:xfrm>
            <a:off x="327695" y="6180906"/>
            <a:ext cx="1554479" cy="343989"/>
            <a:chOff x="327695" y="6180906"/>
            <a:chExt cx="1554479" cy="343989"/>
          </a:xfrm>
        </p:grpSpPr>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268" r="76718"/>
            <a:stretch/>
          </p:blipFill>
          <p:spPr>
            <a:xfrm>
              <a:off x="327695" y="6180906"/>
              <a:ext cx="361915" cy="343989"/>
            </a:xfrm>
            <a:prstGeom prst="rect">
              <a:avLst/>
            </a:prstGeom>
          </p:spPr>
        </p:pic>
        <p:pic>
          <p:nvPicPr>
            <p:cNvPr id="36" name="Graphic 35">
              <a:extLst>
                <a:ext uri="{FF2B5EF4-FFF2-40B4-BE49-F238E27FC236}">
                  <a16:creationId xmlns:a16="http://schemas.microsoft.com/office/drawing/2014/main" id="{90BB7AFC-1C37-439A-40FD-08922295A1B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5488" t="-3268"/>
            <a:stretch/>
          </p:blipFill>
          <p:spPr>
            <a:xfrm>
              <a:off x="723899" y="6180906"/>
              <a:ext cx="1158275" cy="343989"/>
            </a:xfrm>
            <a:prstGeom prst="rect">
              <a:avLst/>
            </a:prstGeom>
          </p:spPr>
        </p:pic>
      </p:grpSp>
      <p:sp>
        <p:nvSpPr>
          <p:cNvPr id="38" name="Text Placeholder 35">
            <a:extLst>
              <a:ext uri="{FF2B5EF4-FFF2-40B4-BE49-F238E27FC236}">
                <a16:creationId xmlns:a16="http://schemas.microsoft.com/office/drawing/2014/main" id="{8FD5FFDC-A6EB-3C87-986F-196C59661E0C}"/>
              </a:ext>
            </a:extLst>
          </p:cNvPr>
          <p:cNvSpPr>
            <a:spLocks noGrp="1"/>
          </p:cNvSpPr>
          <p:nvPr>
            <p:ph type="body" sz="quarter" idx="31" hasCustomPrompt="1"/>
          </p:nvPr>
        </p:nvSpPr>
        <p:spPr>
          <a:xfrm>
            <a:off x="3268758"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54DFE48E-8FCA-F310-ED49-531C1EC2F6C4}"/>
              </a:ext>
            </a:extLst>
          </p:cNvPr>
          <p:cNvSpPr>
            <a:spLocks noGrp="1"/>
          </p:cNvSpPr>
          <p:nvPr>
            <p:ph type="body" sz="quarter" idx="32" hasCustomPrompt="1"/>
          </p:nvPr>
        </p:nvSpPr>
        <p:spPr>
          <a:xfrm>
            <a:off x="6222825"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820F9AEF-BAC6-1441-BB7B-65BCFBABC58E}"/>
              </a:ext>
            </a:extLst>
          </p:cNvPr>
          <p:cNvSpPr>
            <a:spLocks noGrp="1"/>
          </p:cNvSpPr>
          <p:nvPr>
            <p:ph type="body" sz="quarter" idx="33" hasCustomPrompt="1"/>
          </p:nvPr>
        </p:nvSpPr>
        <p:spPr>
          <a:xfrm>
            <a:off x="9176892" y="4279285"/>
            <a:ext cx="2721418" cy="21544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6122518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Images with title slide (Dark)_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55A9151-FF5A-BBFA-FC6F-5C5AE7189D5D}"/>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0A84938D-A507-AB36-62B2-FB59125170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5" name="Picture 4">
              <a:extLst>
                <a:ext uri="{FF2B5EF4-FFF2-40B4-BE49-F238E27FC236}">
                  <a16:creationId xmlns:a16="http://schemas.microsoft.com/office/drawing/2014/main" id="{89728012-CF59-23C4-91FC-A1A5826B8AD1}"/>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6" name="Picture 5">
            <a:extLst>
              <a:ext uri="{FF2B5EF4-FFF2-40B4-BE49-F238E27FC236}">
                <a16:creationId xmlns:a16="http://schemas.microsoft.com/office/drawing/2014/main" id="{83DDF3A7-E272-1CE1-A437-7B26DA334BC1}"/>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3380843"/>
            <a:ext cx="12193057" cy="3504589"/>
          </a:xfrm>
          <a:prstGeom prst="rect">
            <a:avLst/>
          </a:prstGeom>
        </p:spPr>
      </p:pic>
      <p:sp>
        <p:nvSpPr>
          <p:cNvPr id="7" name="Rectangle 6">
            <a:extLst>
              <a:ext uri="{FF2B5EF4-FFF2-40B4-BE49-F238E27FC236}">
                <a16:creationId xmlns:a16="http://schemas.microsoft.com/office/drawing/2014/main" id="{FF640766-8DEA-E672-8D9D-BC44E399AE82}"/>
              </a:ext>
              <a:ext uri="{C183D7F6-B498-43B3-948B-1728B52AA6E4}">
                <adec:decorative xmlns:adec="http://schemas.microsoft.com/office/drawing/2017/decorative" val="1"/>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0C57929-B31F-EF91-FE4E-332BE7BA5E08}"/>
              </a:ext>
              <a:ext uri="{C183D7F6-B498-43B3-948B-1728B52AA6E4}">
                <adec:decorative xmlns:adec="http://schemas.microsoft.com/office/drawing/2017/decorative" val="1"/>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20096B18-4570-3752-4CE0-8EE6264ABCF4}"/>
              </a:ext>
              <a:ext uri="{C183D7F6-B498-43B3-948B-1728B52AA6E4}">
                <adec:decorative xmlns:adec="http://schemas.microsoft.com/office/drawing/2017/decorative" val="1"/>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47FF1D14-F194-9610-B7BB-70F6EC8A1358}"/>
              </a:ext>
              <a:ext uri="{C183D7F6-B498-43B3-948B-1728B52AA6E4}">
                <adec:decorative xmlns:adec="http://schemas.microsoft.com/office/drawing/2017/decorative" val="1"/>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5E0A4AD-4BFA-17D2-AEB6-E0AAA16039C1}"/>
              </a:ext>
              <a:ext uri="{C183D7F6-B498-43B3-948B-1728B52AA6E4}">
                <adec:decorative xmlns:adec="http://schemas.microsoft.com/office/drawing/2017/decorative" val="1"/>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14734127-B7FD-F03F-717F-4565F3FDFF47}"/>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EFB952DC-E675-56C9-318B-BDF9F8A5290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sp>
          <p:nvSpPr>
            <p:cNvPr id="14" name="Freeform: Shape 13">
              <a:extLst>
                <a:ext uri="{FF2B5EF4-FFF2-40B4-BE49-F238E27FC236}">
                  <a16:creationId xmlns:a16="http://schemas.microsoft.com/office/drawing/2014/main" id="{98B78243-DDC4-2C3C-FE6F-24D6F5BFDA0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 name="Title 1">
            <a:extLst>
              <a:ext uri="{FF2B5EF4-FFF2-40B4-BE49-F238E27FC236}">
                <a16:creationId xmlns:a16="http://schemas.microsoft.com/office/drawing/2014/main" id="{CD5F8989-84B4-41C0-9DB0-F9CA38637906}"/>
              </a:ext>
            </a:extLst>
          </p:cNvPr>
          <p:cNvSpPr>
            <a:spLocks noGrp="1"/>
          </p:cNvSpPr>
          <p:nvPr>
            <p:ph type="title"/>
          </p:nvPr>
        </p:nvSpPr>
        <p:spPr>
          <a:xfrm>
            <a:off x="588263" y="885909"/>
            <a:ext cx="11018520" cy="553998"/>
          </a:xfrm>
        </p:spPr>
        <p:txBody>
          <a:bodyPr/>
          <a:lstStyle>
            <a:lvl1pPr algn="ctr">
              <a:defRPr>
                <a:solidFill>
                  <a:schemeClr val="bg1"/>
                </a:solidFill>
              </a:defRPr>
            </a:lvl1pPr>
          </a:lstStyle>
          <a:p>
            <a:r>
              <a:rPr lang="en-US"/>
              <a:t>Click to edit Master title style</a:t>
            </a:r>
            <a:endParaRPr lang="en-IN"/>
          </a:p>
        </p:txBody>
      </p:sp>
      <p:sp>
        <p:nvSpPr>
          <p:cNvPr id="16" name="Picture Placeholder 58">
            <a:extLst>
              <a:ext uri="{FF2B5EF4-FFF2-40B4-BE49-F238E27FC236}">
                <a16:creationId xmlns:a16="http://schemas.microsoft.com/office/drawing/2014/main" id="{A388FA8F-5A7D-02EA-D20F-E4128F5AC089}"/>
              </a:ext>
            </a:extLst>
          </p:cNvPr>
          <p:cNvSpPr>
            <a:spLocks noGrp="1"/>
          </p:cNvSpPr>
          <p:nvPr>
            <p:ph type="pic" sz="quarter" idx="24"/>
          </p:nvPr>
        </p:nvSpPr>
        <p:spPr>
          <a:xfrm>
            <a:off x="5836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7" name="Text Placeholder 35">
            <a:extLst>
              <a:ext uri="{FF2B5EF4-FFF2-40B4-BE49-F238E27FC236}">
                <a16:creationId xmlns:a16="http://schemas.microsoft.com/office/drawing/2014/main" id="{024D7F62-8C18-59AF-ED90-8E11DD462F69}"/>
              </a:ext>
            </a:extLst>
          </p:cNvPr>
          <p:cNvSpPr>
            <a:spLocks noGrp="1"/>
          </p:cNvSpPr>
          <p:nvPr>
            <p:ph type="body" sz="quarter" idx="21" hasCustomPrompt="1"/>
          </p:nvPr>
        </p:nvSpPr>
        <p:spPr>
          <a:xfrm>
            <a:off x="6779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A259161E-A370-C997-516C-3DEB7C87E2F0}"/>
              </a:ext>
            </a:extLst>
          </p:cNvPr>
          <p:cNvSpPr>
            <a:spLocks noGrp="1"/>
          </p:cNvSpPr>
          <p:nvPr>
            <p:ph type="pic" sz="quarter" idx="23"/>
          </p:nvPr>
        </p:nvSpPr>
        <p:spPr>
          <a:xfrm>
            <a:off x="348672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9" name="Text Placeholder 35">
            <a:extLst>
              <a:ext uri="{FF2B5EF4-FFF2-40B4-BE49-F238E27FC236}">
                <a16:creationId xmlns:a16="http://schemas.microsoft.com/office/drawing/2014/main" id="{6E6E7E4D-ED7E-6BDD-1573-0CD3ACA002F1}"/>
              </a:ext>
            </a:extLst>
          </p:cNvPr>
          <p:cNvSpPr>
            <a:spLocks noGrp="1"/>
          </p:cNvSpPr>
          <p:nvPr>
            <p:ph type="body" sz="quarter" idx="26" hasCustomPrompt="1"/>
          </p:nvPr>
        </p:nvSpPr>
        <p:spPr>
          <a:xfrm>
            <a:off x="3580975"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Picture Placeholder 58">
            <a:extLst>
              <a:ext uri="{FF2B5EF4-FFF2-40B4-BE49-F238E27FC236}">
                <a16:creationId xmlns:a16="http://schemas.microsoft.com/office/drawing/2014/main" id="{782DF517-15A7-E94E-11A2-9399257AE7AE}"/>
              </a:ext>
            </a:extLst>
          </p:cNvPr>
          <p:cNvSpPr>
            <a:spLocks noGrp="1"/>
          </p:cNvSpPr>
          <p:nvPr>
            <p:ph type="pic" sz="quarter" idx="22"/>
          </p:nvPr>
        </p:nvSpPr>
        <p:spPr>
          <a:xfrm>
            <a:off x="63897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1" name="Text Placeholder 35">
            <a:extLst>
              <a:ext uri="{FF2B5EF4-FFF2-40B4-BE49-F238E27FC236}">
                <a16:creationId xmlns:a16="http://schemas.microsoft.com/office/drawing/2014/main" id="{11F2FBFA-D4C1-0141-84AC-007BD4491203}"/>
              </a:ext>
            </a:extLst>
          </p:cNvPr>
          <p:cNvSpPr>
            <a:spLocks noGrp="1"/>
          </p:cNvSpPr>
          <p:nvPr>
            <p:ph type="body" sz="quarter" idx="27" hasCustomPrompt="1"/>
          </p:nvPr>
        </p:nvSpPr>
        <p:spPr>
          <a:xfrm>
            <a:off x="64840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3D0BFE87-3D19-052F-136A-56C41D5ACD8A}"/>
              </a:ext>
            </a:extLst>
          </p:cNvPr>
          <p:cNvSpPr>
            <a:spLocks noGrp="1"/>
          </p:cNvSpPr>
          <p:nvPr>
            <p:ph type="pic" sz="quarter" idx="25"/>
          </p:nvPr>
        </p:nvSpPr>
        <p:spPr>
          <a:xfrm>
            <a:off x="9292823"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3" name="Text Placeholder 35">
            <a:extLst>
              <a:ext uri="{FF2B5EF4-FFF2-40B4-BE49-F238E27FC236}">
                <a16:creationId xmlns:a16="http://schemas.microsoft.com/office/drawing/2014/main" id="{A840F39B-BD9C-158B-E796-F5B6CF182C3E}"/>
              </a:ext>
            </a:extLst>
          </p:cNvPr>
          <p:cNvSpPr>
            <a:spLocks noGrp="1"/>
          </p:cNvSpPr>
          <p:nvPr>
            <p:ph type="body" sz="quarter" idx="28" hasCustomPrompt="1"/>
          </p:nvPr>
        </p:nvSpPr>
        <p:spPr>
          <a:xfrm>
            <a:off x="9388093"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158061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Images with title slide (Dark)">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DFFAE00-ADDA-2B85-005F-09E7A4C8202D}"/>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14" name="Picture 13" descr="A picture containing blue, electric blue, majorelle blue, blur&#10;&#10;Description automatically generated">
              <a:extLst>
                <a:ext uri="{FF2B5EF4-FFF2-40B4-BE49-F238E27FC236}">
                  <a16:creationId xmlns:a16="http://schemas.microsoft.com/office/drawing/2014/main" id="{27528F61-87FF-0752-31F1-5C25E7478C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18" name="Picture 17">
              <a:extLst>
                <a:ext uri="{FF2B5EF4-FFF2-40B4-BE49-F238E27FC236}">
                  <a16:creationId xmlns:a16="http://schemas.microsoft.com/office/drawing/2014/main" id="{D90328CB-5CAE-A6FF-358E-183BCD32B9C7}"/>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5181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342121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6324260"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9227311" y="1328644"/>
            <a:ext cx="2445512" cy="2445512"/>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err="1"/>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66266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3" name="Text Placeholder 35">
            <a:extLst>
              <a:ext uri="{FF2B5EF4-FFF2-40B4-BE49-F238E27FC236}">
                <a16:creationId xmlns:a16="http://schemas.microsoft.com/office/drawing/2014/main" id="{CB7BFC61-7233-1806-2967-562E350868C8}"/>
              </a:ext>
            </a:extLst>
          </p:cNvPr>
          <p:cNvSpPr>
            <a:spLocks noGrp="1"/>
          </p:cNvSpPr>
          <p:nvPr>
            <p:ph type="body" sz="quarter" idx="21" hasCustomPrompt="1"/>
          </p:nvPr>
        </p:nvSpPr>
        <p:spPr>
          <a:xfrm>
            <a:off x="5826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 name="Text Placeholder 35">
            <a:extLst>
              <a:ext uri="{FF2B5EF4-FFF2-40B4-BE49-F238E27FC236}">
                <a16:creationId xmlns:a16="http://schemas.microsoft.com/office/drawing/2014/main" id="{CD3FDA3F-1B66-9AFA-1A5C-CC3EF461516A}"/>
              </a:ext>
            </a:extLst>
          </p:cNvPr>
          <p:cNvSpPr>
            <a:spLocks noGrp="1"/>
          </p:cNvSpPr>
          <p:nvPr>
            <p:ph type="body" sz="quarter" idx="29" hasCustomPrompt="1"/>
          </p:nvPr>
        </p:nvSpPr>
        <p:spPr>
          <a:xfrm>
            <a:off x="5826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56571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19" name="Text Placeholder 35">
            <a:extLst>
              <a:ext uri="{FF2B5EF4-FFF2-40B4-BE49-F238E27FC236}">
                <a16:creationId xmlns:a16="http://schemas.microsoft.com/office/drawing/2014/main" id="{95CB8413-C5EF-6665-249C-477E070C20FF}"/>
              </a:ext>
            </a:extLst>
          </p:cNvPr>
          <p:cNvSpPr>
            <a:spLocks noGrp="1"/>
          </p:cNvSpPr>
          <p:nvPr>
            <p:ph type="body" sz="quarter" idx="26" hasCustomPrompt="1"/>
          </p:nvPr>
        </p:nvSpPr>
        <p:spPr>
          <a:xfrm>
            <a:off x="3485662"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 name="Text Placeholder 35">
            <a:extLst>
              <a:ext uri="{FF2B5EF4-FFF2-40B4-BE49-F238E27FC236}">
                <a16:creationId xmlns:a16="http://schemas.microsoft.com/office/drawing/2014/main" id="{2DEF5C95-0772-4C8B-A69A-8392425F4839}"/>
              </a:ext>
            </a:extLst>
          </p:cNvPr>
          <p:cNvSpPr>
            <a:spLocks noGrp="1"/>
          </p:cNvSpPr>
          <p:nvPr>
            <p:ph type="body" sz="quarter" idx="30" hasCustomPrompt="1"/>
          </p:nvPr>
        </p:nvSpPr>
        <p:spPr>
          <a:xfrm>
            <a:off x="3485662"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468765"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dirty="0"/>
            </a:lvl1pPr>
          </a:lstStyle>
          <a:p>
            <a:endParaRPr lang="en-IN"/>
          </a:p>
        </p:txBody>
      </p:sp>
      <p:sp>
        <p:nvSpPr>
          <p:cNvPr id="20" name="Text Placeholder 35">
            <a:extLst>
              <a:ext uri="{FF2B5EF4-FFF2-40B4-BE49-F238E27FC236}">
                <a16:creationId xmlns:a16="http://schemas.microsoft.com/office/drawing/2014/main" id="{ED20114E-7F68-4348-1DDC-C93012CE9B34}"/>
              </a:ext>
            </a:extLst>
          </p:cNvPr>
          <p:cNvSpPr>
            <a:spLocks noGrp="1"/>
          </p:cNvSpPr>
          <p:nvPr>
            <p:ph type="body" sz="quarter" idx="27" hasCustomPrompt="1"/>
          </p:nvPr>
        </p:nvSpPr>
        <p:spPr>
          <a:xfrm>
            <a:off x="6388713"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BA6B6957-0357-2D78-4B70-01490782D2A9}"/>
              </a:ext>
            </a:extLst>
          </p:cNvPr>
          <p:cNvSpPr>
            <a:spLocks noGrp="1"/>
          </p:cNvSpPr>
          <p:nvPr>
            <p:ph type="body" sz="quarter" idx="31" hasCustomPrompt="1"/>
          </p:nvPr>
        </p:nvSpPr>
        <p:spPr>
          <a:xfrm>
            <a:off x="6388713"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371816" y="1473677"/>
            <a:ext cx="2156504" cy="2156504"/>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lang="en-IN" sz="2000"/>
            </a:lvl1pPr>
          </a:lstStyle>
          <a:p>
            <a:endParaRPr lang="en-IN"/>
          </a:p>
        </p:txBody>
      </p:sp>
      <p:sp>
        <p:nvSpPr>
          <p:cNvPr id="21" name="Text Placeholder 35">
            <a:extLst>
              <a:ext uri="{FF2B5EF4-FFF2-40B4-BE49-F238E27FC236}">
                <a16:creationId xmlns:a16="http://schemas.microsoft.com/office/drawing/2014/main" id="{6077B410-07C7-D809-301D-51367049AE9E}"/>
              </a:ext>
            </a:extLst>
          </p:cNvPr>
          <p:cNvSpPr>
            <a:spLocks noGrp="1"/>
          </p:cNvSpPr>
          <p:nvPr>
            <p:ph type="body" sz="quarter" idx="28" hasCustomPrompt="1"/>
          </p:nvPr>
        </p:nvSpPr>
        <p:spPr>
          <a:xfrm>
            <a:off x="9292780" y="4004637"/>
            <a:ext cx="2316608" cy="266808"/>
          </a:xfrm>
          <a:noFill/>
        </p:spPr>
        <p:txBody>
          <a:bodyPr vert="horz" wrap="square" lIns="0" tIns="0" rIns="0" bIns="0" rtlCol="0" anchor="b">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Text Placeholder 35">
            <a:extLst>
              <a:ext uri="{FF2B5EF4-FFF2-40B4-BE49-F238E27FC236}">
                <a16:creationId xmlns:a16="http://schemas.microsoft.com/office/drawing/2014/main" id="{45BFC8E5-28F5-7F26-9151-3CDFE03BDDA7}"/>
              </a:ext>
            </a:extLst>
          </p:cNvPr>
          <p:cNvSpPr>
            <a:spLocks noGrp="1"/>
          </p:cNvSpPr>
          <p:nvPr>
            <p:ph type="body" sz="quarter" idx="32" hasCustomPrompt="1"/>
          </p:nvPr>
        </p:nvSpPr>
        <p:spPr>
          <a:xfrm>
            <a:off x="9292780" y="4373880"/>
            <a:ext cx="2316608" cy="1895158"/>
          </a:xfrm>
          <a:noFill/>
        </p:spPr>
        <p:txBody>
          <a:bodyPr vert="horz" wrap="square" lIns="0" tIns="0" rIns="0" bIns="0" rtlCol="0" anchor="t">
            <a:noAutofit/>
          </a:bodyPr>
          <a:lstStyle>
            <a:lvl1pPr marL="0" indent="0" algn="ctr">
              <a:buNone/>
              <a:defRPr kumimoji="0" lang="en-US" sz="1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284395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 Images with title slide (Dark)">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AE437AAF-49B9-ED6D-66B6-4CEEEE3C3AAF}"/>
              </a:ext>
              <a:ext uri="{C183D7F6-B498-43B3-948B-1728B52AA6E4}">
                <adec:decorative xmlns:adec="http://schemas.microsoft.com/office/drawing/2017/decorative" val="1"/>
              </a:ext>
            </a:extLst>
          </p:cNvPr>
          <p:cNvGrpSpPr/>
          <p:nvPr userDrawn="1"/>
        </p:nvGrpSpPr>
        <p:grpSpPr>
          <a:xfrm>
            <a:off x="0" y="0"/>
            <a:ext cx="12192000" cy="6858000"/>
            <a:chOff x="152400" y="152400"/>
            <a:chExt cx="12192000" cy="6858000"/>
          </a:xfrm>
        </p:grpSpPr>
        <p:pic>
          <p:nvPicPr>
            <p:cNvPr id="21" name="Picture 20" descr="A picture containing blue, electric blue, majorelle blue, blur&#10;&#10;Description automatically generated">
              <a:extLst>
                <a:ext uri="{FF2B5EF4-FFF2-40B4-BE49-F238E27FC236}">
                  <a16:creationId xmlns:a16="http://schemas.microsoft.com/office/drawing/2014/main" id="{6F8DD459-301D-42B7-74AC-F746CB6BCF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pic>
          <p:nvPicPr>
            <p:cNvPr id="31" name="Picture 30">
              <a:extLst>
                <a:ext uri="{FF2B5EF4-FFF2-40B4-BE49-F238E27FC236}">
                  <a16:creationId xmlns:a16="http://schemas.microsoft.com/office/drawing/2014/main" id="{CB4FF100-775E-F111-CD52-9AE0CE27E854}"/>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4" name="Picture 3">
            <a:extLst>
              <a:ext uri="{FF2B5EF4-FFF2-40B4-BE49-F238E27FC236}">
                <a16:creationId xmlns:a16="http://schemas.microsoft.com/office/drawing/2014/main" id="{B91713A6-4CFD-7852-D53E-D2F7EFA96CEB}"/>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2509729"/>
            <a:ext cx="12193057" cy="4348271"/>
          </a:xfrm>
          <a:prstGeom prst="rect">
            <a:avLst/>
          </a:prstGeom>
        </p:spPr>
      </p:pic>
      <p:sp>
        <p:nvSpPr>
          <p:cNvPr id="5" name="Rectangle 4">
            <a:extLst>
              <a:ext uri="{FF2B5EF4-FFF2-40B4-BE49-F238E27FC236}">
                <a16:creationId xmlns:a16="http://schemas.microsoft.com/office/drawing/2014/main" id="{DDF0C499-A5E0-0389-D65C-41EB65E93905}"/>
              </a:ext>
              <a:ext uri="{C183D7F6-B498-43B3-948B-1728B52AA6E4}">
                <adec:decorative xmlns:adec="http://schemas.microsoft.com/office/drawing/2017/decorative" val="1"/>
              </a:ext>
            </a:extLst>
          </p:cNvPr>
          <p:cNvSpPr/>
          <p:nvPr userDrawn="1"/>
        </p:nvSpPr>
        <p:spPr bwMode="auto">
          <a:xfrm>
            <a:off x="0" y="2489529"/>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 uri="{C183D7F6-B498-43B3-948B-1728B52AA6E4}">
                <adec:decorative xmlns:adec="http://schemas.microsoft.com/office/drawing/2017/decorative" val="1"/>
              </a:ext>
            </a:extLst>
          </p:cNvPr>
          <p:cNvSpPr/>
          <p:nvPr userDrawn="1"/>
        </p:nvSpPr>
        <p:spPr bwMode="auto">
          <a:xfrm>
            <a:off x="469676"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 uri="{C183D7F6-B498-43B3-948B-1728B52AA6E4}">
                <adec:decorative xmlns:adec="http://schemas.microsoft.com/office/drawing/2017/decorative" val="1"/>
              </a:ext>
            </a:extLst>
          </p:cNvPr>
          <p:cNvSpPr/>
          <p:nvPr userDrawn="1"/>
        </p:nvSpPr>
        <p:spPr bwMode="auto">
          <a:xfrm>
            <a:off x="2741205"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 uri="{C183D7F6-B498-43B3-948B-1728B52AA6E4}">
                <adec:decorative xmlns:adec="http://schemas.microsoft.com/office/drawing/2017/decorative" val="1"/>
              </a:ext>
            </a:extLst>
          </p:cNvPr>
          <p:cNvSpPr/>
          <p:nvPr userDrawn="1"/>
        </p:nvSpPr>
        <p:spPr bwMode="auto">
          <a:xfrm>
            <a:off x="5012734"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 uri="{C183D7F6-B498-43B3-948B-1728B52AA6E4}">
                <adec:decorative xmlns:adec="http://schemas.microsoft.com/office/drawing/2017/decorative" val="1"/>
              </a:ext>
            </a:extLst>
          </p:cNvPr>
          <p:cNvSpPr/>
          <p:nvPr userDrawn="1"/>
        </p:nvSpPr>
        <p:spPr bwMode="auto">
          <a:xfrm>
            <a:off x="7284263"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 uri="{C183D7F6-B498-43B3-948B-1728B52AA6E4}">
                <adec:decorative xmlns:adec="http://schemas.microsoft.com/office/drawing/2017/decorative" val="1"/>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30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Oval 12">
            <a:extLst>
              <a:ext uri="{FF2B5EF4-FFF2-40B4-BE49-F238E27FC236}">
                <a16:creationId xmlns:a16="http://schemas.microsoft.com/office/drawing/2014/main" id="{CF0C8522-3CB5-3A5C-3CC1-9BB9BF7250E9}"/>
              </a:ext>
              <a:ext uri="{C183D7F6-B498-43B3-948B-1728B52AA6E4}">
                <adec:decorative xmlns:adec="http://schemas.microsoft.com/office/drawing/2017/decorative" val="1"/>
              </a:ext>
            </a:extLst>
          </p:cNvPr>
          <p:cNvSpPr/>
          <p:nvPr userDrawn="1"/>
        </p:nvSpPr>
        <p:spPr bwMode="auto">
          <a:xfrm>
            <a:off x="9555792" y="1463040"/>
            <a:ext cx="2176720" cy="217672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451793"/>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98297"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 name="Text Placeholder 35">
            <a:extLst>
              <a:ext uri="{FF2B5EF4-FFF2-40B4-BE49-F238E27FC236}">
                <a16:creationId xmlns:a16="http://schemas.microsoft.com/office/drawing/2014/main" id="{97A471DB-1DCC-8062-0414-4B5A7AB54B5E}"/>
              </a:ext>
            </a:extLst>
          </p:cNvPr>
          <p:cNvSpPr>
            <a:spLocks noGrp="1"/>
          </p:cNvSpPr>
          <p:nvPr>
            <p:ph type="body" sz="quarter" idx="21" hasCustomPrompt="1"/>
          </p:nvPr>
        </p:nvSpPr>
        <p:spPr>
          <a:xfrm>
            <a:off x="584200" y="3921107"/>
            <a:ext cx="1933578"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90C6ECF6-2CA9-BD12-0EC4-04ED0B510A3F}"/>
              </a:ext>
            </a:extLst>
          </p:cNvPr>
          <p:cNvSpPr>
            <a:spLocks noGrp="1"/>
          </p:cNvSpPr>
          <p:nvPr>
            <p:ph type="body" sz="quarter" idx="29" hasCustomPrompt="1"/>
          </p:nvPr>
        </p:nvSpPr>
        <p:spPr>
          <a:xfrm>
            <a:off x="584200" y="4267200"/>
            <a:ext cx="1933578"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2869826"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2" name="Text Placeholder 35">
            <a:extLst>
              <a:ext uri="{FF2B5EF4-FFF2-40B4-BE49-F238E27FC236}">
                <a16:creationId xmlns:a16="http://schemas.microsoft.com/office/drawing/2014/main" id="{CF76E1A8-FEC4-8F30-3C91-C516F6A3F310}"/>
              </a:ext>
            </a:extLst>
          </p:cNvPr>
          <p:cNvSpPr>
            <a:spLocks noGrp="1"/>
          </p:cNvSpPr>
          <p:nvPr>
            <p:ph type="body" sz="quarter" idx="26" hasCustomPrompt="1"/>
          </p:nvPr>
        </p:nvSpPr>
        <p:spPr>
          <a:xfrm>
            <a:off x="2869826"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C3333A1E-E69C-F7EB-D99C-CF0F53BDF8F0}"/>
              </a:ext>
            </a:extLst>
          </p:cNvPr>
          <p:cNvSpPr>
            <a:spLocks noGrp="1"/>
          </p:cNvSpPr>
          <p:nvPr>
            <p:ph type="body" sz="quarter" idx="30" hasCustomPrompt="1"/>
          </p:nvPr>
        </p:nvSpPr>
        <p:spPr>
          <a:xfrm>
            <a:off x="2869826"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5141355"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3" name="Text Placeholder 35">
            <a:extLst>
              <a:ext uri="{FF2B5EF4-FFF2-40B4-BE49-F238E27FC236}">
                <a16:creationId xmlns:a16="http://schemas.microsoft.com/office/drawing/2014/main" id="{29CC8A25-8282-B793-B8F9-CA7C5F3B42D7}"/>
              </a:ext>
            </a:extLst>
          </p:cNvPr>
          <p:cNvSpPr>
            <a:spLocks noGrp="1"/>
          </p:cNvSpPr>
          <p:nvPr>
            <p:ph type="body" sz="quarter" idx="27" hasCustomPrompt="1"/>
          </p:nvPr>
        </p:nvSpPr>
        <p:spPr>
          <a:xfrm>
            <a:off x="5141355"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E2F40382-3888-9376-FD1C-A3A20E0F82BE}"/>
              </a:ext>
            </a:extLst>
          </p:cNvPr>
          <p:cNvSpPr>
            <a:spLocks noGrp="1"/>
          </p:cNvSpPr>
          <p:nvPr>
            <p:ph type="body" sz="quarter" idx="31" hasCustomPrompt="1"/>
          </p:nvPr>
        </p:nvSpPr>
        <p:spPr>
          <a:xfrm>
            <a:off x="5141355"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7412884"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4" name="Text Placeholder 35">
            <a:extLst>
              <a:ext uri="{FF2B5EF4-FFF2-40B4-BE49-F238E27FC236}">
                <a16:creationId xmlns:a16="http://schemas.microsoft.com/office/drawing/2014/main" id="{76D5CA59-CC08-9768-F7B0-7F0452A8C42F}"/>
              </a:ext>
            </a:extLst>
          </p:cNvPr>
          <p:cNvSpPr>
            <a:spLocks noGrp="1"/>
          </p:cNvSpPr>
          <p:nvPr>
            <p:ph type="body" sz="quarter" idx="28" hasCustomPrompt="1"/>
          </p:nvPr>
        </p:nvSpPr>
        <p:spPr>
          <a:xfrm>
            <a:off x="7412884"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EADDC656-AF20-ADD0-6600-D5B60D058367}"/>
              </a:ext>
            </a:extLst>
          </p:cNvPr>
          <p:cNvSpPr>
            <a:spLocks noGrp="1"/>
          </p:cNvSpPr>
          <p:nvPr>
            <p:ph type="body" sz="quarter" idx="32" hasCustomPrompt="1"/>
          </p:nvPr>
        </p:nvSpPr>
        <p:spPr>
          <a:xfrm>
            <a:off x="7412884"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Picture Placeholder 58">
            <a:extLst>
              <a:ext uri="{FF2B5EF4-FFF2-40B4-BE49-F238E27FC236}">
                <a16:creationId xmlns:a16="http://schemas.microsoft.com/office/drawing/2014/main" id="{4565F35D-0B79-E345-D56C-E4C9C6AE3EFC}"/>
              </a:ext>
            </a:extLst>
          </p:cNvPr>
          <p:cNvSpPr>
            <a:spLocks noGrp="1"/>
          </p:cNvSpPr>
          <p:nvPr>
            <p:ph type="pic" sz="quarter" idx="33"/>
          </p:nvPr>
        </p:nvSpPr>
        <p:spPr>
          <a:xfrm>
            <a:off x="9684413" y="1592190"/>
            <a:ext cx="1919480" cy="1919478"/>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9" name="Text Placeholder 35">
            <a:extLst>
              <a:ext uri="{FF2B5EF4-FFF2-40B4-BE49-F238E27FC236}">
                <a16:creationId xmlns:a16="http://schemas.microsoft.com/office/drawing/2014/main" id="{7E1776C1-1814-EC86-13D2-E6D4F6CB6D2C}"/>
              </a:ext>
            </a:extLst>
          </p:cNvPr>
          <p:cNvSpPr>
            <a:spLocks noGrp="1"/>
          </p:cNvSpPr>
          <p:nvPr>
            <p:ph type="body" sz="quarter" idx="34" hasCustomPrompt="1"/>
          </p:nvPr>
        </p:nvSpPr>
        <p:spPr>
          <a:xfrm>
            <a:off x="9684412" y="3921107"/>
            <a:ext cx="1919481" cy="266808"/>
          </a:xfrm>
          <a:noFill/>
        </p:spPr>
        <p:txBody>
          <a:bodyPr vert="horz" wrap="square" lIns="0" tIns="0" rIns="0" bIns="0" rtlCol="0" anchor="b">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BB1B9FC9-7B57-4F44-F370-731D9B6AD977}"/>
              </a:ext>
            </a:extLst>
          </p:cNvPr>
          <p:cNvSpPr>
            <a:spLocks noGrp="1"/>
          </p:cNvSpPr>
          <p:nvPr>
            <p:ph type="body" sz="quarter" idx="35" hasCustomPrompt="1"/>
          </p:nvPr>
        </p:nvSpPr>
        <p:spPr>
          <a:xfrm>
            <a:off x="9684412" y="4267200"/>
            <a:ext cx="1919481" cy="2001838"/>
          </a:xfrm>
          <a:noFill/>
        </p:spPr>
        <p:txBody>
          <a:bodyPr vert="horz" wrap="square" lIns="0" tIns="0" rIns="0" bIns="0" rtlCol="0" anchor="t">
            <a:noAutofit/>
          </a:bodyPr>
          <a:lstStyle>
            <a:lvl1pPr marL="0" indent="0" algn="ctr">
              <a:buNone/>
              <a:defRPr kumimoji="0" lang="en-US" sz="12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647916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17" Type="http://schemas.openxmlformats.org/officeDocument/2006/relationships/slideLayout" Target="../slideLayouts/slideLayout714.xml"/><Relationship Id="rId21" Type="http://schemas.openxmlformats.org/officeDocument/2006/relationships/slideLayout" Target="../slideLayouts/slideLayout618.xml"/><Relationship Id="rId42" Type="http://schemas.openxmlformats.org/officeDocument/2006/relationships/slideLayout" Target="../slideLayouts/slideLayout639.xml"/><Relationship Id="rId63" Type="http://schemas.openxmlformats.org/officeDocument/2006/relationships/slideLayout" Target="../slideLayouts/slideLayout660.xml"/><Relationship Id="rId84" Type="http://schemas.openxmlformats.org/officeDocument/2006/relationships/slideLayout" Target="../slideLayouts/slideLayout681.xml"/><Relationship Id="rId138" Type="http://schemas.openxmlformats.org/officeDocument/2006/relationships/slideLayout" Target="../slideLayouts/slideLayout735.xml"/><Relationship Id="rId107" Type="http://schemas.openxmlformats.org/officeDocument/2006/relationships/slideLayout" Target="../slideLayouts/slideLayout704.xml"/><Relationship Id="rId11" Type="http://schemas.openxmlformats.org/officeDocument/2006/relationships/slideLayout" Target="../slideLayouts/slideLayout608.xml"/><Relationship Id="rId32" Type="http://schemas.openxmlformats.org/officeDocument/2006/relationships/slideLayout" Target="../slideLayouts/slideLayout629.xml"/><Relationship Id="rId53" Type="http://schemas.openxmlformats.org/officeDocument/2006/relationships/slideLayout" Target="../slideLayouts/slideLayout650.xml"/><Relationship Id="rId74" Type="http://schemas.openxmlformats.org/officeDocument/2006/relationships/slideLayout" Target="../slideLayouts/slideLayout671.xml"/><Relationship Id="rId128" Type="http://schemas.openxmlformats.org/officeDocument/2006/relationships/slideLayout" Target="../slideLayouts/slideLayout725.xml"/><Relationship Id="rId149" Type="http://schemas.openxmlformats.org/officeDocument/2006/relationships/image" Target="../media/image34.png"/><Relationship Id="rId5" Type="http://schemas.openxmlformats.org/officeDocument/2006/relationships/slideLayout" Target="../slideLayouts/slideLayout602.xml"/><Relationship Id="rId95" Type="http://schemas.openxmlformats.org/officeDocument/2006/relationships/slideLayout" Target="../slideLayouts/slideLayout692.xml"/><Relationship Id="rId22" Type="http://schemas.openxmlformats.org/officeDocument/2006/relationships/slideLayout" Target="../slideLayouts/slideLayout619.xml"/><Relationship Id="rId27" Type="http://schemas.openxmlformats.org/officeDocument/2006/relationships/slideLayout" Target="../slideLayouts/slideLayout624.xml"/><Relationship Id="rId43" Type="http://schemas.openxmlformats.org/officeDocument/2006/relationships/slideLayout" Target="../slideLayouts/slideLayout640.xml"/><Relationship Id="rId48" Type="http://schemas.openxmlformats.org/officeDocument/2006/relationships/slideLayout" Target="../slideLayouts/slideLayout645.xml"/><Relationship Id="rId64" Type="http://schemas.openxmlformats.org/officeDocument/2006/relationships/slideLayout" Target="../slideLayouts/slideLayout661.xml"/><Relationship Id="rId69" Type="http://schemas.openxmlformats.org/officeDocument/2006/relationships/slideLayout" Target="../slideLayouts/slideLayout666.xml"/><Relationship Id="rId113" Type="http://schemas.openxmlformats.org/officeDocument/2006/relationships/slideLayout" Target="../slideLayouts/slideLayout710.xml"/><Relationship Id="rId118" Type="http://schemas.openxmlformats.org/officeDocument/2006/relationships/slideLayout" Target="../slideLayouts/slideLayout715.xml"/><Relationship Id="rId134" Type="http://schemas.openxmlformats.org/officeDocument/2006/relationships/slideLayout" Target="../slideLayouts/slideLayout731.xml"/><Relationship Id="rId139" Type="http://schemas.openxmlformats.org/officeDocument/2006/relationships/slideLayout" Target="../slideLayouts/slideLayout736.xml"/><Relationship Id="rId80" Type="http://schemas.openxmlformats.org/officeDocument/2006/relationships/slideLayout" Target="../slideLayouts/slideLayout677.xml"/><Relationship Id="rId85" Type="http://schemas.openxmlformats.org/officeDocument/2006/relationships/slideLayout" Target="../slideLayouts/slideLayout682.xml"/><Relationship Id="rId12" Type="http://schemas.openxmlformats.org/officeDocument/2006/relationships/slideLayout" Target="../slideLayouts/slideLayout609.xml"/><Relationship Id="rId17" Type="http://schemas.openxmlformats.org/officeDocument/2006/relationships/slideLayout" Target="../slideLayouts/slideLayout614.xml"/><Relationship Id="rId33" Type="http://schemas.openxmlformats.org/officeDocument/2006/relationships/slideLayout" Target="../slideLayouts/slideLayout630.xml"/><Relationship Id="rId38" Type="http://schemas.openxmlformats.org/officeDocument/2006/relationships/slideLayout" Target="../slideLayouts/slideLayout635.xml"/><Relationship Id="rId59" Type="http://schemas.openxmlformats.org/officeDocument/2006/relationships/slideLayout" Target="../slideLayouts/slideLayout656.xml"/><Relationship Id="rId103" Type="http://schemas.openxmlformats.org/officeDocument/2006/relationships/slideLayout" Target="../slideLayouts/slideLayout700.xml"/><Relationship Id="rId108" Type="http://schemas.openxmlformats.org/officeDocument/2006/relationships/slideLayout" Target="../slideLayouts/slideLayout705.xml"/><Relationship Id="rId124" Type="http://schemas.openxmlformats.org/officeDocument/2006/relationships/slideLayout" Target="../slideLayouts/slideLayout721.xml"/><Relationship Id="rId129" Type="http://schemas.openxmlformats.org/officeDocument/2006/relationships/slideLayout" Target="../slideLayouts/slideLayout726.xml"/><Relationship Id="rId54" Type="http://schemas.openxmlformats.org/officeDocument/2006/relationships/slideLayout" Target="../slideLayouts/slideLayout651.xml"/><Relationship Id="rId70" Type="http://schemas.openxmlformats.org/officeDocument/2006/relationships/slideLayout" Target="../slideLayouts/slideLayout667.xml"/><Relationship Id="rId75" Type="http://schemas.openxmlformats.org/officeDocument/2006/relationships/slideLayout" Target="../slideLayouts/slideLayout672.xml"/><Relationship Id="rId91" Type="http://schemas.openxmlformats.org/officeDocument/2006/relationships/slideLayout" Target="../slideLayouts/slideLayout688.xml"/><Relationship Id="rId96" Type="http://schemas.openxmlformats.org/officeDocument/2006/relationships/slideLayout" Target="../slideLayouts/slideLayout693.xml"/><Relationship Id="rId140" Type="http://schemas.openxmlformats.org/officeDocument/2006/relationships/slideLayout" Target="../slideLayouts/slideLayout737.xml"/><Relationship Id="rId145" Type="http://schemas.openxmlformats.org/officeDocument/2006/relationships/slideLayout" Target="../slideLayouts/slideLayout742.xml"/><Relationship Id="rId1" Type="http://schemas.openxmlformats.org/officeDocument/2006/relationships/slideLayout" Target="../slideLayouts/slideLayout598.xml"/><Relationship Id="rId6" Type="http://schemas.openxmlformats.org/officeDocument/2006/relationships/slideLayout" Target="../slideLayouts/slideLayout603.xml"/><Relationship Id="rId23" Type="http://schemas.openxmlformats.org/officeDocument/2006/relationships/slideLayout" Target="../slideLayouts/slideLayout620.xml"/><Relationship Id="rId28" Type="http://schemas.openxmlformats.org/officeDocument/2006/relationships/slideLayout" Target="../slideLayouts/slideLayout625.xml"/><Relationship Id="rId49" Type="http://schemas.openxmlformats.org/officeDocument/2006/relationships/slideLayout" Target="../slideLayouts/slideLayout646.xml"/><Relationship Id="rId114" Type="http://schemas.openxmlformats.org/officeDocument/2006/relationships/slideLayout" Target="../slideLayouts/slideLayout711.xml"/><Relationship Id="rId119" Type="http://schemas.openxmlformats.org/officeDocument/2006/relationships/slideLayout" Target="../slideLayouts/slideLayout716.xml"/><Relationship Id="rId44" Type="http://schemas.openxmlformats.org/officeDocument/2006/relationships/slideLayout" Target="../slideLayouts/slideLayout641.xml"/><Relationship Id="rId60" Type="http://schemas.openxmlformats.org/officeDocument/2006/relationships/slideLayout" Target="../slideLayouts/slideLayout657.xml"/><Relationship Id="rId65" Type="http://schemas.openxmlformats.org/officeDocument/2006/relationships/slideLayout" Target="../slideLayouts/slideLayout662.xml"/><Relationship Id="rId81" Type="http://schemas.openxmlformats.org/officeDocument/2006/relationships/slideLayout" Target="../slideLayouts/slideLayout678.xml"/><Relationship Id="rId86" Type="http://schemas.openxmlformats.org/officeDocument/2006/relationships/slideLayout" Target="../slideLayouts/slideLayout683.xml"/><Relationship Id="rId130" Type="http://schemas.openxmlformats.org/officeDocument/2006/relationships/slideLayout" Target="../slideLayouts/slideLayout727.xml"/><Relationship Id="rId135" Type="http://schemas.openxmlformats.org/officeDocument/2006/relationships/slideLayout" Target="../slideLayouts/slideLayout732.xml"/><Relationship Id="rId13" Type="http://schemas.openxmlformats.org/officeDocument/2006/relationships/slideLayout" Target="../slideLayouts/slideLayout610.xml"/><Relationship Id="rId18" Type="http://schemas.openxmlformats.org/officeDocument/2006/relationships/slideLayout" Target="../slideLayouts/slideLayout615.xml"/><Relationship Id="rId39" Type="http://schemas.openxmlformats.org/officeDocument/2006/relationships/slideLayout" Target="../slideLayouts/slideLayout636.xml"/><Relationship Id="rId109" Type="http://schemas.openxmlformats.org/officeDocument/2006/relationships/slideLayout" Target="../slideLayouts/slideLayout706.xml"/><Relationship Id="rId34" Type="http://schemas.openxmlformats.org/officeDocument/2006/relationships/slideLayout" Target="../slideLayouts/slideLayout631.xml"/><Relationship Id="rId50" Type="http://schemas.openxmlformats.org/officeDocument/2006/relationships/slideLayout" Target="../slideLayouts/slideLayout647.xml"/><Relationship Id="rId55" Type="http://schemas.openxmlformats.org/officeDocument/2006/relationships/slideLayout" Target="../slideLayouts/slideLayout652.xml"/><Relationship Id="rId76" Type="http://schemas.openxmlformats.org/officeDocument/2006/relationships/slideLayout" Target="../slideLayouts/slideLayout673.xml"/><Relationship Id="rId97" Type="http://schemas.openxmlformats.org/officeDocument/2006/relationships/slideLayout" Target="../slideLayouts/slideLayout694.xml"/><Relationship Id="rId104" Type="http://schemas.openxmlformats.org/officeDocument/2006/relationships/slideLayout" Target="../slideLayouts/slideLayout701.xml"/><Relationship Id="rId120" Type="http://schemas.openxmlformats.org/officeDocument/2006/relationships/slideLayout" Target="../slideLayouts/slideLayout717.xml"/><Relationship Id="rId125" Type="http://schemas.openxmlformats.org/officeDocument/2006/relationships/slideLayout" Target="../slideLayouts/slideLayout722.xml"/><Relationship Id="rId141" Type="http://schemas.openxmlformats.org/officeDocument/2006/relationships/slideLayout" Target="../slideLayouts/slideLayout738.xml"/><Relationship Id="rId146" Type="http://schemas.openxmlformats.org/officeDocument/2006/relationships/slideLayout" Target="../slideLayouts/slideLayout743.xml"/><Relationship Id="rId7" Type="http://schemas.openxmlformats.org/officeDocument/2006/relationships/slideLayout" Target="../slideLayouts/slideLayout604.xml"/><Relationship Id="rId71" Type="http://schemas.openxmlformats.org/officeDocument/2006/relationships/slideLayout" Target="../slideLayouts/slideLayout668.xml"/><Relationship Id="rId92" Type="http://schemas.openxmlformats.org/officeDocument/2006/relationships/slideLayout" Target="../slideLayouts/slideLayout689.xml"/><Relationship Id="rId2" Type="http://schemas.openxmlformats.org/officeDocument/2006/relationships/slideLayout" Target="../slideLayouts/slideLayout599.xml"/><Relationship Id="rId29" Type="http://schemas.openxmlformats.org/officeDocument/2006/relationships/slideLayout" Target="../slideLayouts/slideLayout626.xml"/><Relationship Id="rId24" Type="http://schemas.openxmlformats.org/officeDocument/2006/relationships/slideLayout" Target="../slideLayouts/slideLayout621.xml"/><Relationship Id="rId40" Type="http://schemas.openxmlformats.org/officeDocument/2006/relationships/slideLayout" Target="../slideLayouts/slideLayout637.xml"/><Relationship Id="rId45" Type="http://schemas.openxmlformats.org/officeDocument/2006/relationships/slideLayout" Target="../slideLayouts/slideLayout642.xml"/><Relationship Id="rId66" Type="http://schemas.openxmlformats.org/officeDocument/2006/relationships/slideLayout" Target="../slideLayouts/slideLayout663.xml"/><Relationship Id="rId87" Type="http://schemas.openxmlformats.org/officeDocument/2006/relationships/slideLayout" Target="../slideLayouts/slideLayout684.xml"/><Relationship Id="rId110" Type="http://schemas.openxmlformats.org/officeDocument/2006/relationships/slideLayout" Target="../slideLayouts/slideLayout707.xml"/><Relationship Id="rId115" Type="http://schemas.openxmlformats.org/officeDocument/2006/relationships/slideLayout" Target="../slideLayouts/slideLayout712.xml"/><Relationship Id="rId131" Type="http://schemas.openxmlformats.org/officeDocument/2006/relationships/slideLayout" Target="../slideLayouts/slideLayout728.xml"/><Relationship Id="rId136" Type="http://schemas.openxmlformats.org/officeDocument/2006/relationships/slideLayout" Target="../slideLayouts/slideLayout733.xml"/><Relationship Id="rId61" Type="http://schemas.openxmlformats.org/officeDocument/2006/relationships/slideLayout" Target="../slideLayouts/slideLayout658.xml"/><Relationship Id="rId82" Type="http://schemas.openxmlformats.org/officeDocument/2006/relationships/slideLayout" Target="../slideLayouts/slideLayout679.xml"/><Relationship Id="rId19" Type="http://schemas.openxmlformats.org/officeDocument/2006/relationships/slideLayout" Target="../slideLayouts/slideLayout616.xml"/><Relationship Id="rId14" Type="http://schemas.openxmlformats.org/officeDocument/2006/relationships/slideLayout" Target="../slideLayouts/slideLayout611.xml"/><Relationship Id="rId30" Type="http://schemas.openxmlformats.org/officeDocument/2006/relationships/slideLayout" Target="../slideLayouts/slideLayout627.xml"/><Relationship Id="rId35" Type="http://schemas.openxmlformats.org/officeDocument/2006/relationships/slideLayout" Target="../slideLayouts/slideLayout632.xml"/><Relationship Id="rId56" Type="http://schemas.openxmlformats.org/officeDocument/2006/relationships/slideLayout" Target="../slideLayouts/slideLayout653.xml"/><Relationship Id="rId77" Type="http://schemas.openxmlformats.org/officeDocument/2006/relationships/slideLayout" Target="../slideLayouts/slideLayout674.xml"/><Relationship Id="rId100" Type="http://schemas.openxmlformats.org/officeDocument/2006/relationships/slideLayout" Target="../slideLayouts/slideLayout697.xml"/><Relationship Id="rId105" Type="http://schemas.openxmlformats.org/officeDocument/2006/relationships/slideLayout" Target="../slideLayouts/slideLayout702.xml"/><Relationship Id="rId126" Type="http://schemas.openxmlformats.org/officeDocument/2006/relationships/slideLayout" Target="../slideLayouts/slideLayout723.xml"/><Relationship Id="rId147" Type="http://schemas.openxmlformats.org/officeDocument/2006/relationships/slideLayout" Target="../slideLayouts/slideLayout744.xml"/><Relationship Id="rId8" Type="http://schemas.openxmlformats.org/officeDocument/2006/relationships/slideLayout" Target="../slideLayouts/slideLayout605.xml"/><Relationship Id="rId51" Type="http://schemas.openxmlformats.org/officeDocument/2006/relationships/slideLayout" Target="../slideLayouts/slideLayout648.xml"/><Relationship Id="rId72" Type="http://schemas.openxmlformats.org/officeDocument/2006/relationships/slideLayout" Target="../slideLayouts/slideLayout669.xml"/><Relationship Id="rId93" Type="http://schemas.openxmlformats.org/officeDocument/2006/relationships/slideLayout" Target="../slideLayouts/slideLayout690.xml"/><Relationship Id="rId98" Type="http://schemas.openxmlformats.org/officeDocument/2006/relationships/slideLayout" Target="../slideLayouts/slideLayout695.xml"/><Relationship Id="rId121" Type="http://schemas.openxmlformats.org/officeDocument/2006/relationships/slideLayout" Target="../slideLayouts/slideLayout718.xml"/><Relationship Id="rId142" Type="http://schemas.openxmlformats.org/officeDocument/2006/relationships/slideLayout" Target="../slideLayouts/slideLayout739.xml"/><Relationship Id="rId3" Type="http://schemas.openxmlformats.org/officeDocument/2006/relationships/slideLayout" Target="../slideLayouts/slideLayout600.xml"/><Relationship Id="rId25" Type="http://schemas.openxmlformats.org/officeDocument/2006/relationships/slideLayout" Target="../slideLayouts/slideLayout622.xml"/><Relationship Id="rId46" Type="http://schemas.openxmlformats.org/officeDocument/2006/relationships/slideLayout" Target="../slideLayouts/slideLayout643.xml"/><Relationship Id="rId67" Type="http://schemas.openxmlformats.org/officeDocument/2006/relationships/slideLayout" Target="../slideLayouts/slideLayout664.xml"/><Relationship Id="rId116" Type="http://schemas.openxmlformats.org/officeDocument/2006/relationships/slideLayout" Target="../slideLayouts/slideLayout713.xml"/><Relationship Id="rId137" Type="http://schemas.openxmlformats.org/officeDocument/2006/relationships/slideLayout" Target="../slideLayouts/slideLayout734.xml"/><Relationship Id="rId20" Type="http://schemas.openxmlformats.org/officeDocument/2006/relationships/slideLayout" Target="../slideLayouts/slideLayout617.xml"/><Relationship Id="rId41" Type="http://schemas.openxmlformats.org/officeDocument/2006/relationships/slideLayout" Target="../slideLayouts/slideLayout638.xml"/><Relationship Id="rId62" Type="http://schemas.openxmlformats.org/officeDocument/2006/relationships/slideLayout" Target="../slideLayouts/slideLayout659.xml"/><Relationship Id="rId83" Type="http://schemas.openxmlformats.org/officeDocument/2006/relationships/slideLayout" Target="../slideLayouts/slideLayout680.xml"/><Relationship Id="rId88" Type="http://schemas.openxmlformats.org/officeDocument/2006/relationships/slideLayout" Target="../slideLayouts/slideLayout685.xml"/><Relationship Id="rId111" Type="http://schemas.openxmlformats.org/officeDocument/2006/relationships/slideLayout" Target="../slideLayouts/slideLayout708.xml"/><Relationship Id="rId132" Type="http://schemas.openxmlformats.org/officeDocument/2006/relationships/slideLayout" Target="../slideLayouts/slideLayout729.xml"/><Relationship Id="rId15" Type="http://schemas.openxmlformats.org/officeDocument/2006/relationships/slideLayout" Target="../slideLayouts/slideLayout612.xml"/><Relationship Id="rId36" Type="http://schemas.openxmlformats.org/officeDocument/2006/relationships/slideLayout" Target="../slideLayouts/slideLayout633.xml"/><Relationship Id="rId57" Type="http://schemas.openxmlformats.org/officeDocument/2006/relationships/slideLayout" Target="../slideLayouts/slideLayout654.xml"/><Relationship Id="rId106" Type="http://schemas.openxmlformats.org/officeDocument/2006/relationships/slideLayout" Target="../slideLayouts/slideLayout703.xml"/><Relationship Id="rId127" Type="http://schemas.openxmlformats.org/officeDocument/2006/relationships/slideLayout" Target="../slideLayouts/slideLayout724.xml"/><Relationship Id="rId10" Type="http://schemas.openxmlformats.org/officeDocument/2006/relationships/slideLayout" Target="../slideLayouts/slideLayout607.xml"/><Relationship Id="rId31" Type="http://schemas.openxmlformats.org/officeDocument/2006/relationships/slideLayout" Target="../slideLayouts/slideLayout628.xml"/><Relationship Id="rId52" Type="http://schemas.openxmlformats.org/officeDocument/2006/relationships/slideLayout" Target="../slideLayouts/slideLayout649.xml"/><Relationship Id="rId73" Type="http://schemas.openxmlformats.org/officeDocument/2006/relationships/slideLayout" Target="../slideLayouts/slideLayout670.xml"/><Relationship Id="rId78" Type="http://schemas.openxmlformats.org/officeDocument/2006/relationships/slideLayout" Target="../slideLayouts/slideLayout675.xml"/><Relationship Id="rId94" Type="http://schemas.openxmlformats.org/officeDocument/2006/relationships/slideLayout" Target="../slideLayouts/slideLayout691.xml"/><Relationship Id="rId99" Type="http://schemas.openxmlformats.org/officeDocument/2006/relationships/slideLayout" Target="../slideLayouts/slideLayout696.xml"/><Relationship Id="rId101" Type="http://schemas.openxmlformats.org/officeDocument/2006/relationships/slideLayout" Target="../slideLayouts/slideLayout698.xml"/><Relationship Id="rId122" Type="http://schemas.openxmlformats.org/officeDocument/2006/relationships/slideLayout" Target="../slideLayouts/slideLayout719.xml"/><Relationship Id="rId143" Type="http://schemas.openxmlformats.org/officeDocument/2006/relationships/slideLayout" Target="../slideLayouts/slideLayout740.xml"/><Relationship Id="rId148" Type="http://schemas.openxmlformats.org/officeDocument/2006/relationships/theme" Target="../theme/theme10.xml"/><Relationship Id="rId4" Type="http://schemas.openxmlformats.org/officeDocument/2006/relationships/slideLayout" Target="../slideLayouts/slideLayout601.xml"/><Relationship Id="rId9" Type="http://schemas.openxmlformats.org/officeDocument/2006/relationships/slideLayout" Target="../slideLayouts/slideLayout606.xml"/><Relationship Id="rId26" Type="http://schemas.openxmlformats.org/officeDocument/2006/relationships/slideLayout" Target="../slideLayouts/slideLayout623.xml"/><Relationship Id="rId47" Type="http://schemas.openxmlformats.org/officeDocument/2006/relationships/slideLayout" Target="../slideLayouts/slideLayout644.xml"/><Relationship Id="rId68" Type="http://schemas.openxmlformats.org/officeDocument/2006/relationships/slideLayout" Target="../slideLayouts/slideLayout665.xml"/><Relationship Id="rId89" Type="http://schemas.openxmlformats.org/officeDocument/2006/relationships/slideLayout" Target="../slideLayouts/slideLayout686.xml"/><Relationship Id="rId112" Type="http://schemas.openxmlformats.org/officeDocument/2006/relationships/slideLayout" Target="../slideLayouts/slideLayout709.xml"/><Relationship Id="rId133" Type="http://schemas.openxmlformats.org/officeDocument/2006/relationships/slideLayout" Target="../slideLayouts/slideLayout730.xml"/><Relationship Id="rId16" Type="http://schemas.openxmlformats.org/officeDocument/2006/relationships/slideLayout" Target="../slideLayouts/slideLayout613.xml"/><Relationship Id="rId37" Type="http://schemas.openxmlformats.org/officeDocument/2006/relationships/slideLayout" Target="../slideLayouts/slideLayout634.xml"/><Relationship Id="rId58" Type="http://schemas.openxmlformats.org/officeDocument/2006/relationships/slideLayout" Target="../slideLayouts/slideLayout655.xml"/><Relationship Id="rId79" Type="http://schemas.openxmlformats.org/officeDocument/2006/relationships/slideLayout" Target="../slideLayouts/slideLayout676.xml"/><Relationship Id="rId102" Type="http://schemas.openxmlformats.org/officeDocument/2006/relationships/slideLayout" Target="../slideLayouts/slideLayout699.xml"/><Relationship Id="rId123" Type="http://schemas.openxmlformats.org/officeDocument/2006/relationships/slideLayout" Target="../slideLayouts/slideLayout720.xml"/><Relationship Id="rId144" Type="http://schemas.openxmlformats.org/officeDocument/2006/relationships/slideLayout" Target="../slideLayouts/slideLayout741.xml"/><Relationship Id="rId90" Type="http://schemas.openxmlformats.org/officeDocument/2006/relationships/slideLayout" Target="../slideLayouts/slideLayout68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image" Target="../media/image2.svg"/><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51" Type="http://schemas.openxmlformats.org/officeDocument/2006/relationships/theme" Target="../theme/theme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7.xml"/><Relationship Id="rId21" Type="http://schemas.openxmlformats.org/officeDocument/2006/relationships/slideLayout" Target="../slideLayouts/slideLayout82.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63" Type="http://schemas.openxmlformats.org/officeDocument/2006/relationships/slideLayout" Target="../slideLayouts/slideLayout124.xml"/><Relationship Id="rId68" Type="http://schemas.openxmlformats.org/officeDocument/2006/relationships/slideLayout" Target="../slideLayouts/slideLayout129.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slideLayout" Target="../slideLayouts/slideLayout119.xml"/><Relationship Id="rId66" Type="http://schemas.openxmlformats.org/officeDocument/2006/relationships/slideLayout" Target="../slideLayouts/slideLayout127.xml"/><Relationship Id="rId5" Type="http://schemas.openxmlformats.org/officeDocument/2006/relationships/slideLayout" Target="../slideLayouts/slideLayout66.xml"/><Relationship Id="rId61" Type="http://schemas.openxmlformats.org/officeDocument/2006/relationships/slideLayout" Target="../slideLayouts/slideLayout122.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slideLayout" Target="../slideLayouts/slideLayout117.xml"/><Relationship Id="rId64" Type="http://schemas.openxmlformats.org/officeDocument/2006/relationships/slideLayout" Target="../slideLayouts/slideLayout125.xml"/><Relationship Id="rId69" Type="http://schemas.openxmlformats.org/officeDocument/2006/relationships/slideLayout" Target="../slideLayouts/slideLayout130.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72" Type="http://schemas.openxmlformats.org/officeDocument/2006/relationships/theme" Target="../theme/theme3.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slideLayout" Target="../slideLayouts/slideLayout120.xml"/><Relationship Id="rId67" Type="http://schemas.openxmlformats.org/officeDocument/2006/relationships/slideLayout" Target="../slideLayouts/slideLayout128.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62" Type="http://schemas.openxmlformats.org/officeDocument/2006/relationships/slideLayout" Target="../slideLayouts/slideLayout123.xml"/><Relationship Id="rId70" Type="http://schemas.openxmlformats.org/officeDocument/2006/relationships/slideLayout" Target="../slideLayouts/slideLayout13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slideLayout" Target="../slideLayouts/slideLayout118.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slideLayout" Target="../slideLayouts/slideLayout121.xml"/><Relationship Id="rId65" Type="http://schemas.openxmlformats.org/officeDocument/2006/relationships/slideLayout" Target="../slideLayouts/slideLayout126.xml"/><Relationship Id="rId73" Type="http://schemas.openxmlformats.org/officeDocument/2006/relationships/image" Target="../media/image34.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9" Type="http://schemas.openxmlformats.org/officeDocument/2006/relationships/slideLayout" Target="../slideLayouts/slideLayout100.xml"/><Relationship Id="rId34" Type="http://schemas.openxmlformats.org/officeDocument/2006/relationships/slideLayout" Target="../slideLayouts/slideLayout95.xml"/><Relationship Id="rId50" Type="http://schemas.openxmlformats.org/officeDocument/2006/relationships/slideLayout" Target="../slideLayouts/slideLayout111.xml"/><Relationship Id="rId55" Type="http://schemas.openxmlformats.org/officeDocument/2006/relationships/slideLayout" Target="../slideLayouts/slideLayout116.xml"/><Relationship Id="rId7" Type="http://schemas.openxmlformats.org/officeDocument/2006/relationships/slideLayout" Target="../slideLayouts/slideLayout68.xml"/><Relationship Id="rId71" Type="http://schemas.openxmlformats.org/officeDocument/2006/relationships/slideLayout" Target="../slideLayouts/slideLayout1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2.svg"/><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image" Target="../media/image1.png"/><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image" Target="../media/image89.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image" Target="../media/image88.jpeg"/><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theme" Target="../theme/theme4.xml"/><Relationship Id="rId8" Type="http://schemas.openxmlformats.org/officeDocument/2006/relationships/slideLayout" Target="../slideLayouts/slideLayout140.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278.xml"/><Relationship Id="rId21" Type="http://schemas.openxmlformats.org/officeDocument/2006/relationships/slideLayout" Target="../slideLayouts/slideLayout182.xml"/><Relationship Id="rId42" Type="http://schemas.openxmlformats.org/officeDocument/2006/relationships/slideLayout" Target="../slideLayouts/slideLayout203.xml"/><Relationship Id="rId63" Type="http://schemas.openxmlformats.org/officeDocument/2006/relationships/slideLayout" Target="../slideLayouts/slideLayout224.xml"/><Relationship Id="rId84" Type="http://schemas.openxmlformats.org/officeDocument/2006/relationships/slideLayout" Target="../slideLayouts/slideLayout245.xml"/><Relationship Id="rId138" Type="http://schemas.openxmlformats.org/officeDocument/2006/relationships/image" Target="../media/image93.png"/><Relationship Id="rId16" Type="http://schemas.openxmlformats.org/officeDocument/2006/relationships/slideLayout" Target="../slideLayouts/slideLayout177.xml"/><Relationship Id="rId107" Type="http://schemas.openxmlformats.org/officeDocument/2006/relationships/slideLayout" Target="../slideLayouts/slideLayout268.xml"/><Relationship Id="rId11" Type="http://schemas.openxmlformats.org/officeDocument/2006/relationships/slideLayout" Target="../slideLayouts/slideLayout172.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53" Type="http://schemas.openxmlformats.org/officeDocument/2006/relationships/slideLayout" Target="../slideLayouts/slideLayout214.xml"/><Relationship Id="rId58" Type="http://schemas.openxmlformats.org/officeDocument/2006/relationships/slideLayout" Target="../slideLayouts/slideLayout219.xml"/><Relationship Id="rId74" Type="http://schemas.openxmlformats.org/officeDocument/2006/relationships/slideLayout" Target="../slideLayouts/slideLayout235.xml"/><Relationship Id="rId79" Type="http://schemas.openxmlformats.org/officeDocument/2006/relationships/slideLayout" Target="../slideLayouts/slideLayout240.xml"/><Relationship Id="rId102" Type="http://schemas.openxmlformats.org/officeDocument/2006/relationships/slideLayout" Target="../slideLayouts/slideLayout263.xml"/><Relationship Id="rId123" Type="http://schemas.openxmlformats.org/officeDocument/2006/relationships/slideLayout" Target="../slideLayouts/slideLayout284.xml"/><Relationship Id="rId128" Type="http://schemas.openxmlformats.org/officeDocument/2006/relationships/slideLayout" Target="../slideLayouts/slideLayout289.xml"/><Relationship Id="rId5" Type="http://schemas.openxmlformats.org/officeDocument/2006/relationships/slideLayout" Target="../slideLayouts/slideLayout166.xml"/><Relationship Id="rId90" Type="http://schemas.openxmlformats.org/officeDocument/2006/relationships/slideLayout" Target="../slideLayouts/slideLayout251.xml"/><Relationship Id="rId95" Type="http://schemas.openxmlformats.org/officeDocument/2006/relationships/slideLayout" Target="../slideLayouts/slideLayout256.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64" Type="http://schemas.openxmlformats.org/officeDocument/2006/relationships/slideLayout" Target="../slideLayouts/slideLayout225.xml"/><Relationship Id="rId69" Type="http://schemas.openxmlformats.org/officeDocument/2006/relationships/slideLayout" Target="../slideLayouts/slideLayout230.xml"/><Relationship Id="rId113" Type="http://schemas.openxmlformats.org/officeDocument/2006/relationships/slideLayout" Target="../slideLayouts/slideLayout274.xml"/><Relationship Id="rId118" Type="http://schemas.openxmlformats.org/officeDocument/2006/relationships/slideLayout" Target="../slideLayouts/slideLayout279.xml"/><Relationship Id="rId134" Type="http://schemas.openxmlformats.org/officeDocument/2006/relationships/slideLayout" Target="../slideLayouts/slideLayout295.xml"/><Relationship Id="rId139" Type="http://schemas.openxmlformats.org/officeDocument/2006/relationships/image" Target="../media/image1.png"/><Relationship Id="rId80" Type="http://schemas.openxmlformats.org/officeDocument/2006/relationships/slideLayout" Target="../slideLayouts/slideLayout241.xml"/><Relationship Id="rId85" Type="http://schemas.openxmlformats.org/officeDocument/2006/relationships/slideLayout" Target="../slideLayouts/slideLayout246.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59" Type="http://schemas.openxmlformats.org/officeDocument/2006/relationships/slideLayout" Target="../slideLayouts/slideLayout220.xml"/><Relationship Id="rId103" Type="http://schemas.openxmlformats.org/officeDocument/2006/relationships/slideLayout" Target="../slideLayouts/slideLayout264.xml"/><Relationship Id="rId108" Type="http://schemas.openxmlformats.org/officeDocument/2006/relationships/slideLayout" Target="../slideLayouts/slideLayout269.xml"/><Relationship Id="rId124" Type="http://schemas.openxmlformats.org/officeDocument/2006/relationships/slideLayout" Target="../slideLayouts/slideLayout285.xml"/><Relationship Id="rId129" Type="http://schemas.openxmlformats.org/officeDocument/2006/relationships/slideLayout" Target="../slideLayouts/slideLayout290.xml"/><Relationship Id="rId54" Type="http://schemas.openxmlformats.org/officeDocument/2006/relationships/slideLayout" Target="../slideLayouts/slideLayout215.xml"/><Relationship Id="rId70" Type="http://schemas.openxmlformats.org/officeDocument/2006/relationships/slideLayout" Target="../slideLayouts/slideLayout231.xml"/><Relationship Id="rId75" Type="http://schemas.openxmlformats.org/officeDocument/2006/relationships/slideLayout" Target="../slideLayouts/slideLayout236.xml"/><Relationship Id="rId91" Type="http://schemas.openxmlformats.org/officeDocument/2006/relationships/slideLayout" Target="../slideLayouts/slideLayout252.xml"/><Relationship Id="rId96" Type="http://schemas.openxmlformats.org/officeDocument/2006/relationships/slideLayout" Target="../slideLayouts/slideLayout257.xml"/><Relationship Id="rId140" Type="http://schemas.openxmlformats.org/officeDocument/2006/relationships/image" Target="../media/image2.svg"/><Relationship Id="rId1" Type="http://schemas.openxmlformats.org/officeDocument/2006/relationships/slideLayout" Target="../slideLayouts/slideLayout162.xml"/><Relationship Id="rId6" Type="http://schemas.openxmlformats.org/officeDocument/2006/relationships/slideLayout" Target="../slideLayouts/slideLayout167.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49" Type="http://schemas.openxmlformats.org/officeDocument/2006/relationships/slideLayout" Target="../slideLayouts/slideLayout210.xml"/><Relationship Id="rId114" Type="http://schemas.openxmlformats.org/officeDocument/2006/relationships/slideLayout" Target="../slideLayouts/slideLayout275.xml"/><Relationship Id="rId119" Type="http://schemas.openxmlformats.org/officeDocument/2006/relationships/slideLayout" Target="../slideLayouts/slideLayout280.xml"/><Relationship Id="rId44" Type="http://schemas.openxmlformats.org/officeDocument/2006/relationships/slideLayout" Target="../slideLayouts/slideLayout205.xml"/><Relationship Id="rId60" Type="http://schemas.openxmlformats.org/officeDocument/2006/relationships/slideLayout" Target="../slideLayouts/slideLayout221.xml"/><Relationship Id="rId65" Type="http://schemas.openxmlformats.org/officeDocument/2006/relationships/slideLayout" Target="../slideLayouts/slideLayout226.xml"/><Relationship Id="rId81" Type="http://schemas.openxmlformats.org/officeDocument/2006/relationships/slideLayout" Target="../slideLayouts/slideLayout242.xml"/><Relationship Id="rId86" Type="http://schemas.openxmlformats.org/officeDocument/2006/relationships/slideLayout" Target="../slideLayouts/slideLayout247.xml"/><Relationship Id="rId130" Type="http://schemas.openxmlformats.org/officeDocument/2006/relationships/slideLayout" Target="../slideLayouts/slideLayout291.xml"/><Relationship Id="rId135" Type="http://schemas.openxmlformats.org/officeDocument/2006/relationships/slideLayout" Target="../slideLayouts/slideLayout296.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9" Type="http://schemas.openxmlformats.org/officeDocument/2006/relationships/slideLayout" Target="../slideLayouts/slideLayout200.xml"/><Relationship Id="rId109" Type="http://schemas.openxmlformats.org/officeDocument/2006/relationships/slideLayout" Target="../slideLayouts/slideLayout270.xml"/><Relationship Id="rId34" Type="http://schemas.openxmlformats.org/officeDocument/2006/relationships/slideLayout" Target="../slideLayouts/slideLayout195.xml"/><Relationship Id="rId50" Type="http://schemas.openxmlformats.org/officeDocument/2006/relationships/slideLayout" Target="../slideLayouts/slideLayout211.xml"/><Relationship Id="rId55" Type="http://schemas.openxmlformats.org/officeDocument/2006/relationships/slideLayout" Target="../slideLayouts/slideLayout216.xml"/><Relationship Id="rId76" Type="http://schemas.openxmlformats.org/officeDocument/2006/relationships/slideLayout" Target="../slideLayouts/slideLayout237.xml"/><Relationship Id="rId97" Type="http://schemas.openxmlformats.org/officeDocument/2006/relationships/slideLayout" Target="../slideLayouts/slideLayout258.xml"/><Relationship Id="rId104" Type="http://schemas.openxmlformats.org/officeDocument/2006/relationships/slideLayout" Target="../slideLayouts/slideLayout265.xml"/><Relationship Id="rId120" Type="http://schemas.openxmlformats.org/officeDocument/2006/relationships/slideLayout" Target="../slideLayouts/slideLayout281.xml"/><Relationship Id="rId125" Type="http://schemas.openxmlformats.org/officeDocument/2006/relationships/slideLayout" Target="../slideLayouts/slideLayout286.xml"/><Relationship Id="rId7" Type="http://schemas.openxmlformats.org/officeDocument/2006/relationships/slideLayout" Target="../slideLayouts/slideLayout168.xml"/><Relationship Id="rId71" Type="http://schemas.openxmlformats.org/officeDocument/2006/relationships/slideLayout" Target="../slideLayouts/slideLayout232.xml"/><Relationship Id="rId92" Type="http://schemas.openxmlformats.org/officeDocument/2006/relationships/slideLayout" Target="../slideLayouts/slideLayout253.xml"/><Relationship Id="rId2" Type="http://schemas.openxmlformats.org/officeDocument/2006/relationships/slideLayout" Target="../slideLayouts/slideLayout163.xml"/><Relationship Id="rId29" Type="http://schemas.openxmlformats.org/officeDocument/2006/relationships/slideLayout" Target="../slideLayouts/slideLayout190.xml"/><Relationship Id="rId24" Type="http://schemas.openxmlformats.org/officeDocument/2006/relationships/slideLayout" Target="../slideLayouts/slideLayout185.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66" Type="http://schemas.openxmlformats.org/officeDocument/2006/relationships/slideLayout" Target="../slideLayouts/slideLayout227.xml"/><Relationship Id="rId87" Type="http://schemas.openxmlformats.org/officeDocument/2006/relationships/slideLayout" Target="../slideLayouts/slideLayout248.xml"/><Relationship Id="rId110" Type="http://schemas.openxmlformats.org/officeDocument/2006/relationships/slideLayout" Target="../slideLayouts/slideLayout271.xml"/><Relationship Id="rId115" Type="http://schemas.openxmlformats.org/officeDocument/2006/relationships/slideLayout" Target="../slideLayouts/slideLayout276.xml"/><Relationship Id="rId131" Type="http://schemas.openxmlformats.org/officeDocument/2006/relationships/slideLayout" Target="../slideLayouts/slideLayout292.xml"/><Relationship Id="rId136" Type="http://schemas.openxmlformats.org/officeDocument/2006/relationships/slideLayout" Target="../slideLayouts/slideLayout297.xml"/><Relationship Id="rId61" Type="http://schemas.openxmlformats.org/officeDocument/2006/relationships/slideLayout" Target="../slideLayouts/slideLayout222.xml"/><Relationship Id="rId82" Type="http://schemas.openxmlformats.org/officeDocument/2006/relationships/slideLayout" Target="../slideLayouts/slideLayout243.xml"/><Relationship Id="rId19" Type="http://schemas.openxmlformats.org/officeDocument/2006/relationships/slideLayout" Target="../slideLayouts/slideLayout180.xml"/><Relationship Id="rId14" Type="http://schemas.openxmlformats.org/officeDocument/2006/relationships/slideLayout" Target="../slideLayouts/slideLayout175.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56" Type="http://schemas.openxmlformats.org/officeDocument/2006/relationships/slideLayout" Target="../slideLayouts/slideLayout217.xml"/><Relationship Id="rId77" Type="http://schemas.openxmlformats.org/officeDocument/2006/relationships/slideLayout" Target="../slideLayouts/slideLayout238.xml"/><Relationship Id="rId100" Type="http://schemas.openxmlformats.org/officeDocument/2006/relationships/slideLayout" Target="../slideLayouts/slideLayout261.xml"/><Relationship Id="rId105" Type="http://schemas.openxmlformats.org/officeDocument/2006/relationships/slideLayout" Target="../slideLayouts/slideLayout266.xml"/><Relationship Id="rId126" Type="http://schemas.openxmlformats.org/officeDocument/2006/relationships/slideLayout" Target="../slideLayouts/slideLayout287.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72" Type="http://schemas.openxmlformats.org/officeDocument/2006/relationships/slideLayout" Target="../slideLayouts/slideLayout233.xml"/><Relationship Id="rId93" Type="http://schemas.openxmlformats.org/officeDocument/2006/relationships/slideLayout" Target="../slideLayouts/slideLayout254.xml"/><Relationship Id="rId98" Type="http://schemas.openxmlformats.org/officeDocument/2006/relationships/slideLayout" Target="../slideLayouts/slideLayout259.xml"/><Relationship Id="rId121" Type="http://schemas.openxmlformats.org/officeDocument/2006/relationships/slideLayout" Target="../slideLayouts/slideLayout282.xml"/><Relationship Id="rId3" Type="http://schemas.openxmlformats.org/officeDocument/2006/relationships/slideLayout" Target="../slideLayouts/slideLayout164.xml"/><Relationship Id="rId25" Type="http://schemas.openxmlformats.org/officeDocument/2006/relationships/slideLayout" Target="../slideLayouts/slideLayout186.xml"/><Relationship Id="rId46" Type="http://schemas.openxmlformats.org/officeDocument/2006/relationships/slideLayout" Target="../slideLayouts/slideLayout207.xml"/><Relationship Id="rId67" Type="http://schemas.openxmlformats.org/officeDocument/2006/relationships/slideLayout" Target="../slideLayouts/slideLayout228.xml"/><Relationship Id="rId116" Type="http://schemas.openxmlformats.org/officeDocument/2006/relationships/slideLayout" Target="../slideLayouts/slideLayout277.xml"/><Relationship Id="rId137" Type="http://schemas.openxmlformats.org/officeDocument/2006/relationships/theme" Target="../theme/theme5.xml"/><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62" Type="http://schemas.openxmlformats.org/officeDocument/2006/relationships/slideLayout" Target="../slideLayouts/slideLayout223.xml"/><Relationship Id="rId83" Type="http://schemas.openxmlformats.org/officeDocument/2006/relationships/slideLayout" Target="../slideLayouts/slideLayout244.xml"/><Relationship Id="rId88" Type="http://schemas.openxmlformats.org/officeDocument/2006/relationships/slideLayout" Target="../slideLayouts/slideLayout249.xml"/><Relationship Id="rId111" Type="http://schemas.openxmlformats.org/officeDocument/2006/relationships/slideLayout" Target="../slideLayouts/slideLayout272.xml"/><Relationship Id="rId132" Type="http://schemas.openxmlformats.org/officeDocument/2006/relationships/slideLayout" Target="../slideLayouts/slideLayout293.xml"/><Relationship Id="rId15" Type="http://schemas.openxmlformats.org/officeDocument/2006/relationships/slideLayout" Target="../slideLayouts/slideLayout176.xml"/><Relationship Id="rId36" Type="http://schemas.openxmlformats.org/officeDocument/2006/relationships/slideLayout" Target="../slideLayouts/slideLayout197.xml"/><Relationship Id="rId57" Type="http://schemas.openxmlformats.org/officeDocument/2006/relationships/slideLayout" Target="../slideLayouts/slideLayout218.xml"/><Relationship Id="rId106" Type="http://schemas.openxmlformats.org/officeDocument/2006/relationships/slideLayout" Target="../slideLayouts/slideLayout267.xml"/><Relationship Id="rId127" Type="http://schemas.openxmlformats.org/officeDocument/2006/relationships/slideLayout" Target="../slideLayouts/slideLayout288.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52" Type="http://schemas.openxmlformats.org/officeDocument/2006/relationships/slideLayout" Target="../slideLayouts/slideLayout213.xml"/><Relationship Id="rId73" Type="http://schemas.openxmlformats.org/officeDocument/2006/relationships/slideLayout" Target="../slideLayouts/slideLayout234.xml"/><Relationship Id="rId78" Type="http://schemas.openxmlformats.org/officeDocument/2006/relationships/slideLayout" Target="../slideLayouts/slideLayout239.xml"/><Relationship Id="rId94" Type="http://schemas.openxmlformats.org/officeDocument/2006/relationships/slideLayout" Target="../slideLayouts/slideLayout255.xml"/><Relationship Id="rId99" Type="http://schemas.openxmlformats.org/officeDocument/2006/relationships/slideLayout" Target="../slideLayouts/slideLayout260.xml"/><Relationship Id="rId101" Type="http://schemas.openxmlformats.org/officeDocument/2006/relationships/slideLayout" Target="../slideLayouts/slideLayout262.xml"/><Relationship Id="rId122" Type="http://schemas.openxmlformats.org/officeDocument/2006/relationships/slideLayout" Target="../slideLayouts/slideLayout283.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26" Type="http://schemas.openxmlformats.org/officeDocument/2006/relationships/slideLayout" Target="../slideLayouts/slideLayout187.xml"/><Relationship Id="rId47" Type="http://schemas.openxmlformats.org/officeDocument/2006/relationships/slideLayout" Target="../slideLayouts/slideLayout208.xml"/><Relationship Id="rId68" Type="http://schemas.openxmlformats.org/officeDocument/2006/relationships/slideLayout" Target="../slideLayouts/slideLayout229.xml"/><Relationship Id="rId89" Type="http://schemas.openxmlformats.org/officeDocument/2006/relationships/slideLayout" Target="../slideLayouts/slideLayout250.xml"/><Relationship Id="rId112" Type="http://schemas.openxmlformats.org/officeDocument/2006/relationships/slideLayout" Target="../slideLayouts/slideLayout273.xml"/><Relationship Id="rId133" Type="http://schemas.openxmlformats.org/officeDocument/2006/relationships/slideLayout" Target="../slideLayouts/slideLayout294.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414.xml"/><Relationship Id="rId21" Type="http://schemas.openxmlformats.org/officeDocument/2006/relationships/slideLayout" Target="../slideLayouts/slideLayout318.xml"/><Relationship Id="rId42" Type="http://schemas.openxmlformats.org/officeDocument/2006/relationships/slideLayout" Target="../slideLayouts/slideLayout339.xml"/><Relationship Id="rId63" Type="http://schemas.openxmlformats.org/officeDocument/2006/relationships/slideLayout" Target="../slideLayouts/slideLayout360.xml"/><Relationship Id="rId84" Type="http://schemas.openxmlformats.org/officeDocument/2006/relationships/slideLayout" Target="../slideLayouts/slideLayout381.xml"/><Relationship Id="rId16" Type="http://schemas.openxmlformats.org/officeDocument/2006/relationships/slideLayout" Target="../slideLayouts/slideLayout313.xml"/><Relationship Id="rId107" Type="http://schemas.openxmlformats.org/officeDocument/2006/relationships/slideLayout" Target="../slideLayouts/slideLayout404.xml"/><Relationship Id="rId11" Type="http://schemas.openxmlformats.org/officeDocument/2006/relationships/slideLayout" Target="../slideLayouts/slideLayout308.xml"/><Relationship Id="rId32" Type="http://schemas.openxmlformats.org/officeDocument/2006/relationships/slideLayout" Target="../slideLayouts/slideLayout329.xml"/><Relationship Id="rId37" Type="http://schemas.openxmlformats.org/officeDocument/2006/relationships/slideLayout" Target="../slideLayouts/slideLayout334.xml"/><Relationship Id="rId53" Type="http://schemas.openxmlformats.org/officeDocument/2006/relationships/slideLayout" Target="../slideLayouts/slideLayout350.xml"/><Relationship Id="rId58" Type="http://schemas.openxmlformats.org/officeDocument/2006/relationships/slideLayout" Target="../slideLayouts/slideLayout355.xml"/><Relationship Id="rId74" Type="http://schemas.openxmlformats.org/officeDocument/2006/relationships/slideLayout" Target="../slideLayouts/slideLayout371.xml"/><Relationship Id="rId79" Type="http://schemas.openxmlformats.org/officeDocument/2006/relationships/slideLayout" Target="../slideLayouts/slideLayout376.xml"/><Relationship Id="rId102" Type="http://schemas.openxmlformats.org/officeDocument/2006/relationships/slideLayout" Target="../slideLayouts/slideLayout399.xml"/><Relationship Id="rId123" Type="http://schemas.openxmlformats.org/officeDocument/2006/relationships/slideLayout" Target="../slideLayouts/slideLayout420.xml"/><Relationship Id="rId128" Type="http://schemas.openxmlformats.org/officeDocument/2006/relationships/slideLayout" Target="../slideLayouts/slideLayout425.xml"/><Relationship Id="rId5" Type="http://schemas.openxmlformats.org/officeDocument/2006/relationships/slideLayout" Target="../slideLayouts/slideLayout302.xml"/><Relationship Id="rId90" Type="http://schemas.openxmlformats.org/officeDocument/2006/relationships/slideLayout" Target="../slideLayouts/slideLayout387.xml"/><Relationship Id="rId95" Type="http://schemas.openxmlformats.org/officeDocument/2006/relationships/slideLayout" Target="../slideLayouts/slideLayout392.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43" Type="http://schemas.openxmlformats.org/officeDocument/2006/relationships/slideLayout" Target="../slideLayouts/slideLayout340.xml"/><Relationship Id="rId48" Type="http://schemas.openxmlformats.org/officeDocument/2006/relationships/slideLayout" Target="../slideLayouts/slideLayout345.xml"/><Relationship Id="rId64" Type="http://schemas.openxmlformats.org/officeDocument/2006/relationships/slideLayout" Target="../slideLayouts/slideLayout361.xml"/><Relationship Id="rId69" Type="http://schemas.openxmlformats.org/officeDocument/2006/relationships/slideLayout" Target="../slideLayouts/slideLayout366.xml"/><Relationship Id="rId113" Type="http://schemas.openxmlformats.org/officeDocument/2006/relationships/slideLayout" Target="../slideLayouts/slideLayout410.xml"/><Relationship Id="rId118" Type="http://schemas.openxmlformats.org/officeDocument/2006/relationships/slideLayout" Target="../slideLayouts/slideLayout415.xml"/><Relationship Id="rId134" Type="http://schemas.openxmlformats.org/officeDocument/2006/relationships/image" Target="../media/image93.png"/><Relationship Id="rId80" Type="http://schemas.openxmlformats.org/officeDocument/2006/relationships/slideLayout" Target="../slideLayouts/slideLayout377.xml"/><Relationship Id="rId85" Type="http://schemas.openxmlformats.org/officeDocument/2006/relationships/slideLayout" Target="../slideLayouts/slideLayout382.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33" Type="http://schemas.openxmlformats.org/officeDocument/2006/relationships/slideLayout" Target="../slideLayouts/slideLayout330.xml"/><Relationship Id="rId38" Type="http://schemas.openxmlformats.org/officeDocument/2006/relationships/slideLayout" Target="../slideLayouts/slideLayout335.xml"/><Relationship Id="rId59" Type="http://schemas.openxmlformats.org/officeDocument/2006/relationships/slideLayout" Target="../slideLayouts/slideLayout356.xml"/><Relationship Id="rId103" Type="http://schemas.openxmlformats.org/officeDocument/2006/relationships/slideLayout" Target="../slideLayouts/slideLayout400.xml"/><Relationship Id="rId108" Type="http://schemas.openxmlformats.org/officeDocument/2006/relationships/slideLayout" Target="../slideLayouts/slideLayout405.xml"/><Relationship Id="rId124" Type="http://schemas.openxmlformats.org/officeDocument/2006/relationships/slideLayout" Target="../slideLayouts/slideLayout421.xml"/><Relationship Id="rId129" Type="http://schemas.openxmlformats.org/officeDocument/2006/relationships/slideLayout" Target="../slideLayouts/slideLayout426.xml"/><Relationship Id="rId54" Type="http://schemas.openxmlformats.org/officeDocument/2006/relationships/slideLayout" Target="../slideLayouts/slideLayout351.xml"/><Relationship Id="rId70" Type="http://schemas.openxmlformats.org/officeDocument/2006/relationships/slideLayout" Target="../slideLayouts/slideLayout367.xml"/><Relationship Id="rId75" Type="http://schemas.openxmlformats.org/officeDocument/2006/relationships/slideLayout" Target="../slideLayouts/slideLayout372.xml"/><Relationship Id="rId91" Type="http://schemas.openxmlformats.org/officeDocument/2006/relationships/slideLayout" Target="../slideLayouts/slideLayout388.xml"/><Relationship Id="rId96" Type="http://schemas.openxmlformats.org/officeDocument/2006/relationships/slideLayout" Target="../slideLayouts/slideLayout393.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49" Type="http://schemas.openxmlformats.org/officeDocument/2006/relationships/slideLayout" Target="../slideLayouts/slideLayout346.xml"/><Relationship Id="rId114" Type="http://schemas.openxmlformats.org/officeDocument/2006/relationships/slideLayout" Target="../slideLayouts/slideLayout411.xml"/><Relationship Id="rId119" Type="http://schemas.openxmlformats.org/officeDocument/2006/relationships/slideLayout" Target="../slideLayouts/slideLayout416.xml"/><Relationship Id="rId44" Type="http://schemas.openxmlformats.org/officeDocument/2006/relationships/slideLayout" Target="../slideLayouts/slideLayout341.xml"/><Relationship Id="rId60" Type="http://schemas.openxmlformats.org/officeDocument/2006/relationships/slideLayout" Target="../slideLayouts/slideLayout357.xml"/><Relationship Id="rId65" Type="http://schemas.openxmlformats.org/officeDocument/2006/relationships/slideLayout" Target="../slideLayouts/slideLayout362.xml"/><Relationship Id="rId81" Type="http://schemas.openxmlformats.org/officeDocument/2006/relationships/slideLayout" Target="../slideLayouts/slideLayout378.xml"/><Relationship Id="rId86" Type="http://schemas.openxmlformats.org/officeDocument/2006/relationships/slideLayout" Target="../slideLayouts/slideLayout383.xml"/><Relationship Id="rId130" Type="http://schemas.openxmlformats.org/officeDocument/2006/relationships/slideLayout" Target="../slideLayouts/slideLayout427.xml"/><Relationship Id="rId135" Type="http://schemas.openxmlformats.org/officeDocument/2006/relationships/image" Target="../media/image1.png"/><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39" Type="http://schemas.openxmlformats.org/officeDocument/2006/relationships/slideLayout" Target="../slideLayouts/slideLayout336.xml"/><Relationship Id="rId109" Type="http://schemas.openxmlformats.org/officeDocument/2006/relationships/slideLayout" Target="../slideLayouts/slideLayout406.xml"/><Relationship Id="rId34" Type="http://schemas.openxmlformats.org/officeDocument/2006/relationships/slideLayout" Target="../slideLayouts/slideLayout331.xml"/><Relationship Id="rId50" Type="http://schemas.openxmlformats.org/officeDocument/2006/relationships/slideLayout" Target="../slideLayouts/slideLayout347.xml"/><Relationship Id="rId55" Type="http://schemas.openxmlformats.org/officeDocument/2006/relationships/slideLayout" Target="../slideLayouts/slideLayout352.xml"/><Relationship Id="rId76" Type="http://schemas.openxmlformats.org/officeDocument/2006/relationships/slideLayout" Target="../slideLayouts/slideLayout373.xml"/><Relationship Id="rId97" Type="http://schemas.openxmlformats.org/officeDocument/2006/relationships/slideLayout" Target="../slideLayouts/slideLayout394.xml"/><Relationship Id="rId104" Type="http://schemas.openxmlformats.org/officeDocument/2006/relationships/slideLayout" Target="../slideLayouts/slideLayout401.xml"/><Relationship Id="rId120" Type="http://schemas.openxmlformats.org/officeDocument/2006/relationships/slideLayout" Target="../slideLayouts/slideLayout417.xml"/><Relationship Id="rId125" Type="http://schemas.openxmlformats.org/officeDocument/2006/relationships/slideLayout" Target="../slideLayouts/slideLayout422.xml"/><Relationship Id="rId7" Type="http://schemas.openxmlformats.org/officeDocument/2006/relationships/slideLayout" Target="../slideLayouts/slideLayout304.xml"/><Relationship Id="rId71" Type="http://schemas.openxmlformats.org/officeDocument/2006/relationships/slideLayout" Target="../slideLayouts/slideLayout368.xml"/><Relationship Id="rId92" Type="http://schemas.openxmlformats.org/officeDocument/2006/relationships/slideLayout" Target="../slideLayouts/slideLayout389.xml"/><Relationship Id="rId2" Type="http://schemas.openxmlformats.org/officeDocument/2006/relationships/slideLayout" Target="../slideLayouts/slideLayout299.xml"/><Relationship Id="rId29" Type="http://schemas.openxmlformats.org/officeDocument/2006/relationships/slideLayout" Target="../slideLayouts/slideLayout326.xml"/><Relationship Id="rId24" Type="http://schemas.openxmlformats.org/officeDocument/2006/relationships/slideLayout" Target="../slideLayouts/slideLayout321.xml"/><Relationship Id="rId40" Type="http://schemas.openxmlformats.org/officeDocument/2006/relationships/slideLayout" Target="../slideLayouts/slideLayout337.xml"/><Relationship Id="rId45" Type="http://schemas.openxmlformats.org/officeDocument/2006/relationships/slideLayout" Target="../slideLayouts/slideLayout342.xml"/><Relationship Id="rId66" Type="http://schemas.openxmlformats.org/officeDocument/2006/relationships/slideLayout" Target="../slideLayouts/slideLayout363.xml"/><Relationship Id="rId87" Type="http://schemas.openxmlformats.org/officeDocument/2006/relationships/slideLayout" Target="../slideLayouts/slideLayout384.xml"/><Relationship Id="rId110" Type="http://schemas.openxmlformats.org/officeDocument/2006/relationships/slideLayout" Target="../slideLayouts/slideLayout407.xml"/><Relationship Id="rId115" Type="http://schemas.openxmlformats.org/officeDocument/2006/relationships/slideLayout" Target="../slideLayouts/slideLayout412.xml"/><Relationship Id="rId131" Type="http://schemas.openxmlformats.org/officeDocument/2006/relationships/slideLayout" Target="../slideLayouts/slideLayout428.xml"/><Relationship Id="rId136" Type="http://schemas.openxmlformats.org/officeDocument/2006/relationships/image" Target="../media/image2.svg"/><Relationship Id="rId61" Type="http://schemas.openxmlformats.org/officeDocument/2006/relationships/slideLayout" Target="../slideLayouts/slideLayout358.xml"/><Relationship Id="rId82" Type="http://schemas.openxmlformats.org/officeDocument/2006/relationships/slideLayout" Target="../slideLayouts/slideLayout379.xml"/><Relationship Id="rId19" Type="http://schemas.openxmlformats.org/officeDocument/2006/relationships/slideLayout" Target="../slideLayouts/slideLayout316.xml"/><Relationship Id="rId14" Type="http://schemas.openxmlformats.org/officeDocument/2006/relationships/slideLayout" Target="../slideLayouts/slideLayout311.xml"/><Relationship Id="rId30" Type="http://schemas.openxmlformats.org/officeDocument/2006/relationships/slideLayout" Target="../slideLayouts/slideLayout327.xml"/><Relationship Id="rId35" Type="http://schemas.openxmlformats.org/officeDocument/2006/relationships/slideLayout" Target="../slideLayouts/slideLayout332.xml"/><Relationship Id="rId56" Type="http://schemas.openxmlformats.org/officeDocument/2006/relationships/slideLayout" Target="../slideLayouts/slideLayout353.xml"/><Relationship Id="rId77" Type="http://schemas.openxmlformats.org/officeDocument/2006/relationships/slideLayout" Target="../slideLayouts/slideLayout374.xml"/><Relationship Id="rId100" Type="http://schemas.openxmlformats.org/officeDocument/2006/relationships/slideLayout" Target="../slideLayouts/slideLayout397.xml"/><Relationship Id="rId105" Type="http://schemas.openxmlformats.org/officeDocument/2006/relationships/slideLayout" Target="../slideLayouts/slideLayout402.xml"/><Relationship Id="rId126" Type="http://schemas.openxmlformats.org/officeDocument/2006/relationships/slideLayout" Target="../slideLayouts/slideLayout423.xml"/><Relationship Id="rId8" Type="http://schemas.openxmlformats.org/officeDocument/2006/relationships/slideLayout" Target="../slideLayouts/slideLayout305.xml"/><Relationship Id="rId51" Type="http://schemas.openxmlformats.org/officeDocument/2006/relationships/slideLayout" Target="../slideLayouts/slideLayout348.xml"/><Relationship Id="rId72" Type="http://schemas.openxmlformats.org/officeDocument/2006/relationships/slideLayout" Target="../slideLayouts/slideLayout369.xml"/><Relationship Id="rId93" Type="http://schemas.openxmlformats.org/officeDocument/2006/relationships/slideLayout" Target="../slideLayouts/slideLayout390.xml"/><Relationship Id="rId98" Type="http://schemas.openxmlformats.org/officeDocument/2006/relationships/slideLayout" Target="../slideLayouts/slideLayout395.xml"/><Relationship Id="rId121" Type="http://schemas.openxmlformats.org/officeDocument/2006/relationships/slideLayout" Target="../slideLayouts/slideLayout418.xml"/><Relationship Id="rId3" Type="http://schemas.openxmlformats.org/officeDocument/2006/relationships/slideLayout" Target="../slideLayouts/slideLayout300.xml"/><Relationship Id="rId25" Type="http://schemas.openxmlformats.org/officeDocument/2006/relationships/slideLayout" Target="../slideLayouts/slideLayout322.xml"/><Relationship Id="rId46" Type="http://schemas.openxmlformats.org/officeDocument/2006/relationships/slideLayout" Target="../slideLayouts/slideLayout343.xml"/><Relationship Id="rId67" Type="http://schemas.openxmlformats.org/officeDocument/2006/relationships/slideLayout" Target="../slideLayouts/slideLayout364.xml"/><Relationship Id="rId116" Type="http://schemas.openxmlformats.org/officeDocument/2006/relationships/slideLayout" Target="../slideLayouts/slideLayout413.xml"/><Relationship Id="rId20" Type="http://schemas.openxmlformats.org/officeDocument/2006/relationships/slideLayout" Target="../slideLayouts/slideLayout317.xml"/><Relationship Id="rId41" Type="http://schemas.openxmlformats.org/officeDocument/2006/relationships/slideLayout" Target="../slideLayouts/slideLayout338.xml"/><Relationship Id="rId62" Type="http://schemas.openxmlformats.org/officeDocument/2006/relationships/slideLayout" Target="../slideLayouts/slideLayout359.xml"/><Relationship Id="rId83" Type="http://schemas.openxmlformats.org/officeDocument/2006/relationships/slideLayout" Target="../slideLayouts/slideLayout380.xml"/><Relationship Id="rId88" Type="http://schemas.openxmlformats.org/officeDocument/2006/relationships/slideLayout" Target="../slideLayouts/slideLayout385.xml"/><Relationship Id="rId111" Type="http://schemas.openxmlformats.org/officeDocument/2006/relationships/slideLayout" Target="../slideLayouts/slideLayout408.xml"/><Relationship Id="rId132" Type="http://schemas.openxmlformats.org/officeDocument/2006/relationships/slideLayout" Target="../slideLayouts/slideLayout429.xml"/><Relationship Id="rId15" Type="http://schemas.openxmlformats.org/officeDocument/2006/relationships/slideLayout" Target="../slideLayouts/slideLayout312.xml"/><Relationship Id="rId36" Type="http://schemas.openxmlformats.org/officeDocument/2006/relationships/slideLayout" Target="../slideLayouts/slideLayout333.xml"/><Relationship Id="rId57" Type="http://schemas.openxmlformats.org/officeDocument/2006/relationships/slideLayout" Target="../slideLayouts/slideLayout354.xml"/><Relationship Id="rId106" Type="http://schemas.openxmlformats.org/officeDocument/2006/relationships/slideLayout" Target="../slideLayouts/slideLayout403.xml"/><Relationship Id="rId127" Type="http://schemas.openxmlformats.org/officeDocument/2006/relationships/slideLayout" Target="../slideLayouts/slideLayout424.xml"/><Relationship Id="rId10" Type="http://schemas.openxmlformats.org/officeDocument/2006/relationships/slideLayout" Target="../slideLayouts/slideLayout307.xml"/><Relationship Id="rId31" Type="http://schemas.openxmlformats.org/officeDocument/2006/relationships/slideLayout" Target="../slideLayouts/slideLayout328.xml"/><Relationship Id="rId52" Type="http://schemas.openxmlformats.org/officeDocument/2006/relationships/slideLayout" Target="../slideLayouts/slideLayout349.xml"/><Relationship Id="rId73" Type="http://schemas.openxmlformats.org/officeDocument/2006/relationships/slideLayout" Target="../slideLayouts/slideLayout370.xml"/><Relationship Id="rId78" Type="http://schemas.openxmlformats.org/officeDocument/2006/relationships/slideLayout" Target="../slideLayouts/slideLayout375.xml"/><Relationship Id="rId94" Type="http://schemas.openxmlformats.org/officeDocument/2006/relationships/slideLayout" Target="../slideLayouts/slideLayout391.xml"/><Relationship Id="rId99" Type="http://schemas.openxmlformats.org/officeDocument/2006/relationships/slideLayout" Target="../slideLayouts/slideLayout396.xml"/><Relationship Id="rId101" Type="http://schemas.openxmlformats.org/officeDocument/2006/relationships/slideLayout" Target="../slideLayouts/slideLayout398.xml"/><Relationship Id="rId122" Type="http://schemas.openxmlformats.org/officeDocument/2006/relationships/slideLayout" Target="../slideLayouts/slideLayout419.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26" Type="http://schemas.openxmlformats.org/officeDocument/2006/relationships/slideLayout" Target="../slideLayouts/slideLayout323.xml"/><Relationship Id="rId47" Type="http://schemas.openxmlformats.org/officeDocument/2006/relationships/slideLayout" Target="../slideLayouts/slideLayout344.xml"/><Relationship Id="rId68" Type="http://schemas.openxmlformats.org/officeDocument/2006/relationships/slideLayout" Target="../slideLayouts/slideLayout365.xml"/><Relationship Id="rId89" Type="http://schemas.openxmlformats.org/officeDocument/2006/relationships/slideLayout" Target="../slideLayouts/slideLayout386.xml"/><Relationship Id="rId112" Type="http://schemas.openxmlformats.org/officeDocument/2006/relationships/slideLayout" Target="../slideLayouts/slideLayout409.xml"/><Relationship Id="rId13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slideLayout" Target="../slideLayouts/slideLayout442.xml"/><Relationship Id="rId18" Type="http://schemas.openxmlformats.org/officeDocument/2006/relationships/theme" Target="../theme/theme7.xml"/><Relationship Id="rId3" Type="http://schemas.openxmlformats.org/officeDocument/2006/relationships/slideLayout" Target="../slideLayouts/slideLayout432.xml"/><Relationship Id="rId21" Type="http://schemas.openxmlformats.org/officeDocument/2006/relationships/oleObject" Target="../embeddings/oleObject1.bin"/><Relationship Id="rId7" Type="http://schemas.openxmlformats.org/officeDocument/2006/relationships/slideLayout" Target="../slideLayouts/slideLayout436.xml"/><Relationship Id="rId12" Type="http://schemas.openxmlformats.org/officeDocument/2006/relationships/slideLayout" Target="../slideLayouts/slideLayout441.xml"/><Relationship Id="rId17" Type="http://schemas.openxmlformats.org/officeDocument/2006/relationships/slideLayout" Target="../slideLayouts/slideLayout446.xml"/><Relationship Id="rId2" Type="http://schemas.openxmlformats.org/officeDocument/2006/relationships/slideLayout" Target="../slideLayouts/slideLayout431.xml"/><Relationship Id="rId16" Type="http://schemas.openxmlformats.org/officeDocument/2006/relationships/slideLayout" Target="../slideLayouts/slideLayout445.xml"/><Relationship Id="rId20" Type="http://schemas.openxmlformats.org/officeDocument/2006/relationships/image" Target="../media/image93.png"/><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24" Type="http://schemas.openxmlformats.org/officeDocument/2006/relationships/image" Target="../media/image2.svg"/><Relationship Id="rId5" Type="http://schemas.openxmlformats.org/officeDocument/2006/relationships/slideLayout" Target="../slideLayouts/slideLayout434.xml"/><Relationship Id="rId15" Type="http://schemas.openxmlformats.org/officeDocument/2006/relationships/slideLayout" Target="../slideLayouts/slideLayout444.xml"/><Relationship Id="rId23" Type="http://schemas.openxmlformats.org/officeDocument/2006/relationships/image" Target="../media/image1.png"/><Relationship Id="rId10" Type="http://schemas.openxmlformats.org/officeDocument/2006/relationships/slideLayout" Target="../slideLayouts/slideLayout439.xml"/><Relationship Id="rId19" Type="http://schemas.openxmlformats.org/officeDocument/2006/relationships/tags" Target="../tags/tag1.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slideLayout" Target="../slideLayouts/slideLayout443.xml"/><Relationship Id="rId22" Type="http://schemas.openxmlformats.org/officeDocument/2006/relationships/image" Target="../media/image107.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theme" Target="../theme/theme8.xml"/><Relationship Id="rId3" Type="http://schemas.openxmlformats.org/officeDocument/2006/relationships/slideLayout" Target="../slideLayouts/slideLayout449.xml"/><Relationship Id="rId21" Type="http://schemas.openxmlformats.org/officeDocument/2006/relationships/oleObject" Target="../embeddings/oleObject1.bin"/><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image" Target="../media/image93.png"/><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10" Type="http://schemas.openxmlformats.org/officeDocument/2006/relationships/slideLayout" Target="../slideLayouts/slideLayout456.xml"/><Relationship Id="rId19" Type="http://schemas.openxmlformats.org/officeDocument/2006/relationships/tags" Target="../tags/tag2.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image" Target="../media/image107.emf"/></Relationships>
</file>

<file path=ppt/slideMasters/_rels/slideMaster9.xml.rels><?xml version="1.0" encoding="UTF-8" standalone="yes"?>
<Relationships xmlns="http://schemas.openxmlformats.org/package/2006/relationships"><Relationship Id="rId117" Type="http://schemas.openxmlformats.org/officeDocument/2006/relationships/slideLayout" Target="../slideLayouts/slideLayout580.xml"/><Relationship Id="rId21" Type="http://schemas.openxmlformats.org/officeDocument/2006/relationships/slideLayout" Target="../slideLayouts/slideLayout484.xml"/><Relationship Id="rId42" Type="http://schemas.openxmlformats.org/officeDocument/2006/relationships/slideLayout" Target="../slideLayouts/slideLayout505.xml"/><Relationship Id="rId63" Type="http://schemas.openxmlformats.org/officeDocument/2006/relationships/slideLayout" Target="../slideLayouts/slideLayout526.xml"/><Relationship Id="rId84" Type="http://schemas.openxmlformats.org/officeDocument/2006/relationships/slideLayout" Target="../slideLayouts/slideLayout547.xml"/><Relationship Id="rId16" Type="http://schemas.openxmlformats.org/officeDocument/2006/relationships/slideLayout" Target="../slideLayouts/slideLayout479.xml"/><Relationship Id="rId107" Type="http://schemas.openxmlformats.org/officeDocument/2006/relationships/slideLayout" Target="../slideLayouts/slideLayout570.xml"/><Relationship Id="rId11" Type="http://schemas.openxmlformats.org/officeDocument/2006/relationships/slideLayout" Target="../slideLayouts/slideLayout474.xml"/><Relationship Id="rId32" Type="http://schemas.openxmlformats.org/officeDocument/2006/relationships/slideLayout" Target="../slideLayouts/slideLayout495.xml"/><Relationship Id="rId37" Type="http://schemas.openxmlformats.org/officeDocument/2006/relationships/slideLayout" Target="../slideLayouts/slideLayout500.xml"/><Relationship Id="rId53" Type="http://schemas.openxmlformats.org/officeDocument/2006/relationships/slideLayout" Target="../slideLayouts/slideLayout516.xml"/><Relationship Id="rId58" Type="http://schemas.openxmlformats.org/officeDocument/2006/relationships/slideLayout" Target="../slideLayouts/slideLayout521.xml"/><Relationship Id="rId74" Type="http://schemas.openxmlformats.org/officeDocument/2006/relationships/slideLayout" Target="../slideLayouts/slideLayout537.xml"/><Relationship Id="rId79" Type="http://schemas.openxmlformats.org/officeDocument/2006/relationships/slideLayout" Target="../slideLayouts/slideLayout542.xml"/><Relationship Id="rId102" Type="http://schemas.openxmlformats.org/officeDocument/2006/relationships/slideLayout" Target="../slideLayouts/slideLayout565.xml"/><Relationship Id="rId123" Type="http://schemas.openxmlformats.org/officeDocument/2006/relationships/slideLayout" Target="../slideLayouts/slideLayout586.xml"/><Relationship Id="rId128" Type="http://schemas.openxmlformats.org/officeDocument/2006/relationships/slideLayout" Target="../slideLayouts/slideLayout591.xml"/><Relationship Id="rId5" Type="http://schemas.openxmlformats.org/officeDocument/2006/relationships/slideLayout" Target="../slideLayouts/slideLayout468.xml"/><Relationship Id="rId90" Type="http://schemas.openxmlformats.org/officeDocument/2006/relationships/slideLayout" Target="../slideLayouts/slideLayout553.xml"/><Relationship Id="rId95" Type="http://schemas.openxmlformats.org/officeDocument/2006/relationships/slideLayout" Target="../slideLayouts/slideLayout558.xml"/><Relationship Id="rId22" Type="http://schemas.openxmlformats.org/officeDocument/2006/relationships/slideLayout" Target="../slideLayouts/slideLayout485.xml"/><Relationship Id="rId27" Type="http://schemas.openxmlformats.org/officeDocument/2006/relationships/slideLayout" Target="../slideLayouts/slideLayout490.xml"/><Relationship Id="rId43" Type="http://schemas.openxmlformats.org/officeDocument/2006/relationships/slideLayout" Target="../slideLayouts/slideLayout506.xml"/><Relationship Id="rId48" Type="http://schemas.openxmlformats.org/officeDocument/2006/relationships/slideLayout" Target="../slideLayouts/slideLayout511.xml"/><Relationship Id="rId64" Type="http://schemas.openxmlformats.org/officeDocument/2006/relationships/slideLayout" Target="../slideLayouts/slideLayout527.xml"/><Relationship Id="rId69" Type="http://schemas.openxmlformats.org/officeDocument/2006/relationships/slideLayout" Target="../slideLayouts/slideLayout532.xml"/><Relationship Id="rId113" Type="http://schemas.openxmlformats.org/officeDocument/2006/relationships/slideLayout" Target="../slideLayouts/slideLayout576.xml"/><Relationship Id="rId118" Type="http://schemas.openxmlformats.org/officeDocument/2006/relationships/slideLayout" Target="../slideLayouts/slideLayout581.xml"/><Relationship Id="rId134" Type="http://schemas.openxmlformats.org/officeDocument/2006/relationships/slideLayout" Target="../slideLayouts/slideLayout597.xml"/><Relationship Id="rId80" Type="http://schemas.openxmlformats.org/officeDocument/2006/relationships/slideLayout" Target="../slideLayouts/slideLayout543.xml"/><Relationship Id="rId85" Type="http://schemas.openxmlformats.org/officeDocument/2006/relationships/slideLayout" Target="../slideLayouts/slideLayout548.xml"/><Relationship Id="rId12" Type="http://schemas.openxmlformats.org/officeDocument/2006/relationships/slideLayout" Target="../slideLayouts/slideLayout475.xml"/><Relationship Id="rId17" Type="http://schemas.openxmlformats.org/officeDocument/2006/relationships/slideLayout" Target="../slideLayouts/slideLayout480.xml"/><Relationship Id="rId33" Type="http://schemas.openxmlformats.org/officeDocument/2006/relationships/slideLayout" Target="../slideLayouts/slideLayout496.xml"/><Relationship Id="rId38" Type="http://schemas.openxmlformats.org/officeDocument/2006/relationships/slideLayout" Target="../slideLayouts/slideLayout501.xml"/><Relationship Id="rId59" Type="http://schemas.openxmlformats.org/officeDocument/2006/relationships/slideLayout" Target="../slideLayouts/slideLayout522.xml"/><Relationship Id="rId103" Type="http://schemas.openxmlformats.org/officeDocument/2006/relationships/slideLayout" Target="../slideLayouts/slideLayout566.xml"/><Relationship Id="rId108" Type="http://schemas.openxmlformats.org/officeDocument/2006/relationships/slideLayout" Target="../slideLayouts/slideLayout571.xml"/><Relationship Id="rId124" Type="http://schemas.openxmlformats.org/officeDocument/2006/relationships/slideLayout" Target="../slideLayouts/slideLayout587.xml"/><Relationship Id="rId129" Type="http://schemas.openxmlformats.org/officeDocument/2006/relationships/slideLayout" Target="../slideLayouts/slideLayout592.xml"/><Relationship Id="rId54" Type="http://schemas.openxmlformats.org/officeDocument/2006/relationships/slideLayout" Target="../slideLayouts/slideLayout517.xml"/><Relationship Id="rId70" Type="http://schemas.openxmlformats.org/officeDocument/2006/relationships/slideLayout" Target="../slideLayouts/slideLayout533.xml"/><Relationship Id="rId75" Type="http://schemas.openxmlformats.org/officeDocument/2006/relationships/slideLayout" Target="../slideLayouts/slideLayout538.xml"/><Relationship Id="rId91" Type="http://schemas.openxmlformats.org/officeDocument/2006/relationships/slideLayout" Target="../slideLayouts/slideLayout554.xml"/><Relationship Id="rId96" Type="http://schemas.openxmlformats.org/officeDocument/2006/relationships/slideLayout" Target="../slideLayouts/slideLayout559.xml"/><Relationship Id="rId1" Type="http://schemas.openxmlformats.org/officeDocument/2006/relationships/slideLayout" Target="../slideLayouts/slideLayout464.xml"/><Relationship Id="rId6" Type="http://schemas.openxmlformats.org/officeDocument/2006/relationships/slideLayout" Target="../slideLayouts/slideLayout469.xml"/><Relationship Id="rId23" Type="http://schemas.openxmlformats.org/officeDocument/2006/relationships/slideLayout" Target="../slideLayouts/slideLayout486.xml"/><Relationship Id="rId28" Type="http://schemas.openxmlformats.org/officeDocument/2006/relationships/slideLayout" Target="../slideLayouts/slideLayout491.xml"/><Relationship Id="rId49" Type="http://schemas.openxmlformats.org/officeDocument/2006/relationships/slideLayout" Target="../slideLayouts/slideLayout512.xml"/><Relationship Id="rId114" Type="http://schemas.openxmlformats.org/officeDocument/2006/relationships/slideLayout" Target="../slideLayouts/slideLayout577.xml"/><Relationship Id="rId119" Type="http://schemas.openxmlformats.org/officeDocument/2006/relationships/slideLayout" Target="../slideLayouts/slideLayout582.xml"/><Relationship Id="rId44" Type="http://schemas.openxmlformats.org/officeDocument/2006/relationships/slideLayout" Target="../slideLayouts/slideLayout507.xml"/><Relationship Id="rId60" Type="http://schemas.openxmlformats.org/officeDocument/2006/relationships/slideLayout" Target="../slideLayouts/slideLayout523.xml"/><Relationship Id="rId65" Type="http://schemas.openxmlformats.org/officeDocument/2006/relationships/slideLayout" Target="../slideLayouts/slideLayout528.xml"/><Relationship Id="rId81" Type="http://schemas.openxmlformats.org/officeDocument/2006/relationships/slideLayout" Target="../slideLayouts/slideLayout544.xml"/><Relationship Id="rId86" Type="http://schemas.openxmlformats.org/officeDocument/2006/relationships/slideLayout" Target="../slideLayouts/slideLayout549.xml"/><Relationship Id="rId130" Type="http://schemas.openxmlformats.org/officeDocument/2006/relationships/slideLayout" Target="../slideLayouts/slideLayout593.xml"/><Relationship Id="rId135" Type="http://schemas.openxmlformats.org/officeDocument/2006/relationships/theme" Target="../theme/theme9.xml"/><Relationship Id="rId13" Type="http://schemas.openxmlformats.org/officeDocument/2006/relationships/slideLayout" Target="../slideLayouts/slideLayout476.xml"/><Relationship Id="rId18" Type="http://schemas.openxmlformats.org/officeDocument/2006/relationships/slideLayout" Target="../slideLayouts/slideLayout481.xml"/><Relationship Id="rId39" Type="http://schemas.openxmlformats.org/officeDocument/2006/relationships/slideLayout" Target="../slideLayouts/slideLayout502.xml"/><Relationship Id="rId109" Type="http://schemas.openxmlformats.org/officeDocument/2006/relationships/slideLayout" Target="../slideLayouts/slideLayout572.xml"/><Relationship Id="rId34" Type="http://schemas.openxmlformats.org/officeDocument/2006/relationships/slideLayout" Target="../slideLayouts/slideLayout497.xml"/><Relationship Id="rId50" Type="http://schemas.openxmlformats.org/officeDocument/2006/relationships/slideLayout" Target="../slideLayouts/slideLayout513.xml"/><Relationship Id="rId55" Type="http://schemas.openxmlformats.org/officeDocument/2006/relationships/slideLayout" Target="../slideLayouts/slideLayout518.xml"/><Relationship Id="rId76" Type="http://schemas.openxmlformats.org/officeDocument/2006/relationships/slideLayout" Target="../slideLayouts/slideLayout539.xml"/><Relationship Id="rId97" Type="http://schemas.openxmlformats.org/officeDocument/2006/relationships/slideLayout" Target="../slideLayouts/slideLayout560.xml"/><Relationship Id="rId104" Type="http://schemas.openxmlformats.org/officeDocument/2006/relationships/slideLayout" Target="../slideLayouts/slideLayout567.xml"/><Relationship Id="rId120" Type="http://schemas.openxmlformats.org/officeDocument/2006/relationships/slideLayout" Target="../slideLayouts/slideLayout583.xml"/><Relationship Id="rId125" Type="http://schemas.openxmlformats.org/officeDocument/2006/relationships/slideLayout" Target="../slideLayouts/slideLayout588.xml"/><Relationship Id="rId7" Type="http://schemas.openxmlformats.org/officeDocument/2006/relationships/slideLayout" Target="../slideLayouts/slideLayout470.xml"/><Relationship Id="rId71" Type="http://schemas.openxmlformats.org/officeDocument/2006/relationships/slideLayout" Target="../slideLayouts/slideLayout534.xml"/><Relationship Id="rId92" Type="http://schemas.openxmlformats.org/officeDocument/2006/relationships/slideLayout" Target="../slideLayouts/slideLayout555.xml"/><Relationship Id="rId2" Type="http://schemas.openxmlformats.org/officeDocument/2006/relationships/slideLayout" Target="../slideLayouts/slideLayout465.xml"/><Relationship Id="rId29" Type="http://schemas.openxmlformats.org/officeDocument/2006/relationships/slideLayout" Target="../slideLayouts/slideLayout492.xml"/><Relationship Id="rId24" Type="http://schemas.openxmlformats.org/officeDocument/2006/relationships/slideLayout" Target="../slideLayouts/slideLayout487.xml"/><Relationship Id="rId40" Type="http://schemas.openxmlformats.org/officeDocument/2006/relationships/slideLayout" Target="../slideLayouts/slideLayout503.xml"/><Relationship Id="rId45" Type="http://schemas.openxmlformats.org/officeDocument/2006/relationships/slideLayout" Target="../slideLayouts/slideLayout508.xml"/><Relationship Id="rId66" Type="http://schemas.openxmlformats.org/officeDocument/2006/relationships/slideLayout" Target="../slideLayouts/slideLayout529.xml"/><Relationship Id="rId87" Type="http://schemas.openxmlformats.org/officeDocument/2006/relationships/slideLayout" Target="../slideLayouts/slideLayout550.xml"/><Relationship Id="rId110" Type="http://schemas.openxmlformats.org/officeDocument/2006/relationships/slideLayout" Target="../slideLayouts/slideLayout573.xml"/><Relationship Id="rId115" Type="http://schemas.openxmlformats.org/officeDocument/2006/relationships/slideLayout" Target="../slideLayouts/slideLayout578.xml"/><Relationship Id="rId131" Type="http://schemas.openxmlformats.org/officeDocument/2006/relationships/slideLayout" Target="../slideLayouts/slideLayout594.xml"/><Relationship Id="rId61" Type="http://schemas.openxmlformats.org/officeDocument/2006/relationships/slideLayout" Target="../slideLayouts/slideLayout524.xml"/><Relationship Id="rId82" Type="http://schemas.openxmlformats.org/officeDocument/2006/relationships/slideLayout" Target="../slideLayouts/slideLayout545.xml"/><Relationship Id="rId19" Type="http://schemas.openxmlformats.org/officeDocument/2006/relationships/slideLayout" Target="../slideLayouts/slideLayout482.xml"/><Relationship Id="rId14" Type="http://schemas.openxmlformats.org/officeDocument/2006/relationships/slideLayout" Target="../slideLayouts/slideLayout477.xml"/><Relationship Id="rId30" Type="http://schemas.openxmlformats.org/officeDocument/2006/relationships/slideLayout" Target="../slideLayouts/slideLayout493.xml"/><Relationship Id="rId35" Type="http://schemas.openxmlformats.org/officeDocument/2006/relationships/slideLayout" Target="../slideLayouts/slideLayout498.xml"/><Relationship Id="rId56" Type="http://schemas.openxmlformats.org/officeDocument/2006/relationships/slideLayout" Target="../slideLayouts/slideLayout519.xml"/><Relationship Id="rId77" Type="http://schemas.openxmlformats.org/officeDocument/2006/relationships/slideLayout" Target="../slideLayouts/slideLayout540.xml"/><Relationship Id="rId100" Type="http://schemas.openxmlformats.org/officeDocument/2006/relationships/slideLayout" Target="../slideLayouts/slideLayout563.xml"/><Relationship Id="rId105" Type="http://schemas.openxmlformats.org/officeDocument/2006/relationships/slideLayout" Target="../slideLayouts/slideLayout568.xml"/><Relationship Id="rId126" Type="http://schemas.openxmlformats.org/officeDocument/2006/relationships/slideLayout" Target="../slideLayouts/slideLayout589.xml"/><Relationship Id="rId8" Type="http://schemas.openxmlformats.org/officeDocument/2006/relationships/slideLayout" Target="../slideLayouts/slideLayout471.xml"/><Relationship Id="rId51" Type="http://schemas.openxmlformats.org/officeDocument/2006/relationships/slideLayout" Target="../slideLayouts/slideLayout514.xml"/><Relationship Id="rId72" Type="http://schemas.openxmlformats.org/officeDocument/2006/relationships/slideLayout" Target="../slideLayouts/slideLayout535.xml"/><Relationship Id="rId93" Type="http://schemas.openxmlformats.org/officeDocument/2006/relationships/slideLayout" Target="../slideLayouts/slideLayout556.xml"/><Relationship Id="rId98" Type="http://schemas.openxmlformats.org/officeDocument/2006/relationships/slideLayout" Target="../slideLayouts/slideLayout561.xml"/><Relationship Id="rId121" Type="http://schemas.openxmlformats.org/officeDocument/2006/relationships/slideLayout" Target="../slideLayouts/slideLayout584.xml"/><Relationship Id="rId3" Type="http://schemas.openxmlformats.org/officeDocument/2006/relationships/slideLayout" Target="../slideLayouts/slideLayout466.xml"/><Relationship Id="rId25" Type="http://schemas.openxmlformats.org/officeDocument/2006/relationships/slideLayout" Target="../slideLayouts/slideLayout488.xml"/><Relationship Id="rId46" Type="http://schemas.openxmlformats.org/officeDocument/2006/relationships/slideLayout" Target="../slideLayouts/slideLayout509.xml"/><Relationship Id="rId67" Type="http://schemas.openxmlformats.org/officeDocument/2006/relationships/slideLayout" Target="../slideLayouts/slideLayout530.xml"/><Relationship Id="rId116" Type="http://schemas.openxmlformats.org/officeDocument/2006/relationships/slideLayout" Target="../slideLayouts/slideLayout579.xml"/><Relationship Id="rId20" Type="http://schemas.openxmlformats.org/officeDocument/2006/relationships/slideLayout" Target="../slideLayouts/slideLayout483.xml"/><Relationship Id="rId41" Type="http://schemas.openxmlformats.org/officeDocument/2006/relationships/slideLayout" Target="../slideLayouts/slideLayout504.xml"/><Relationship Id="rId62" Type="http://schemas.openxmlformats.org/officeDocument/2006/relationships/slideLayout" Target="../slideLayouts/slideLayout525.xml"/><Relationship Id="rId83" Type="http://schemas.openxmlformats.org/officeDocument/2006/relationships/slideLayout" Target="../slideLayouts/slideLayout546.xml"/><Relationship Id="rId88" Type="http://schemas.openxmlformats.org/officeDocument/2006/relationships/slideLayout" Target="../slideLayouts/slideLayout551.xml"/><Relationship Id="rId111" Type="http://schemas.openxmlformats.org/officeDocument/2006/relationships/slideLayout" Target="../slideLayouts/slideLayout574.xml"/><Relationship Id="rId132" Type="http://schemas.openxmlformats.org/officeDocument/2006/relationships/slideLayout" Target="../slideLayouts/slideLayout595.xml"/><Relationship Id="rId15" Type="http://schemas.openxmlformats.org/officeDocument/2006/relationships/slideLayout" Target="../slideLayouts/slideLayout478.xml"/><Relationship Id="rId36" Type="http://schemas.openxmlformats.org/officeDocument/2006/relationships/slideLayout" Target="../slideLayouts/slideLayout499.xml"/><Relationship Id="rId57" Type="http://schemas.openxmlformats.org/officeDocument/2006/relationships/slideLayout" Target="../slideLayouts/slideLayout520.xml"/><Relationship Id="rId106" Type="http://schemas.openxmlformats.org/officeDocument/2006/relationships/slideLayout" Target="../slideLayouts/slideLayout569.xml"/><Relationship Id="rId127" Type="http://schemas.openxmlformats.org/officeDocument/2006/relationships/slideLayout" Target="../slideLayouts/slideLayout590.xml"/><Relationship Id="rId10" Type="http://schemas.openxmlformats.org/officeDocument/2006/relationships/slideLayout" Target="../slideLayouts/slideLayout473.xml"/><Relationship Id="rId31" Type="http://schemas.openxmlformats.org/officeDocument/2006/relationships/slideLayout" Target="../slideLayouts/slideLayout494.xml"/><Relationship Id="rId52" Type="http://schemas.openxmlformats.org/officeDocument/2006/relationships/slideLayout" Target="../slideLayouts/slideLayout515.xml"/><Relationship Id="rId73" Type="http://schemas.openxmlformats.org/officeDocument/2006/relationships/slideLayout" Target="../slideLayouts/slideLayout536.xml"/><Relationship Id="rId78" Type="http://schemas.openxmlformats.org/officeDocument/2006/relationships/slideLayout" Target="../slideLayouts/slideLayout541.xml"/><Relationship Id="rId94" Type="http://schemas.openxmlformats.org/officeDocument/2006/relationships/slideLayout" Target="../slideLayouts/slideLayout557.xml"/><Relationship Id="rId99" Type="http://schemas.openxmlformats.org/officeDocument/2006/relationships/slideLayout" Target="../slideLayouts/slideLayout562.xml"/><Relationship Id="rId101" Type="http://schemas.openxmlformats.org/officeDocument/2006/relationships/slideLayout" Target="../slideLayouts/slideLayout564.xml"/><Relationship Id="rId122" Type="http://schemas.openxmlformats.org/officeDocument/2006/relationships/slideLayout" Target="../slideLayouts/slideLayout585.xml"/><Relationship Id="rId4" Type="http://schemas.openxmlformats.org/officeDocument/2006/relationships/slideLayout" Target="../slideLayouts/slideLayout467.xml"/><Relationship Id="rId9" Type="http://schemas.openxmlformats.org/officeDocument/2006/relationships/slideLayout" Target="../slideLayouts/slideLayout472.xml"/><Relationship Id="rId26" Type="http://schemas.openxmlformats.org/officeDocument/2006/relationships/slideLayout" Target="../slideLayouts/slideLayout489.xml"/><Relationship Id="rId47" Type="http://schemas.openxmlformats.org/officeDocument/2006/relationships/slideLayout" Target="../slideLayouts/slideLayout510.xml"/><Relationship Id="rId68" Type="http://schemas.openxmlformats.org/officeDocument/2006/relationships/slideLayout" Target="../slideLayouts/slideLayout531.xml"/><Relationship Id="rId89" Type="http://schemas.openxmlformats.org/officeDocument/2006/relationships/slideLayout" Target="../slideLayouts/slideLayout552.xml"/><Relationship Id="rId112" Type="http://schemas.openxmlformats.org/officeDocument/2006/relationships/slideLayout" Target="../slideLayouts/slideLayout575.xml"/><Relationship Id="rId133" Type="http://schemas.openxmlformats.org/officeDocument/2006/relationships/slideLayout" Target="../slideLayouts/slideLayout5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A3A578-CE9D-E95F-5133-E1EB34EFC1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1DBE94-5A91-6C8A-3768-BBCC7C5082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B701A0-ADA3-303C-8FC4-9715479167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8834B7A-A772-41F8-99FF-2368B14B0677}" type="datetimeFigureOut">
              <a:rPr lang="en-US" smtClean="0"/>
              <a:t>10/28/2025</a:t>
            </a:fld>
            <a:endParaRPr lang="en-US"/>
          </a:p>
        </p:txBody>
      </p:sp>
      <p:sp>
        <p:nvSpPr>
          <p:cNvPr id="5" name="Footer Placeholder 4">
            <a:extLst>
              <a:ext uri="{FF2B5EF4-FFF2-40B4-BE49-F238E27FC236}">
                <a16:creationId xmlns:a16="http://schemas.microsoft.com/office/drawing/2014/main" id="{13F65C4A-79EE-5143-87B0-A9E963B60C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9FBE27E-6F54-EC9A-2083-E954313417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624AFDC-5FAE-486C-8FFC-8EB2A77CD6CB}" type="slidenum">
              <a:rPr lang="en-US" smtClean="0"/>
              <a:t>‹#›</a:t>
            </a:fld>
            <a:endParaRPr lang="en-US"/>
          </a:p>
        </p:txBody>
      </p:sp>
    </p:spTree>
    <p:extLst>
      <p:ext uri="{BB962C8B-B14F-4D97-AF65-F5344CB8AC3E}">
        <p14:creationId xmlns:p14="http://schemas.microsoft.com/office/powerpoint/2010/main" val="20604309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descr="A picture containing screenshot, colorfulness&#10;&#10;Description automatically generated">
            <a:extLst>
              <a:ext uri="{FF2B5EF4-FFF2-40B4-BE49-F238E27FC236}">
                <a16:creationId xmlns:a16="http://schemas.microsoft.com/office/drawing/2014/main" id="{7299769D-12ED-63A5-35EE-70032F0DDCF1}"/>
              </a:ext>
            </a:extLst>
          </p:cNvPr>
          <p:cNvPicPr>
            <a:picLocks noChangeAspect="1"/>
          </p:cNvPicPr>
          <p:nvPr/>
        </p:nvPicPr>
        <p:blipFill>
          <a:blip r:embed="rId149" cstate="screen">
            <a:extLst>
              <a:ext uri="{28A0092B-C50C-407E-A947-70E740481C1C}">
                <a14:useLocalDpi xmlns:a14="http://schemas.microsoft.com/office/drawing/2010/main"/>
              </a:ext>
            </a:extLst>
          </a:blip>
          <a:stretch>
            <a:fillRect/>
          </a:stretch>
        </p:blipFill>
        <p:spPr>
          <a:xfrm>
            <a:off x="12353532" y="0"/>
            <a:ext cx="1040075" cy="6858000"/>
          </a:xfrm>
          <a:prstGeom prst="rect">
            <a:avLst/>
          </a:prstGeom>
        </p:spPr>
      </p:pic>
      <p:grpSp>
        <p:nvGrpSpPr>
          <p:cNvPr id="8" name="GRID" hidden="1">
            <a:extLst>
              <a:ext uri="{FF2B5EF4-FFF2-40B4-BE49-F238E27FC236}">
                <a16:creationId xmlns:a16="http://schemas.microsoft.com/office/drawing/2014/main" id="{C6B6F4D7-B785-EBE0-EFC8-70122CE93F9A}"/>
              </a:ext>
            </a:extLst>
          </p:cNvPr>
          <p:cNvGrpSpPr/>
          <p:nvPr userDrawn="1"/>
        </p:nvGrpSpPr>
        <p:grpSpPr>
          <a:xfrm>
            <a:off x="0" y="0"/>
            <a:ext cx="12192000" cy="6858000"/>
            <a:chOff x="0" y="0"/>
            <a:chExt cx="12192000" cy="6858000"/>
          </a:xfrm>
        </p:grpSpPr>
        <p:cxnSp>
          <p:nvCxnSpPr>
            <p:cNvPr id="34" name="Straight Connector 33">
              <a:extLst>
                <a:ext uri="{FF2B5EF4-FFF2-40B4-BE49-F238E27FC236}">
                  <a16:creationId xmlns:a16="http://schemas.microsoft.com/office/drawing/2014/main" id="{BEC36EEE-9296-4A54-BCF3-E660B4DBD4D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A9C7C4-2788-086A-06C9-6FDAB9D36F66}"/>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7D75668-D77B-B2A0-586F-44A34F72AEB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23497B-EDD9-2961-965C-5D57068EEE9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64A9A9-8A8B-8570-C5A3-985365C4229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60DA42-7DA0-ED55-CBEC-B5451D73276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8E8C73E-1068-F020-D2CE-66DC645BEAC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75D275-40DF-46F0-B106-70C933C8900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9791540-38A9-9B35-FF73-80A26D366DAF}"/>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95B4DD-E25E-9837-8C3F-6E925F25801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60DAF09-AA98-8961-ED05-91D1FFBDE6C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49EFA2F-FA79-C015-586D-9D05E7134BB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7B083E0-68D2-5A77-7B0B-6BBF42B204C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6BFA2C8-3736-44A8-AC83-B0C153E16125}"/>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DF1FE2F-7862-07F0-41CB-143927C7166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2C70F4-D52B-BA06-6A4D-D31E6467C4B1}"/>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4A030BA-B920-9178-5F11-AAD132ACBC6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0EBA2D2-99A5-593B-3F4F-3D013DFFD48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16C4F9F-9373-0E5F-B3E5-428660937477}"/>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FF481AD-2908-3F01-EFBB-BC50543A5A3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23C7F91-A0BB-5E29-BA6A-428745D8137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7893E39-028A-D869-57C8-DA39DD4CDC98}"/>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A759E7F-FFE4-437F-C6DF-7C4647FBCBB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E3A3E6D-F34F-053F-85E3-A0D5D803777E}"/>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4AD4EB4-8366-1D30-6C4A-B79CEC28A0B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25FA616-7A07-5F7A-903F-76086FEAC5AE}"/>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0E325F-1794-09CC-4B91-CAD0A9DE982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8FE8BC8-0A00-DCD8-9ED2-3E4CFAF1C60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1D1FD6-5199-B9CB-D384-EF8B953D137E}"/>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A7A5DE6-3E0E-5F7B-B6DD-48371AEBD08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CFE049C-BF1D-F1E3-780C-9751D15B6D2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E894A6A-609D-D5C3-B964-666136ABDBC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E94301E-B445-6B82-1951-3C12C3187BDB}"/>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C92E826-CBC9-9F70-B67C-FC22EF174B6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9" name=".64 square" hidden="1">
            <a:extLst>
              <a:ext uri="{FF2B5EF4-FFF2-40B4-BE49-F238E27FC236}">
                <a16:creationId xmlns:a16="http://schemas.microsoft.com/office/drawing/2014/main" id="{5C21C4FD-830F-3750-E81E-1EFAB5CBC4B4}"/>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0" name=".32 square" hidden="1">
            <a:extLst>
              <a:ext uri="{FF2B5EF4-FFF2-40B4-BE49-F238E27FC236}">
                <a16:creationId xmlns:a16="http://schemas.microsoft.com/office/drawing/2014/main" id="{5AB898F6-B811-E351-60FF-097AD756D5D7}"/>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1" name="Picture 80" descr="A picture containing screenshot, colorfulness&#10;&#10;Description automatically generated">
            <a:extLst>
              <a:ext uri="{FF2B5EF4-FFF2-40B4-BE49-F238E27FC236}">
                <a16:creationId xmlns:a16="http://schemas.microsoft.com/office/drawing/2014/main" id="{538D8849-0558-5119-90D6-5C1766166F8B}"/>
              </a:ext>
            </a:extLst>
          </p:cNvPr>
          <p:cNvPicPr>
            <a:picLocks noChangeAspect="1"/>
          </p:cNvPicPr>
          <p:nvPr userDrawn="1"/>
        </p:nvPicPr>
        <p:blipFill>
          <a:blip r:embed="rId149" cstate="screen">
            <a:extLst>
              <a:ext uri="{28A0092B-C50C-407E-A947-70E740481C1C}">
                <a14:useLocalDpi xmlns:a14="http://schemas.microsoft.com/office/drawing/2010/main"/>
              </a:ext>
            </a:extLst>
          </a:blip>
          <a:stretch>
            <a:fillRect/>
          </a:stretch>
        </p:blipFill>
        <p:spPr>
          <a:xfrm>
            <a:off x="12353532" y="0"/>
            <a:ext cx="1040075" cy="6858000"/>
          </a:xfrm>
          <a:prstGeom prst="rect">
            <a:avLst/>
          </a:prstGeom>
        </p:spPr>
      </p:pic>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6" name="Text Placeholder 3">
            <a:extLst>
              <a:ext uri="{FF2B5EF4-FFF2-40B4-BE49-F238E27FC236}">
                <a16:creationId xmlns:a16="http://schemas.microsoft.com/office/drawing/2014/main" id="{B37ED564-055E-99E4-8D52-A7C00AECDA89}"/>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440130"/>
      </p:ext>
    </p:extLst>
  </p:cSld>
  <p:clrMap bg1="lt1" tx1="dk1" bg2="lt2" tx2="dk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 id="2147484279" r:id="rId25"/>
    <p:sldLayoutId id="2147484280" r:id="rId26"/>
    <p:sldLayoutId id="2147484281" r:id="rId27"/>
    <p:sldLayoutId id="2147484282" r:id="rId28"/>
    <p:sldLayoutId id="2147484283" r:id="rId29"/>
    <p:sldLayoutId id="2147484284" r:id="rId30"/>
    <p:sldLayoutId id="2147484285" r:id="rId31"/>
    <p:sldLayoutId id="2147484286" r:id="rId32"/>
    <p:sldLayoutId id="2147484287" r:id="rId33"/>
    <p:sldLayoutId id="2147484288" r:id="rId34"/>
    <p:sldLayoutId id="2147484289" r:id="rId35"/>
    <p:sldLayoutId id="2147484290" r:id="rId36"/>
    <p:sldLayoutId id="2147484291" r:id="rId37"/>
    <p:sldLayoutId id="2147484292" r:id="rId38"/>
    <p:sldLayoutId id="2147484293" r:id="rId39"/>
    <p:sldLayoutId id="2147484294" r:id="rId40"/>
    <p:sldLayoutId id="2147484295" r:id="rId41"/>
    <p:sldLayoutId id="2147484296" r:id="rId42"/>
    <p:sldLayoutId id="2147484297" r:id="rId43"/>
    <p:sldLayoutId id="2147484298" r:id="rId44"/>
    <p:sldLayoutId id="2147484299" r:id="rId45"/>
    <p:sldLayoutId id="2147484300" r:id="rId46"/>
    <p:sldLayoutId id="2147484301" r:id="rId47"/>
    <p:sldLayoutId id="2147484302" r:id="rId48"/>
    <p:sldLayoutId id="2147484303" r:id="rId49"/>
    <p:sldLayoutId id="2147484304" r:id="rId50"/>
    <p:sldLayoutId id="2147484305" r:id="rId51"/>
    <p:sldLayoutId id="2147484306" r:id="rId52"/>
    <p:sldLayoutId id="2147484307" r:id="rId53"/>
    <p:sldLayoutId id="2147484308" r:id="rId54"/>
    <p:sldLayoutId id="2147484309" r:id="rId55"/>
    <p:sldLayoutId id="2147484310" r:id="rId56"/>
    <p:sldLayoutId id="2147484311" r:id="rId57"/>
    <p:sldLayoutId id="2147484312" r:id="rId58"/>
    <p:sldLayoutId id="2147484313" r:id="rId59"/>
    <p:sldLayoutId id="2147484314" r:id="rId60"/>
    <p:sldLayoutId id="2147484315" r:id="rId61"/>
    <p:sldLayoutId id="2147484316" r:id="rId62"/>
    <p:sldLayoutId id="2147484317" r:id="rId63"/>
    <p:sldLayoutId id="2147484318" r:id="rId64"/>
    <p:sldLayoutId id="2147484319" r:id="rId65"/>
    <p:sldLayoutId id="2147484320" r:id="rId66"/>
    <p:sldLayoutId id="2147484321" r:id="rId67"/>
    <p:sldLayoutId id="2147484322" r:id="rId68"/>
    <p:sldLayoutId id="2147484323" r:id="rId69"/>
    <p:sldLayoutId id="2147484324" r:id="rId70"/>
    <p:sldLayoutId id="2147484325" r:id="rId71"/>
    <p:sldLayoutId id="2147484326" r:id="rId72"/>
    <p:sldLayoutId id="2147484327" r:id="rId73"/>
    <p:sldLayoutId id="2147484328" r:id="rId74"/>
    <p:sldLayoutId id="2147484329" r:id="rId75"/>
    <p:sldLayoutId id="2147484330" r:id="rId76"/>
    <p:sldLayoutId id="2147484331" r:id="rId77"/>
    <p:sldLayoutId id="2147484332" r:id="rId78"/>
    <p:sldLayoutId id="2147484333" r:id="rId79"/>
    <p:sldLayoutId id="2147484334" r:id="rId80"/>
    <p:sldLayoutId id="2147484335" r:id="rId81"/>
    <p:sldLayoutId id="2147484336" r:id="rId82"/>
    <p:sldLayoutId id="2147484337" r:id="rId83"/>
    <p:sldLayoutId id="2147484338" r:id="rId84"/>
    <p:sldLayoutId id="2147484339" r:id="rId85"/>
    <p:sldLayoutId id="2147484340" r:id="rId86"/>
    <p:sldLayoutId id="2147484341" r:id="rId87"/>
    <p:sldLayoutId id="2147484342" r:id="rId88"/>
    <p:sldLayoutId id="2147484343" r:id="rId89"/>
    <p:sldLayoutId id="2147484344" r:id="rId90"/>
    <p:sldLayoutId id="2147484345" r:id="rId91"/>
    <p:sldLayoutId id="2147484346" r:id="rId92"/>
    <p:sldLayoutId id="2147484347" r:id="rId93"/>
    <p:sldLayoutId id="2147484348" r:id="rId94"/>
    <p:sldLayoutId id="2147484349" r:id="rId95"/>
    <p:sldLayoutId id="2147484350" r:id="rId96"/>
    <p:sldLayoutId id="2147484351" r:id="rId97"/>
    <p:sldLayoutId id="2147484352" r:id="rId98"/>
    <p:sldLayoutId id="2147484353" r:id="rId99"/>
    <p:sldLayoutId id="2147484354" r:id="rId100"/>
    <p:sldLayoutId id="2147484355" r:id="rId101"/>
    <p:sldLayoutId id="2147484356" r:id="rId102"/>
    <p:sldLayoutId id="2147484357" r:id="rId103"/>
    <p:sldLayoutId id="2147484358" r:id="rId104"/>
    <p:sldLayoutId id="2147484359" r:id="rId105"/>
    <p:sldLayoutId id="2147484360" r:id="rId106"/>
    <p:sldLayoutId id="2147484361" r:id="rId107"/>
    <p:sldLayoutId id="2147484362" r:id="rId108"/>
    <p:sldLayoutId id="2147484363" r:id="rId109"/>
    <p:sldLayoutId id="2147484364" r:id="rId110"/>
    <p:sldLayoutId id="2147484365" r:id="rId111"/>
    <p:sldLayoutId id="2147484366" r:id="rId112"/>
    <p:sldLayoutId id="2147484367" r:id="rId113"/>
    <p:sldLayoutId id="2147484368" r:id="rId114"/>
    <p:sldLayoutId id="2147484369" r:id="rId115"/>
    <p:sldLayoutId id="2147484370" r:id="rId116"/>
    <p:sldLayoutId id="2147484371" r:id="rId117"/>
    <p:sldLayoutId id="2147484372" r:id="rId118"/>
    <p:sldLayoutId id="2147484373" r:id="rId119"/>
    <p:sldLayoutId id="2147484374" r:id="rId120"/>
    <p:sldLayoutId id="2147484375" r:id="rId121"/>
    <p:sldLayoutId id="2147484376" r:id="rId122"/>
    <p:sldLayoutId id="2147484377" r:id="rId123"/>
    <p:sldLayoutId id="2147484378" r:id="rId124"/>
    <p:sldLayoutId id="2147484379" r:id="rId125"/>
    <p:sldLayoutId id="2147484380" r:id="rId126"/>
    <p:sldLayoutId id="2147484381" r:id="rId127"/>
    <p:sldLayoutId id="2147484382" r:id="rId128"/>
    <p:sldLayoutId id="2147484383" r:id="rId129"/>
    <p:sldLayoutId id="2147484384" r:id="rId130"/>
    <p:sldLayoutId id="2147484385" r:id="rId131"/>
    <p:sldLayoutId id="2147484386" r:id="rId132"/>
    <p:sldLayoutId id="2147484387" r:id="rId133"/>
    <p:sldLayoutId id="2147484388" r:id="rId134"/>
    <p:sldLayoutId id="2147484389" r:id="rId135"/>
    <p:sldLayoutId id="2147484390" r:id="rId136"/>
    <p:sldLayoutId id="2147484391" r:id="rId137"/>
    <p:sldLayoutId id="2147484392" r:id="rId138"/>
    <p:sldLayoutId id="2147484393" r:id="rId139"/>
    <p:sldLayoutId id="2147484394" r:id="rId140"/>
    <p:sldLayoutId id="2147484395" r:id="rId141"/>
    <p:sldLayoutId id="2147484396" r:id="rId142"/>
    <p:sldLayoutId id="2147484397" r:id="rId143"/>
    <p:sldLayoutId id="2147484398" r:id="rId144"/>
    <p:sldLayoutId id="2147484399" r:id="rId145"/>
    <p:sldLayoutId id="2147484400" r:id="rId146"/>
    <p:sldLayoutId id="2147484401" r:id="rId1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EDF6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2">
            <a:extLst>
              <a:ext uri="{96DAC541-7B7A-43D3-8B79-37D633B846F1}">
                <asvg:svgBlip xmlns:asvg="http://schemas.microsoft.com/office/drawing/2016/SVG/main" r:embed="rId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838452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descr="A picture containing screenshot, colorfulness&#10;&#10;Description automatically generated">
            <a:extLst>
              <a:ext uri="{FF2B5EF4-FFF2-40B4-BE49-F238E27FC236}">
                <a16:creationId xmlns:a16="http://schemas.microsoft.com/office/drawing/2014/main" id="{7299769D-12ED-63A5-35EE-70032F0DDCF1}"/>
              </a:ext>
            </a:extLst>
          </p:cNvPr>
          <p:cNvPicPr>
            <a:picLocks noChangeAspect="1"/>
          </p:cNvPicPr>
          <p:nvPr/>
        </p:nvPicPr>
        <p:blipFill>
          <a:blip r:embed="rId73" cstate="screen">
            <a:extLst>
              <a:ext uri="{28A0092B-C50C-407E-A947-70E740481C1C}">
                <a14:useLocalDpi xmlns:a14="http://schemas.microsoft.com/office/drawing/2010/main"/>
              </a:ext>
            </a:extLst>
          </a:blip>
          <a:stretch>
            <a:fillRect/>
          </a:stretch>
        </p:blipFill>
        <p:spPr>
          <a:xfrm>
            <a:off x="12353532" y="0"/>
            <a:ext cx="1040075" cy="6858000"/>
          </a:xfrm>
          <a:prstGeom prst="rect">
            <a:avLst/>
          </a:prstGeom>
        </p:spPr>
      </p:pic>
      <p:grpSp>
        <p:nvGrpSpPr>
          <p:cNvPr id="8" name="GRID" hidden="1">
            <a:extLst>
              <a:ext uri="{FF2B5EF4-FFF2-40B4-BE49-F238E27FC236}">
                <a16:creationId xmlns:a16="http://schemas.microsoft.com/office/drawing/2014/main" id="{C6B6F4D7-B785-EBE0-EFC8-70122CE93F9A}"/>
              </a:ext>
            </a:extLst>
          </p:cNvPr>
          <p:cNvGrpSpPr/>
          <p:nvPr userDrawn="1"/>
        </p:nvGrpSpPr>
        <p:grpSpPr>
          <a:xfrm>
            <a:off x="0" y="0"/>
            <a:ext cx="12192000" cy="6858000"/>
            <a:chOff x="0" y="0"/>
            <a:chExt cx="12192000" cy="6858000"/>
          </a:xfrm>
        </p:grpSpPr>
        <p:cxnSp>
          <p:nvCxnSpPr>
            <p:cNvPr id="34" name="Straight Connector 33">
              <a:extLst>
                <a:ext uri="{FF2B5EF4-FFF2-40B4-BE49-F238E27FC236}">
                  <a16:creationId xmlns:a16="http://schemas.microsoft.com/office/drawing/2014/main" id="{BEC36EEE-9296-4A54-BCF3-E660B4DBD4D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A9C7C4-2788-086A-06C9-6FDAB9D36F66}"/>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7D75668-D77B-B2A0-586F-44A34F72AEB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23497B-EDD9-2961-965C-5D57068EEE9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64A9A9-8A8B-8570-C5A3-985365C4229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60DA42-7DA0-ED55-CBEC-B5451D73276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8E8C73E-1068-F020-D2CE-66DC645BEAC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75D275-40DF-46F0-B106-70C933C8900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9791540-38A9-9B35-FF73-80A26D366DAF}"/>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95B4DD-E25E-9837-8C3F-6E925F25801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60DAF09-AA98-8961-ED05-91D1FFBDE6C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49EFA2F-FA79-C015-586D-9D05E7134BB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7B083E0-68D2-5A77-7B0B-6BBF42B204C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6BFA2C8-3736-44A8-AC83-B0C153E16125}"/>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DF1FE2F-7862-07F0-41CB-143927C7166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2C70F4-D52B-BA06-6A4D-D31E6467C4B1}"/>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4A030BA-B920-9178-5F11-AAD132ACBC6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0EBA2D2-99A5-593B-3F4F-3D013DFFD48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16C4F9F-9373-0E5F-B3E5-428660937477}"/>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FF481AD-2908-3F01-EFBB-BC50543A5A3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23C7F91-A0BB-5E29-BA6A-428745D8137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7893E39-028A-D869-57C8-DA39DD4CDC98}"/>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A759E7F-FFE4-437F-C6DF-7C4647FBCBB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E3A3E6D-F34F-053F-85E3-A0D5D803777E}"/>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4AD4EB4-8366-1D30-6C4A-B79CEC28A0B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25FA616-7A07-5F7A-903F-76086FEAC5AE}"/>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0E325F-1794-09CC-4B91-CAD0A9DE982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8FE8BC8-0A00-DCD8-9ED2-3E4CFAF1C60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1D1FD6-5199-B9CB-D384-EF8B953D137E}"/>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A7A5DE6-3E0E-5F7B-B6DD-48371AEBD08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CFE049C-BF1D-F1E3-780C-9751D15B6D2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E894A6A-609D-D5C3-B964-666136ABDBC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E94301E-B445-6B82-1951-3C12C3187BDB}"/>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C92E826-CBC9-9F70-B67C-FC22EF174B6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9" name=".64 square" hidden="1">
            <a:extLst>
              <a:ext uri="{FF2B5EF4-FFF2-40B4-BE49-F238E27FC236}">
                <a16:creationId xmlns:a16="http://schemas.microsoft.com/office/drawing/2014/main" id="{5C21C4FD-830F-3750-E81E-1EFAB5CBC4B4}"/>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0" name=".32 square" hidden="1">
            <a:extLst>
              <a:ext uri="{FF2B5EF4-FFF2-40B4-BE49-F238E27FC236}">
                <a16:creationId xmlns:a16="http://schemas.microsoft.com/office/drawing/2014/main" id="{5AB898F6-B811-E351-60FF-097AD756D5D7}"/>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1" name="Picture 80" descr="A picture containing screenshot, colorfulness&#10;&#10;Description automatically generated">
            <a:extLst>
              <a:ext uri="{FF2B5EF4-FFF2-40B4-BE49-F238E27FC236}">
                <a16:creationId xmlns:a16="http://schemas.microsoft.com/office/drawing/2014/main" id="{538D8849-0558-5119-90D6-5C1766166F8B}"/>
              </a:ext>
            </a:extLst>
          </p:cNvPr>
          <p:cNvPicPr>
            <a:picLocks noChangeAspect="1"/>
          </p:cNvPicPr>
          <p:nvPr userDrawn="1"/>
        </p:nvPicPr>
        <p:blipFill>
          <a:blip r:embed="rId73" cstate="screen">
            <a:extLst>
              <a:ext uri="{28A0092B-C50C-407E-A947-70E740481C1C}">
                <a14:useLocalDpi xmlns:a14="http://schemas.microsoft.com/office/drawing/2010/main"/>
              </a:ext>
            </a:extLst>
          </a:blip>
          <a:stretch>
            <a:fillRect/>
          </a:stretch>
        </p:blipFill>
        <p:spPr>
          <a:xfrm>
            <a:off x="12353532" y="0"/>
            <a:ext cx="1040075" cy="6858000"/>
          </a:xfrm>
          <a:prstGeom prst="rect">
            <a:avLst/>
          </a:prstGeom>
        </p:spPr>
      </p:pic>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6" name="Text Placeholder 3">
            <a:extLst>
              <a:ext uri="{FF2B5EF4-FFF2-40B4-BE49-F238E27FC236}">
                <a16:creationId xmlns:a16="http://schemas.microsoft.com/office/drawing/2014/main" id="{B37ED564-055E-99E4-8D52-A7C00AECDA89}"/>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95157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8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20B2BF-88E4-0A03-93D4-8FE2FB2174DD}"/>
              </a:ext>
            </a:extLst>
          </p:cNvPr>
          <p:cNvPicPr>
            <a:picLocks noChangeAspect="1"/>
          </p:cNvPicPr>
          <p:nvPr userDrawn="1"/>
        </p:nvPicPr>
        <p:blipFill>
          <a:blip r:embed="rId31"/>
          <a:srcRect/>
          <a:stretch/>
        </p:blipFill>
        <p:spPr>
          <a:xfrm>
            <a:off x="0" y="0"/>
            <a:ext cx="12192000" cy="6858000"/>
          </a:xfrm>
          <a:prstGeom prst="rect">
            <a:avLst/>
          </a:prstGeom>
        </p:spPr>
      </p:pic>
      <p:pic>
        <p:nvPicPr>
          <p:cNvPr id="8" name="Picture 7" hidden="1">
            <a:extLst>
              <a:ext uri="{FF2B5EF4-FFF2-40B4-BE49-F238E27FC236}">
                <a16:creationId xmlns:a16="http://schemas.microsoft.com/office/drawing/2014/main" id="{AE2549B3-2C3D-189B-F80E-ED8F336795CD}"/>
              </a:ext>
            </a:extLst>
          </p:cNvPr>
          <p:cNvPicPr>
            <a:picLocks noChangeAspect="1"/>
          </p:cNvPicPr>
          <p:nvPr userDrawn="1"/>
        </p:nvPicPr>
        <p:blipFill>
          <a:blip r:embed="rId32"/>
          <a:stretch>
            <a:fillRect/>
          </a:stretch>
        </p:blipFill>
        <p:spPr>
          <a:xfrm>
            <a:off x="2821" y="0"/>
            <a:ext cx="12186358" cy="6858000"/>
          </a:xfrm>
          <a:prstGeom prst="rect">
            <a:avLst/>
          </a:prstGeom>
        </p:spPr>
      </p:pic>
      <p:sp>
        <p:nvSpPr>
          <p:cNvPr id="2" name="Title Placeholder 1"/>
          <p:cNvSpPr>
            <a:spLocks noGrp="1"/>
          </p:cNvSpPr>
          <p:nvPr userDrawn="1">
            <p:ph type="title"/>
          </p:nvPr>
        </p:nvSpPr>
        <p:spPr>
          <a:xfrm>
            <a:off x="588263" y="603102"/>
            <a:ext cx="11018520"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a:extLst>
              <a:ext uri="{FF2B5EF4-FFF2-40B4-BE49-F238E27FC236}">
                <a16:creationId xmlns:a16="http://schemas.microsoft.com/office/drawing/2014/main" id="{9FE0D68D-2A69-DBB3-5530-8156E1AA67C7}"/>
              </a:ext>
            </a:extLst>
          </p:cNvPr>
          <p:cNvSpPr>
            <a:spLocks noGrp="1"/>
          </p:cNvSpPr>
          <p:nvPr>
            <p:ph type="body" idx="1"/>
          </p:nvPr>
        </p:nvSpPr>
        <p:spPr>
          <a:xfrm>
            <a:off x="584200" y="1591056"/>
            <a:ext cx="10426700" cy="726353"/>
          </a:xfrm>
          <a:prstGeom prst="rect">
            <a:avLst/>
          </a:prstGeom>
        </p:spPr>
        <p:txBody>
          <a:bodyPr vert="horz" wrap="square" lIns="0" tIns="0" rIns="0" bIns="0" rtlCol="0">
            <a:spAutoFit/>
          </a:bodyPr>
          <a:lstStyle/>
          <a:p>
            <a:r>
              <a:rPr lang="en-US"/>
              <a:t>Edit Master text styles</a:t>
            </a:r>
          </a:p>
          <a:p>
            <a:pPr lvl="1"/>
            <a:r>
              <a:rPr lang="en-US"/>
              <a:t>Second level</a:t>
            </a:r>
          </a:p>
          <a:p>
            <a:pPr lvl="2"/>
            <a:r>
              <a:rPr lang="en-US"/>
              <a:t>Third level</a:t>
            </a:r>
          </a:p>
        </p:txBody>
      </p:sp>
      <p:pic>
        <p:nvPicPr>
          <p:cNvPr id="3" name="Graphic 2">
            <a:extLst>
              <a:ext uri="{FF2B5EF4-FFF2-40B4-BE49-F238E27FC236}">
                <a16:creationId xmlns:a16="http://schemas.microsoft.com/office/drawing/2014/main" id="{F8DDE9AA-0A0B-CBDB-0407-3CB0252BEFB4}"/>
              </a:ext>
            </a:extLst>
          </p:cNvPr>
          <p:cNvPicPr>
            <a:picLocks noChangeAspect="1"/>
          </p:cNvPicPr>
          <p:nvPr userDrawn="1"/>
        </p:nvPicPr>
        <p:blipFill>
          <a:blip r:embed="rId33">
            <a:extLst>
              <a:ext uri="{96DAC541-7B7A-43D3-8B79-37D633B846F1}">
                <asvg:svgBlip xmlns:asvg="http://schemas.microsoft.com/office/drawing/2016/SVG/main" r:embed="rId3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3583858"/>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hf sldNum="0" hdr="0" dt="0"/>
  <p:txStyles>
    <p:titleStyle>
      <a:lvl1pPr algn="l" defTabSz="932742" rtl="0" eaLnBrk="1" latinLnBrk="0" hangingPunct="1">
        <a:lnSpc>
          <a:spcPct val="100000"/>
        </a:lnSpc>
        <a:spcBef>
          <a:spcPct val="0"/>
        </a:spcBef>
        <a:buNone/>
        <a:defRPr lang="en-US" sz="2000" b="0" i="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0">
          <p15:clr>
            <a:srgbClr val="A5A5A5"/>
          </p15:clr>
        </p15:guide>
        <p15:guide id="3">
          <p15:clr>
            <a:srgbClr val="A5A5A5"/>
          </p15:clr>
        </p15:guide>
        <p15:guide id="4" pos="7496">
          <p15:clr>
            <a:srgbClr val="A5A5A5"/>
          </p15:clr>
        </p15:guide>
        <p15:guide id="5" orient="horz">
          <p15:clr>
            <a:srgbClr val="A5A5A5"/>
          </p15:clr>
        </p15:guide>
        <p15:guide id="6" orient="horz" pos="4320">
          <p15:clr>
            <a:srgbClr val="A5A5A5"/>
          </p15:clr>
        </p15:guide>
        <p15:guide id="7" orient="horz" pos="184">
          <p15:clr>
            <a:srgbClr val="A5A5A5"/>
          </p15:clr>
        </p15:guide>
        <p15:guide id="8" orient="horz" pos="4136">
          <p15:clr>
            <a:srgbClr val="A5A5A5"/>
          </p15:clr>
        </p15:guide>
        <p15:guide id="9" orient="horz" pos="3952">
          <p15:clr>
            <a:srgbClr val="C35EA4"/>
          </p15:clr>
        </p15:guide>
        <p15:guide id="10" orient="horz" pos="365">
          <p15:clr>
            <a:srgbClr val="C35EA4"/>
          </p15:clr>
        </p15:guide>
        <p15:guide id="11" pos="7307">
          <p15:clr>
            <a:srgbClr val="C35EA4"/>
          </p15:clr>
        </p15:guide>
        <p15:guide id="12" pos="365">
          <p15:clr>
            <a:srgbClr val="C35EA4"/>
          </p15:clr>
        </p15:guide>
        <p15:guide id="13" pos="188">
          <p15:clr>
            <a:srgbClr val="A5A5A5"/>
          </p15:clr>
        </p15:guide>
        <p15:guide id="14" orient="horz" pos="4224">
          <p15:clr>
            <a:srgbClr val="A5A5A5"/>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13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39">
            <a:extLst>
              <a:ext uri="{96DAC541-7B7A-43D3-8B79-37D633B846F1}">
                <asvg:svgBlip xmlns:asvg="http://schemas.microsoft.com/office/drawing/2016/SVG/main" r:embed="rId14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8307430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 id="2147483856" r:id="rId43"/>
    <p:sldLayoutId id="2147483857" r:id="rId44"/>
    <p:sldLayoutId id="2147483858" r:id="rId45"/>
    <p:sldLayoutId id="2147483859" r:id="rId46"/>
    <p:sldLayoutId id="2147483860" r:id="rId47"/>
    <p:sldLayoutId id="2147483861" r:id="rId48"/>
    <p:sldLayoutId id="2147483862" r:id="rId49"/>
    <p:sldLayoutId id="2147483863" r:id="rId50"/>
    <p:sldLayoutId id="2147483864" r:id="rId51"/>
    <p:sldLayoutId id="2147483865" r:id="rId52"/>
    <p:sldLayoutId id="2147483866" r:id="rId53"/>
    <p:sldLayoutId id="2147483867" r:id="rId54"/>
    <p:sldLayoutId id="2147483868" r:id="rId55"/>
    <p:sldLayoutId id="2147483869" r:id="rId56"/>
    <p:sldLayoutId id="2147483870" r:id="rId57"/>
    <p:sldLayoutId id="2147483871" r:id="rId58"/>
    <p:sldLayoutId id="2147483872" r:id="rId59"/>
    <p:sldLayoutId id="2147483873" r:id="rId60"/>
    <p:sldLayoutId id="2147483874" r:id="rId61"/>
    <p:sldLayoutId id="2147483875" r:id="rId62"/>
    <p:sldLayoutId id="2147483876" r:id="rId63"/>
    <p:sldLayoutId id="2147483877" r:id="rId64"/>
    <p:sldLayoutId id="2147483878" r:id="rId65"/>
    <p:sldLayoutId id="2147483879" r:id="rId66"/>
    <p:sldLayoutId id="2147483880" r:id="rId67"/>
    <p:sldLayoutId id="2147483881" r:id="rId68"/>
    <p:sldLayoutId id="2147483882" r:id="rId69"/>
    <p:sldLayoutId id="2147483883" r:id="rId70"/>
    <p:sldLayoutId id="2147483884" r:id="rId71"/>
    <p:sldLayoutId id="2147483885" r:id="rId72"/>
    <p:sldLayoutId id="2147483886" r:id="rId73"/>
    <p:sldLayoutId id="2147483887" r:id="rId74"/>
    <p:sldLayoutId id="2147483888" r:id="rId75"/>
    <p:sldLayoutId id="2147483889" r:id="rId76"/>
    <p:sldLayoutId id="2147483890" r:id="rId77"/>
    <p:sldLayoutId id="2147483891" r:id="rId78"/>
    <p:sldLayoutId id="2147483892" r:id="rId79"/>
    <p:sldLayoutId id="2147483893" r:id="rId80"/>
    <p:sldLayoutId id="2147483894" r:id="rId81"/>
    <p:sldLayoutId id="2147483895" r:id="rId82"/>
    <p:sldLayoutId id="2147483896" r:id="rId83"/>
    <p:sldLayoutId id="2147483897" r:id="rId84"/>
    <p:sldLayoutId id="2147483898" r:id="rId85"/>
    <p:sldLayoutId id="2147483899" r:id="rId86"/>
    <p:sldLayoutId id="2147483900" r:id="rId87"/>
    <p:sldLayoutId id="2147483901" r:id="rId88"/>
    <p:sldLayoutId id="2147483902" r:id="rId89"/>
    <p:sldLayoutId id="2147483903" r:id="rId90"/>
    <p:sldLayoutId id="2147483904" r:id="rId91"/>
    <p:sldLayoutId id="2147483905" r:id="rId92"/>
    <p:sldLayoutId id="2147483906" r:id="rId93"/>
    <p:sldLayoutId id="2147483907" r:id="rId94"/>
    <p:sldLayoutId id="2147483908" r:id="rId95"/>
    <p:sldLayoutId id="2147483909" r:id="rId96"/>
    <p:sldLayoutId id="2147483910" r:id="rId97"/>
    <p:sldLayoutId id="2147483911" r:id="rId98"/>
    <p:sldLayoutId id="2147483912" r:id="rId99"/>
    <p:sldLayoutId id="2147483913" r:id="rId100"/>
    <p:sldLayoutId id="2147483914" r:id="rId101"/>
    <p:sldLayoutId id="2147483915" r:id="rId102"/>
    <p:sldLayoutId id="2147483916" r:id="rId103"/>
    <p:sldLayoutId id="2147483917" r:id="rId104"/>
    <p:sldLayoutId id="2147483918" r:id="rId105"/>
    <p:sldLayoutId id="2147483919" r:id="rId106"/>
    <p:sldLayoutId id="2147483920" r:id="rId107"/>
    <p:sldLayoutId id="2147483921" r:id="rId108"/>
    <p:sldLayoutId id="2147483922" r:id="rId109"/>
    <p:sldLayoutId id="2147483923" r:id="rId110"/>
    <p:sldLayoutId id="2147483924" r:id="rId111"/>
    <p:sldLayoutId id="2147483925" r:id="rId112"/>
    <p:sldLayoutId id="2147483926" r:id="rId113"/>
    <p:sldLayoutId id="2147483927" r:id="rId114"/>
    <p:sldLayoutId id="2147483928" r:id="rId115"/>
    <p:sldLayoutId id="2147483929" r:id="rId116"/>
    <p:sldLayoutId id="2147483930" r:id="rId117"/>
    <p:sldLayoutId id="2147483931" r:id="rId118"/>
    <p:sldLayoutId id="2147483932" r:id="rId119"/>
    <p:sldLayoutId id="2147483933" r:id="rId120"/>
    <p:sldLayoutId id="2147483934" r:id="rId121"/>
    <p:sldLayoutId id="2147483935" r:id="rId122"/>
    <p:sldLayoutId id="2147483936" r:id="rId123"/>
    <p:sldLayoutId id="2147483937" r:id="rId124"/>
    <p:sldLayoutId id="2147483938" r:id="rId125"/>
    <p:sldLayoutId id="2147483939" r:id="rId126"/>
    <p:sldLayoutId id="2147483940" r:id="rId127"/>
    <p:sldLayoutId id="2147483941" r:id="rId128"/>
    <p:sldLayoutId id="2147483942" r:id="rId129"/>
    <p:sldLayoutId id="2147483943" r:id="rId130"/>
    <p:sldLayoutId id="2147483944" r:id="rId131"/>
    <p:sldLayoutId id="2147483945" r:id="rId132"/>
    <p:sldLayoutId id="2147483946" r:id="rId133"/>
    <p:sldLayoutId id="2147483947" r:id="rId134"/>
    <p:sldLayoutId id="2147483948" r:id="rId135"/>
    <p:sldLayoutId id="2147483949" r:id="rId1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13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35">
            <a:extLst>
              <a:ext uri="{96DAC541-7B7A-43D3-8B79-37D633B846F1}">
                <asvg:svgBlip xmlns:asvg="http://schemas.microsoft.com/office/drawing/2016/SVG/main" r:embed="rId13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641504775"/>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 id="2147483991" r:id="rId41"/>
    <p:sldLayoutId id="2147483992" r:id="rId42"/>
    <p:sldLayoutId id="2147483993" r:id="rId43"/>
    <p:sldLayoutId id="2147483994" r:id="rId44"/>
    <p:sldLayoutId id="2147483995" r:id="rId45"/>
    <p:sldLayoutId id="2147483996" r:id="rId46"/>
    <p:sldLayoutId id="2147483997" r:id="rId47"/>
    <p:sldLayoutId id="2147483998" r:id="rId48"/>
    <p:sldLayoutId id="2147483999" r:id="rId49"/>
    <p:sldLayoutId id="2147484000" r:id="rId50"/>
    <p:sldLayoutId id="2147484001" r:id="rId51"/>
    <p:sldLayoutId id="2147484002" r:id="rId52"/>
    <p:sldLayoutId id="2147484003" r:id="rId53"/>
    <p:sldLayoutId id="2147484004" r:id="rId54"/>
    <p:sldLayoutId id="2147484005" r:id="rId55"/>
    <p:sldLayoutId id="2147484006" r:id="rId56"/>
    <p:sldLayoutId id="2147484007" r:id="rId57"/>
    <p:sldLayoutId id="2147484008" r:id="rId58"/>
    <p:sldLayoutId id="2147484009" r:id="rId59"/>
    <p:sldLayoutId id="2147484010" r:id="rId60"/>
    <p:sldLayoutId id="2147484011" r:id="rId61"/>
    <p:sldLayoutId id="2147484012" r:id="rId62"/>
    <p:sldLayoutId id="2147484013" r:id="rId63"/>
    <p:sldLayoutId id="2147484014" r:id="rId64"/>
    <p:sldLayoutId id="2147484015" r:id="rId65"/>
    <p:sldLayoutId id="2147484016" r:id="rId66"/>
    <p:sldLayoutId id="2147484017" r:id="rId67"/>
    <p:sldLayoutId id="2147484018" r:id="rId68"/>
    <p:sldLayoutId id="2147484019" r:id="rId69"/>
    <p:sldLayoutId id="2147484020" r:id="rId70"/>
    <p:sldLayoutId id="2147484021" r:id="rId71"/>
    <p:sldLayoutId id="2147484022" r:id="rId72"/>
    <p:sldLayoutId id="2147484023" r:id="rId73"/>
    <p:sldLayoutId id="2147484024" r:id="rId74"/>
    <p:sldLayoutId id="2147484025" r:id="rId75"/>
    <p:sldLayoutId id="2147484026" r:id="rId76"/>
    <p:sldLayoutId id="2147484027" r:id="rId77"/>
    <p:sldLayoutId id="2147484028" r:id="rId78"/>
    <p:sldLayoutId id="2147484029" r:id="rId79"/>
    <p:sldLayoutId id="2147484030" r:id="rId80"/>
    <p:sldLayoutId id="2147484031" r:id="rId81"/>
    <p:sldLayoutId id="2147484032" r:id="rId82"/>
    <p:sldLayoutId id="2147484033" r:id="rId83"/>
    <p:sldLayoutId id="2147484034" r:id="rId84"/>
    <p:sldLayoutId id="2147484035" r:id="rId85"/>
    <p:sldLayoutId id="2147484036" r:id="rId86"/>
    <p:sldLayoutId id="2147484037" r:id="rId87"/>
    <p:sldLayoutId id="2147484038" r:id="rId88"/>
    <p:sldLayoutId id="2147484039" r:id="rId89"/>
    <p:sldLayoutId id="2147484040" r:id="rId90"/>
    <p:sldLayoutId id="2147484041" r:id="rId91"/>
    <p:sldLayoutId id="2147484042" r:id="rId92"/>
    <p:sldLayoutId id="2147484043" r:id="rId93"/>
    <p:sldLayoutId id="2147484044" r:id="rId94"/>
    <p:sldLayoutId id="2147484045" r:id="rId95"/>
    <p:sldLayoutId id="2147484046" r:id="rId96"/>
    <p:sldLayoutId id="2147484047" r:id="rId97"/>
    <p:sldLayoutId id="2147484048" r:id="rId98"/>
    <p:sldLayoutId id="2147484049" r:id="rId99"/>
    <p:sldLayoutId id="2147484050" r:id="rId100"/>
    <p:sldLayoutId id="2147484051" r:id="rId101"/>
    <p:sldLayoutId id="2147484052" r:id="rId102"/>
    <p:sldLayoutId id="2147484053" r:id="rId103"/>
    <p:sldLayoutId id="2147484054" r:id="rId104"/>
    <p:sldLayoutId id="2147484055" r:id="rId105"/>
    <p:sldLayoutId id="2147484056" r:id="rId106"/>
    <p:sldLayoutId id="2147484057" r:id="rId107"/>
    <p:sldLayoutId id="2147484058" r:id="rId108"/>
    <p:sldLayoutId id="2147484059" r:id="rId109"/>
    <p:sldLayoutId id="2147484060" r:id="rId110"/>
    <p:sldLayoutId id="2147484061" r:id="rId111"/>
    <p:sldLayoutId id="2147484062" r:id="rId112"/>
    <p:sldLayoutId id="2147484063" r:id="rId113"/>
    <p:sldLayoutId id="2147484064" r:id="rId114"/>
    <p:sldLayoutId id="2147484065" r:id="rId115"/>
    <p:sldLayoutId id="2147484066" r:id="rId116"/>
    <p:sldLayoutId id="2147484067" r:id="rId117"/>
    <p:sldLayoutId id="2147484068" r:id="rId118"/>
    <p:sldLayoutId id="2147484069" r:id="rId119"/>
    <p:sldLayoutId id="2147484070" r:id="rId120"/>
    <p:sldLayoutId id="2147484071" r:id="rId121"/>
    <p:sldLayoutId id="2147484072" r:id="rId122"/>
    <p:sldLayoutId id="2147484073" r:id="rId123"/>
    <p:sldLayoutId id="2147484074" r:id="rId124"/>
    <p:sldLayoutId id="2147484075" r:id="rId125"/>
    <p:sldLayoutId id="2147484076" r:id="rId126"/>
    <p:sldLayoutId id="2147484077" r:id="rId127"/>
    <p:sldLayoutId id="2147484078" r:id="rId128"/>
    <p:sldLayoutId id="2147484079" r:id="rId129"/>
    <p:sldLayoutId id="2147484080" r:id="rId130"/>
    <p:sldLayoutId id="2147484081" r:id="rId131"/>
    <p:sldLayoutId id="2147484082" r:id="rId1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19"/>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670626028"/>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19"/>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84601019"/>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57">
          <p15:clr>
            <a:srgbClr val="C35EA4"/>
          </p15:clr>
        </p15:guide>
        <p15:guide id="17" pos="7323">
          <p15:clr>
            <a:srgbClr val="C35EA4"/>
          </p15:clr>
        </p15:guide>
        <p15:guide id="25" orient="horz" pos="36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26681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 id="2147484144" r:id="rId25"/>
    <p:sldLayoutId id="2147484145" r:id="rId26"/>
    <p:sldLayoutId id="2147484146" r:id="rId27"/>
    <p:sldLayoutId id="2147484147" r:id="rId28"/>
    <p:sldLayoutId id="2147484148" r:id="rId29"/>
    <p:sldLayoutId id="2147484149" r:id="rId30"/>
    <p:sldLayoutId id="2147484150" r:id="rId31"/>
    <p:sldLayoutId id="2147484151" r:id="rId32"/>
    <p:sldLayoutId id="2147484152" r:id="rId33"/>
    <p:sldLayoutId id="2147484153" r:id="rId34"/>
    <p:sldLayoutId id="2147484154" r:id="rId35"/>
    <p:sldLayoutId id="2147484155" r:id="rId36"/>
    <p:sldLayoutId id="2147484156" r:id="rId37"/>
    <p:sldLayoutId id="2147484157" r:id="rId38"/>
    <p:sldLayoutId id="2147484158" r:id="rId39"/>
    <p:sldLayoutId id="2147484159" r:id="rId40"/>
    <p:sldLayoutId id="2147484160" r:id="rId41"/>
    <p:sldLayoutId id="2147484161" r:id="rId42"/>
    <p:sldLayoutId id="2147484162" r:id="rId43"/>
    <p:sldLayoutId id="2147484163" r:id="rId44"/>
    <p:sldLayoutId id="2147484164" r:id="rId45"/>
    <p:sldLayoutId id="2147484165" r:id="rId46"/>
    <p:sldLayoutId id="2147484166" r:id="rId47"/>
    <p:sldLayoutId id="2147484167" r:id="rId48"/>
    <p:sldLayoutId id="2147484168" r:id="rId49"/>
    <p:sldLayoutId id="2147484169" r:id="rId50"/>
    <p:sldLayoutId id="2147484170" r:id="rId51"/>
    <p:sldLayoutId id="2147484171" r:id="rId52"/>
    <p:sldLayoutId id="2147484172" r:id="rId53"/>
    <p:sldLayoutId id="2147484173" r:id="rId54"/>
    <p:sldLayoutId id="2147484174" r:id="rId55"/>
    <p:sldLayoutId id="2147484175" r:id="rId56"/>
    <p:sldLayoutId id="2147484176" r:id="rId57"/>
    <p:sldLayoutId id="2147484177" r:id="rId58"/>
    <p:sldLayoutId id="2147484178" r:id="rId59"/>
    <p:sldLayoutId id="2147484179" r:id="rId60"/>
    <p:sldLayoutId id="2147484180" r:id="rId61"/>
    <p:sldLayoutId id="2147484181" r:id="rId62"/>
    <p:sldLayoutId id="2147484182" r:id="rId63"/>
    <p:sldLayoutId id="2147484183" r:id="rId64"/>
    <p:sldLayoutId id="2147484184" r:id="rId65"/>
    <p:sldLayoutId id="2147484185" r:id="rId66"/>
    <p:sldLayoutId id="2147484186" r:id="rId67"/>
    <p:sldLayoutId id="2147484187" r:id="rId68"/>
    <p:sldLayoutId id="2147484188" r:id="rId69"/>
    <p:sldLayoutId id="2147484189" r:id="rId70"/>
    <p:sldLayoutId id="2147484190" r:id="rId71"/>
    <p:sldLayoutId id="2147484191" r:id="rId72"/>
    <p:sldLayoutId id="2147484192" r:id="rId73"/>
    <p:sldLayoutId id="2147484193" r:id="rId74"/>
    <p:sldLayoutId id="2147484194" r:id="rId75"/>
    <p:sldLayoutId id="2147484195" r:id="rId76"/>
    <p:sldLayoutId id="2147484196" r:id="rId77"/>
    <p:sldLayoutId id="2147484197" r:id="rId78"/>
    <p:sldLayoutId id="2147484198" r:id="rId79"/>
    <p:sldLayoutId id="2147484199" r:id="rId80"/>
    <p:sldLayoutId id="2147484200" r:id="rId81"/>
    <p:sldLayoutId id="2147484201" r:id="rId82"/>
    <p:sldLayoutId id="2147484202" r:id="rId83"/>
    <p:sldLayoutId id="2147484203" r:id="rId84"/>
    <p:sldLayoutId id="2147484204" r:id="rId85"/>
    <p:sldLayoutId id="2147484205" r:id="rId86"/>
    <p:sldLayoutId id="2147484206" r:id="rId87"/>
    <p:sldLayoutId id="2147484207" r:id="rId88"/>
    <p:sldLayoutId id="2147484208" r:id="rId89"/>
    <p:sldLayoutId id="2147484209" r:id="rId90"/>
    <p:sldLayoutId id="2147484210" r:id="rId91"/>
    <p:sldLayoutId id="2147484211" r:id="rId92"/>
    <p:sldLayoutId id="2147484212" r:id="rId93"/>
    <p:sldLayoutId id="2147484213" r:id="rId94"/>
    <p:sldLayoutId id="2147484214" r:id="rId95"/>
    <p:sldLayoutId id="2147484215" r:id="rId96"/>
    <p:sldLayoutId id="2147484216" r:id="rId97"/>
    <p:sldLayoutId id="2147484217" r:id="rId98"/>
    <p:sldLayoutId id="2147484218" r:id="rId99"/>
    <p:sldLayoutId id="2147484219" r:id="rId100"/>
    <p:sldLayoutId id="2147484220" r:id="rId101"/>
    <p:sldLayoutId id="2147484221" r:id="rId102"/>
    <p:sldLayoutId id="2147484222" r:id="rId103"/>
    <p:sldLayoutId id="2147484223" r:id="rId104"/>
    <p:sldLayoutId id="2147484224" r:id="rId105"/>
    <p:sldLayoutId id="2147484225" r:id="rId106"/>
    <p:sldLayoutId id="2147484226" r:id="rId107"/>
    <p:sldLayoutId id="2147484227" r:id="rId108"/>
    <p:sldLayoutId id="2147484228" r:id="rId109"/>
    <p:sldLayoutId id="2147484229" r:id="rId110"/>
    <p:sldLayoutId id="2147484230" r:id="rId111"/>
    <p:sldLayoutId id="2147484231" r:id="rId112"/>
    <p:sldLayoutId id="2147484232" r:id="rId113"/>
    <p:sldLayoutId id="2147484233" r:id="rId114"/>
    <p:sldLayoutId id="2147484234" r:id="rId115"/>
    <p:sldLayoutId id="2147484235" r:id="rId116"/>
    <p:sldLayoutId id="2147484236" r:id="rId117"/>
    <p:sldLayoutId id="2147484237" r:id="rId118"/>
    <p:sldLayoutId id="2147484238" r:id="rId119"/>
    <p:sldLayoutId id="2147484239" r:id="rId120"/>
    <p:sldLayoutId id="2147484240" r:id="rId121"/>
    <p:sldLayoutId id="2147484241" r:id="rId122"/>
    <p:sldLayoutId id="2147484242" r:id="rId123"/>
    <p:sldLayoutId id="2147484243" r:id="rId124"/>
    <p:sldLayoutId id="2147484244" r:id="rId125"/>
    <p:sldLayoutId id="2147484245" r:id="rId126"/>
    <p:sldLayoutId id="2147484246" r:id="rId127"/>
    <p:sldLayoutId id="2147484247" r:id="rId128"/>
    <p:sldLayoutId id="2147484248" r:id="rId129"/>
    <p:sldLayoutId id="2147484249" r:id="rId130"/>
    <p:sldLayoutId id="2147484250" r:id="rId131"/>
    <p:sldLayoutId id="2147484251" r:id="rId132"/>
    <p:sldLayoutId id="2147484252" r:id="rId133"/>
    <p:sldLayoutId id="2147484253" r:id="rId1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xml"/><Relationship Id="rId1" Type="http://schemas.openxmlformats.org/officeDocument/2006/relationships/slideLayout" Target="../slideLayouts/slideLayout56.xml"/><Relationship Id="rId4" Type="http://schemas.microsoft.com/office/2007/relationships/hdphoto" Target="../media/hdphoto4.wdp"/></Relationships>
</file>

<file path=ppt/slides/_rels/slide1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7.jpeg"/><Relationship Id="rId7" Type="http://schemas.openxmlformats.org/officeDocument/2006/relationships/image" Target="../media/image151.jpeg"/><Relationship Id="rId2" Type="http://schemas.openxmlformats.org/officeDocument/2006/relationships/notesSlide" Target="../notesSlides/notesSlide10.xml"/><Relationship Id="rId1" Type="http://schemas.openxmlformats.org/officeDocument/2006/relationships/slideLayout" Target="../slideLayouts/slideLayout168.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1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xml"/><Relationship Id="rId1"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3.xml"/><Relationship Id="rId1" Type="http://schemas.openxmlformats.org/officeDocument/2006/relationships/slideLayout" Target="../slideLayouts/slideLayout56.xml"/><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4.xml"/></Relationships>
</file>

<file path=ppt/slides/_rels/slide1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5.xml"/><Relationship Id="rId1" Type="http://schemas.openxmlformats.org/officeDocument/2006/relationships/slideLayout" Target="../slideLayouts/slideLayout170.xml"/><Relationship Id="rId5" Type="http://schemas.openxmlformats.org/officeDocument/2006/relationships/image" Target="../media/image156.jpeg"/><Relationship Id="rId4" Type="http://schemas.openxmlformats.org/officeDocument/2006/relationships/hyperlink" Target="https://www.microsoft.com/en/customers/story/22849-chevron-iot-operations/?msockid=08d85f42b27469be0b394a6fb359689d"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6.xml"/><Relationship Id="rId1" Type="http://schemas.openxmlformats.org/officeDocument/2006/relationships/slideLayout" Target="../slideLayouts/slideLayout170.xml"/><Relationship Id="rId5" Type="http://schemas.openxmlformats.org/officeDocument/2006/relationships/image" Target="../media/image158.png"/><Relationship Id="rId4" Type="http://schemas.openxmlformats.org/officeDocument/2006/relationships/hyperlink" Target="https://www.microsoft.com/en/customers/story/24642-south32-microsoft-purview-data-governance"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7.xml"/><Relationship Id="rId1" Type="http://schemas.openxmlformats.org/officeDocument/2006/relationships/slideLayout" Target="../slideLayouts/slideLayout56.xml"/><Relationship Id="rId4" Type="http://schemas.microsoft.com/office/2007/relationships/hdphoto" Target="../media/hdphoto9.wdp"/></Relationships>
</file>

<file path=ppt/slides/_rels/slide1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8.xml"/><Relationship Id="rId1" Type="http://schemas.openxmlformats.org/officeDocument/2006/relationships/slideLayout" Target="../slideLayouts/slideLayout170.xml"/><Relationship Id="rId5" Type="http://schemas.openxmlformats.org/officeDocument/2006/relationships/image" Target="../media/image161.jpeg"/><Relationship Id="rId4" Type="http://schemas.openxmlformats.org/officeDocument/2006/relationships/hyperlink" Target="https://www.microsoft.com/en/customers/story/22686-eneco-microsoft-copilot-studio"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9.xml"/><Relationship Id="rId1" Type="http://schemas.openxmlformats.org/officeDocument/2006/relationships/slideLayout" Target="../slideLayouts/slideLayout170.xml"/><Relationship Id="rId5" Type="http://schemas.openxmlformats.org/officeDocument/2006/relationships/image" Target="../media/image163.jpeg"/><Relationship Id="rId4" Type="http://schemas.openxmlformats.org/officeDocument/2006/relationships/hyperlink" Target="https://www.microsoft.com/en/customers/story/1709539049606899869-pacific-gas-and-electric-microsoft-power-apps-energy-usa"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svg"/><Relationship Id="rId2" Type="http://schemas.openxmlformats.org/officeDocument/2006/relationships/notesSlide" Target="../notesSlides/notesSlide2.xml"/><Relationship Id="rId1" Type="http://schemas.openxmlformats.org/officeDocument/2006/relationships/slideLayout" Target="../slideLayouts/slideLayout56.xml"/><Relationship Id="rId6" Type="http://schemas.openxmlformats.org/officeDocument/2006/relationships/image" Target="../media/image123.png"/><Relationship Id="rId11" Type="http://schemas.openxmlformats.org/officeDocument/2006/relationships/image" Target="../media/image128.svg"/><Relationship Id="rId5" Type="http://schemas.openxmlformats.org/officeDocument/2006/relationships/image" Target="../media/image122.sv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svg"/></Relationships>
</file>

<file path=ppt/slides/_rels/slide2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0.xml"/><Relationship Id="rId1" Type="http://schemas.openxmlformats.org/officeDocument/2006/relationships/slideLayout" Target="../slideLayouts/slideLayout56.xml"/><Relationship Id="rId4" Type="http://schemas.microsoft.com/office/2007/relationships/hdphoto" Target="../media/hdphoto10.wdp"/></Relationships>
</file>

<file path=ppt/slides/_rels/slide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1.xml"/><Relationship Id="rId1" Type="http://schemas.openxmlformats.org/officeDocument/2006/relationships/slideLayout" Target="../slideLayouts/slideLayout170.xml"/><Relationship Id="rId5" Type="http://schemas.openxmlformats.org/officeDocument/2006/relationships/image" Target="../media/image165.jpeg"/><Relationship Id="rId4" Type="http://schemas.openxmlformats.org/officeDocument/2006/relationships/hyperlink" Target="https://www.microsoft.com/en/customers/story/1802017730982552224-uniper-se-microsoft-copilot-for-microsoft-365-energy-en-germany?msockid=08d85f42b27469be0b394a6fb359689d"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2.xml"/><Relationship Id="rId1" Type="http://schemas.openxmlformats.org/officeDocument/2006/relationships/slideLayout" Target="../slideLayouts/slideLayout170.xml"/><Relationship Id="rId5" Type="http://schemas.openxmlformats.org/officeDocument/2006/relationships/image" Target="../media/image167.jpeg"/><Relationship Id="rId4" Type="http://schemas.openxmlformats.org/officeDocument/2006/relationships/hyperlink" Target="https://www.microsoft.com/en/customers/story/23367-eon-uk-dynamics-365-customer-service"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23.xml"/><Relationship Id="rId1" Type="http://schemas.openxmlformats.org/officeDocument/2006/relationships/slideLayout" Target="../slideLayouts/slideLayout170.xml"/><Relationship Id="rId5" Type="http://schemas.openxmlformats.org/officeDocument/2006/relationships/image" Target="../media/image169.jpeg"/><Relationship Id="rId4" Type="http://schemas.openxmlformats.org/officeDocument/2006/relationships/hyperlink" Target="https://www.microsoft.com/en/customers/story/1747349596437245542-evergy-power-apps-energy-en-united-state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42.xml"/></Relationships>
</file>

<file path=ppt/slides/_rels/slide2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5.xml"/><Relationship Id="rId1" Type="http://schemas.openxmlformats.org/officeDocument/2006/relationships/slideLayout" Target="../slideLayouts/slideLayout56.xml"/><Relationship Id="rId5" Type="http://schemas.microsoft.com/office/2007/relationships/hdphoto" Target="../media/hdphoto11.wdp"/><Relationship Id="rId4" Type="http://schemas.openxmlformats.org/officeDocument/2006/relationships/image" Target="../media/image171.png"/></Relationships>
</file>

<file path=ppt/slides/_rels/slide2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6.xml"/><Relationship Id="rId1" Type="http://schemas.openxmlformats.org/officeDocument/2006/relationships/slideLayout" Target="../slideLayouts/slideLayout170.xml"/><Relationship Id="rId5" Type="http://schemas.openxmlformats.org/officeDocument/2006/relationships/image" Target="../media/image172.jpeg"/><Relationship Id="rId4" Type="http://schemas.openxmlformats.org/officeDocument/2006/relationships/hyperlink" Target="https://www.microsoft.com/en/customers/story/1686511475723076178-petronas-energy-azure-en-malaysia"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7.xml"/><Relationship Id="rId1" Type="http://schemas.openxmlformats.org/officeDocument/2006/relationships/slideLayout" Target="../slideLayouts/slideLayout170.xml"/><Relationship Id="rId6" Type="http://schemas.openxmlformats.org/officeDocument/2006/relationships/image" Target="../media/image174.png"/><Relationship Id="rId5" Type="http://schemas.openxmlformats.org/officeDocument/2006/relationships/hyperlink" Target="https://www.microsoft.com/en/customers/story/1711956075760053884-enerjisauretim-azure-energy-en-turkiye?msockid=3e404d65e0e667d53e6058eee15c667b" TargetMode="External"/><Relationship Id="rId4" Type="http://schemas.openxmlformats.org/officeDocument/2006/relationships/hyperlink" Target="https://www.microsoft.com/en/customers/story/1711956075760053884-enerjisauretim-azure-energy-en-turkiye"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8.xml"/><Relationship Id="rId1" Type="http://schemas.openxmlformats.org/officeDocument/2006/relationships/slideLayout" Target="../slideLayouts/slideLayout170.xml"/><Relationship Id="rId5" Type="http://schemas.openxmlformats.org/officeDocument/2006/relationships/image" Target="../media/image176.jpeg"/><Relationship Id="rId4" Type="http://schemas.openxmlformats.org/officeDocument/2006/relationships/hyperlink" Target="https://www.microsoft.com/en/customers/story/1675611442857614824-akerbp-energy-azure-data-manager-for-energy?msockid=3e404d65e0e667d53e6058eee15c667b"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9.xml"/><Relationship Id="rId1" Type="http://schemas.openxmlformats.org/officeDocument/2006/relationships/slideLayout" Target="../slideLayouts/slideLayout460.xml"/><Relationship Id="rId5" Type="http://schemas.openxmlformats.org/officeDocument/2006/relationships/image" Target="../media/image179.png"/><Relationship Id="rId4" Type="http://schemas.openxmlformats.org/officeDocument/2006/relationships/image" Target="../media/image178.png"/></Relationships>
</file>

<file path=ppt/slides/_rels/slide3.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3.xml"/><Relationship Id="rId1" Type="http://schemas.openxmlformats.org/officeDocument/2006/relationships/slideLayout" Target="../slideLayouts/slideLayout135.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0.svg"/></Relationships>
</file>

<file path=ppt/slides/_rels/slide30.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699.xml"/></Relationships>
</file>

<file path=ppt/slides/_rels/slide31.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181.png"/><Relationship Id="rId7" Type="http://schemas.openxmlformats.org/officeDocument/2006/relationships/image" Target="../media/image183.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microsoft.com/office/2007/relationships/hdphoto" Target="../media/hdphoto13.wdp"/><Relationship Id="rId5" Type="http://schemas.openxmlformats.org/officeDocument/2006/relationships/image" Target="../media/image182.png"/><Relationship Id="rId10" Type="http://schemas.microsoft.com/office/2007/relationships/hdphoto" Target="../media/hdphoto15.wdp"/><Relationship Id="rId4" Type="http://schemas.microsoft.com/office/2007/relationships/hdphoto" Target="../media/hdphoto12.wdp"/><Relationship Id="rId9" Type="http://schemas.openxmlformats.org/officeDocument/2006/relationships/image" Target="../media/image18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88.svg"/><Relationship Id="rId2" Type="http://schemas.openxmlformats.org/officeDocument/2006/relationships/slideLayout" Target="../slideLayouts/slideLayout24.xml"/><Relationship Id="rId1" Type="http://schemas.openxmlformats.org/officeDocument/2006/relationships/themeOverride" Target="../theme/themeOverride1.xml"/><Relationship Id="rId6" Type="http://schemas.openxmlformats.org/officeDocument/2006/relationships/image" Target="../media/image187.png"/><Relationship Id="rId5" Type="http://schemas.openxmlformats.org/officeDocument/2006/relationships/image" Target="../media/image186.svg"/><Relationship Id="rId4" Type="http://schemas.openxmlformats.org/officeDocument/2006/relationships/image" Target="../media/image18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70.xml"/></Relationships>
</file>

<file path=ppt/slides/_rels/slide34.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hyperlink" Target="https://www.microsoft.com/en/customers/story/23367-eon-uk-dynamics-365-customer-service" TargetMode="External"/><Relationship Id="rId1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90.png"/><Relationship Id="rId12" Type="http://schemas.openxmlformats.org/officeDocument/2006/relationships/hyperlink" Target="https://www.microsoft.com/en/customers/story/22849-chevron-iot-operations/?msockid=08d85f42b27469be0b394a6fb359689d" TargetMode="External"/><Relationship Id="rId17" Type="http://schemas.openxmlformats.org/officeDocument/2006/relationships/hyperlink" Target="https://www.microsoft.com/en/customers/story/24642-south32-microsoft-purview-data-governance" TargetMode="External"/><Relationship Id="rId2" Type="http://schemas.openxmlformats.org/officeDocument/2006/relationships/notesSlide" Target="../notesSlides/notesSlide33.xml"/><Relationship Id="rId16" Type="http://schemas.openxmlformats.org/officeDocument/2006/relationships/hyperlink" Target="https://www.microsoft.com/en/customers/story/1675611442857614824-akerbp-energy-azure-data-manager-for-energy?msockid=3e404d65e0e667d53e6058eee15c667b" TargetMode="External"/><Relationship Id="rId1" Type="http://schemas.openxmlformats.org/officeDocument/2006/relationships/slideLayout" Target="../slideLayouts/slideLayout168.xml"/><Relationship Id="rId6" Type="http://schemas.openxmlformats.org/officeDocument/2006/relationships/image" Target="../media/image166.png"/><Relationship Id="rId11" Type="http://schemas.openxmlformats.org/officeDocument/2006/relationships/hyperlink" Target="https://www.microsoft.com/en/customers/story/1723806548866436285-galpenergia-microsoft-defender-for-office365-energy-en-portugal?web=1" TargetMode="External"/><Relationship Id="rId5" Type="http://schemas.openxmlformats.org/officeDocument/2006/relationships/image" Target="../media/image148.png"/><Relationship Id="rId15" Type="http://schemas.openxmlformats.org/officeDocument/2006/relationships/hyperlink" Target="https://www.microsoft.com/en/customers/story/1686511475723076178-petronas-energy-azure-en-malaysia" TargetMode="External"/><Relationship Id="rId10" Type="http://schemas.openxmlformats.org/officeDocument/2006/relationships/hyperlink" Target="https://www.microsoft.com/en/customers/story/1802017730982552224-uniper-se-microsoft-copilot-for-microsoft-365-energy-en-germany" TargetMode="External"/><Relationship Id="rId4" Type="http://schemas.openxmlformats.org/officeDocument/2006/relationships/image" Target="../media/image189.png"/><Relationship Id="rId9" Type="http://schemas.openxmlformats.org/officeDocument/2006/relationships/image" Target="../media/image175.png"/><Relationship Id="rId14" Type="http://schemas.openxmlformats.org/officeDocument/2006/relationships/hyperlink" Target="https://www.microsoft.com/en/customers/story/1711956075760053884-enerjisauretim-azure-energy-en-turkiye"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hyperlink" Target="https://www.icf.com/insights/energy/electricity-demand-expected-to-grow" TargetMode="External"/><Relationship Id="rId3" Type="http://schemas.openxmlformats.org/officeDocument/2006/relationships/image" Target="../media/image135.png"/><Relationship Id="rId7" Type="http://schemas.openxmlformats.org/officeDocument/2006/relationships/image" Target="../media/image137.png"/><Relationship Id="rId2" Type="http://schemas.openxmlformats.org/officeDocument/2006/relationships/notesSlide" Target="../notesSlides/notesSlide4.xml"/><Relationship Id="rId1" Type="http://schemas.openxmlformats.org/officeDocument/2006/relationships/slideLayout" Target="../slideLayouts/slideLayout169.xml"/><Relationship Id="rId6" Type="http://schemas.openxmlformats.org/officeDocument/2006/relationships/hyperlink" Target="https://www.iea.org/reports/world-energy-employment-2024/executive-summary" TargetMode="External"/><Relationship Id="rId5" Type="http://schemas.openxmlformats.org/officeDocument/2006/relationships/image" Target="../media/image136.png"/><Relationship Id="rId10" Type="http://schemas.openxmlformats.org/officeDocument/2006/relationships/hyperlink" Target="https://www.climatewatchdata.org/ghg-emissions?breakBy=sector&amp;chartType=percentage&amp;end_year=2022&amp;start_year=1990" TargetMode="External"/><Relationship Id="rId4" Type="http://schemas.openxmlformats.org/officeDocument/2006/relationships/hyperlink" Target="https://iea.blob.core.windows.net/assets/b3a8b37f-32d1-4873-9eca-31cec5895264/EnergyandAI.pdf" TargetMode="External"/><Relationship Id="rId9" Type="http://schemas.openxmlformats.org/officeDocument/2006/relationships/image" Target="../media/image138.png"/></Relationships>
</file>

<file path=ppt/slides/_rels/slide5.xml.rels><?xml version="1.0" encoding="UTF-8" standalone="yes"?>
<Relationships xmlns="http://schemas.openxmlformats.org/package/2006/relationships"><Relationship Id="rId3" Type="http://schemas.openxmlformats.org/officeDocument/2006/relationships/hyperlink" Target="https://www.mckinsey.com/capabilities/mckinsey-digital/our-insights/superagency-in-the-workplace-empowering-people-to-unlock-ais-full-potential-at-work" TargetMode="External"/><Relationship Id="rId2" Type="http://schemas.openxmlformats.org/officeDocument/2006/relationships/notesSlide" Target="../notesSlides/notesSlide5.xml"/><Relationship Id="rId1" Type="http://schemas.openxmlformats.org/officeDocument/2006/relationships/slideLayout" Target="../slideLayouts/slideLayout168.xml"/><Relationship Id="rId6" Type="http://schemas.openxmlformats.org/officeDocument/2006/relationships/hyperlink" Target="https://www.microsoft.com/en-us/worklab/work-trend-index/2025-the-year-the-frontier-firm-is-born" TargetMode="External"/><Relationship Id="rId5" Type="http://schemas.openxmlformats.org/officeDocument/2006/relationships/hyperlink" Target="https://aiqintelligence.ae/newsroom/news-and-press-releases/ADNOC-and-AIQ-Successfully-Complete-Trial-Phase-of-Agentic-AI-Solution" TargetMode="External"/><Relationship Id="rId4" Type="http://schemas.openxmlformats.org/officeDocument/2006/relationships/hyperlink" Target="https://iea.blob.core.windows.net/assets/b3a8b37f-32d1-4873-9eca-31cec5895264/EnergyandAI.pdf" TargetMode="External"/></Relationships>
</file>

<file path=ppt/slides/_rels/slide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39.png"/><Relationship Id="rId7" Type="http://schemas.openxmlformats.org/officeDocument/2006/relationships/image" Target="../media/image141.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microsoft.com/office/2007/relationships/hdphoto" Target="../media/hdphoto6.wdp"/><Relationship Id="rId5" Type="http://schemas.openxmlformats.org/officeDocument/2006/relationships/image" Target="../media/image140.png"/><Relationship Id="rId10" Type="http://schemas.microsoft.com/office/2007/relationships/hdphoto" Target="../media/hdphoto8.wdp"/><Relationship Id="rId4" Type="http://schemas.microsoft.com/office/2007/relationships/hdphoto" Target="../media/hdphoto5.wdp"/><Relationship Id="rId9" Type="http://schemas.openxmlformats.org/officeDocument/2006/relationships/image" Target="../media/image142.png"/></Relationships>
</file>

<file path=ppt/slides/_rels/slide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46.png"/><Relationship Id="rId3" Type="http://schemas.openxmlformats.org/officeDocument/2006/relationships/image" Target="../media/image139.png"/><Relationship Id="rId7" Type="http://schemas.openxmlformats.org/officeDocument/2006/relationships/image" Target="../media/image141.png"/><Relationship Id="rId12"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microsoft.com/office/2007/relationships/hdphoto" Target="../media/hdphoto6.wdp"/><Relationship Id="rId11" Type="http://schemas.openxmlformats.org/officeDocument/2006/relationships/image" Target="../media/image144.png"/><Relationship Id="rId5" Type="http://schemas.openxmlformats.org/officeDocument/2006/relationships/image" Target="../media/image140.png"/><Relationship Id="rId10" Type="http://schemas.microsoft.com/office/2007/relationships/hdphoto" Target="../media/hdphoto8.wdp"/><Relationship Id="rId4" Type="http://schemas.microsoft.com/office/2007/relationships/hdphoto" Target="../media/hdphoto5.wdp"/><Relationship Id="rId9" Type="http://schemas.openxmlformats.org/officeDocument/2006/relationships/image" Target="../media/image14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088565E-FE6C-1875-E8F9-715984810762}"/>
              </a:ext>
            </a:extLst>
          </p:cNvPr>
          <p:cNvSpPr txBox="1">
            <a:spLocks/>
          </p:cNvSpPr>
          <p:nvPr/>
        </p:nvSpPr>
        <p:spPr>
          <a:xfrm>
            <a:off x="379708" y="2274974"/>
            <a:ext cx="9040462" cy="99124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1" indent="0" algn="l" defTabSz="630263" rtl="0" eaLnBrk="1" fontAlgn="base" latinLnBrk="0" hangingPunct="1">
              <a:lnSpc>
                <a:spcPct val="100000"/>
              </a:lnSpc>
              <a:spcBef>
                <a:spcPts val="1500"/>
              </a:spcBef>
              <a:spcAft>
                <a:spcPts val="0"/>
              </a:spcAft>
              <a:buClrTx/>
              <a:buSzPct val="90000"/>
              <a:buFontTx/>
              <a:buNone/>
              <a:tabLst>
                <a:tab pos="1371655" algn="l"/>
              </a:tabLst>
              <a:defRPr/>
            </a:pPr>
            <a:r>
              <a:rPr kumimoji="0" lang="en-US" sz="6600" b="1" i="0" u="none" strike="noStrike" kern="1200" cap="none" spc="0" normalizeH="0" baseline="0" noProof="0" dirty="0">
                <a:ln w="3175">
                  <a:noFill/>
                </a:ln>
                <a:gradFill flip="none" rotWithShape="1">
                  <a:gsLst>
                    <a:gs pos="80000">
                      <a:srgbClr val="318581"/>
                    </a:gs>
                    <a:gs pos="0">
                      <a:srgbClr val="0A6BBA"/>
                    </a:gs>
                  </a:gsLst>
                  <a:path path="circle">
                    <a:fillToRect l="100000" t="100000"/>
                  </a:path>
                  <a:tileRect r="-100000" b="-100000"/>
                </a:gradFill>
                <a:effectLst/>
                <a:uLnTx/>
                <a:uFillTx/>
                <a:latin typeface="Segoe UI Variable Display Semibold" pitchFamily="2" charset="0"/>
                <a:ea typeface="+mn-ea"/>
                <a:cs typeface="Segoe UI" pitchFamily="34" charset="0"/>
              </a:rPr>
              <a:t>Becoming</a:t>
            </a:r>
          </a:p>
        </p:txBody>
      </p:sp>
      <p:sp>
        <p:nvSpPr>
          <p:cNvPr id="2" name="TextBox 1">
            <a:extLst>
              <a:ext uri="{FF2B5EF4-FFF2-40B4-BE49-F238E27FC236}">
                <a16:creationId xmlns:a16="http://schemas.microsoft.com/office/drawing/2014/main" id="{C094B4F8-EBF0-BEA7-7D9D-2AC1D4A5AA1C}"/>
              </a:ext>
            </a:extLst>
          </p:cNvPr>
          <p:cNvSpPr txBox="1"/>
          <p:nvPr/>
        </p:nvSpPr>
        <p:spPr>
          <a:xfrm>
            <a:off x="379708" y="3132886"/>
            <a:ext cx="8709707" cy="1369606"/>
          </a:xfrm>
          <a:prstGeom prst="rect">
            <a:avLst/>
          </a:prstGeom>
          <a:noFill/>
        </p:spPr>
        <p:txBody>
          <a:bodyPr wrap="square">
            <a:spAutoFit/>
          </a:bodyPr>
          <a:lstStyle/>
          <a:p>
            <a:pPr marL="0" marR="0" lvl="1" indent="0" algn="l" defTabSz="630263" rtl="0" eaLnBrk="1" fontAlgn="base" latinLnBrk="0" hangingPunct="1">
              <a:lnSpc>
                <a:spcPct val="100000"/>
              </a:lnSpc>
              <a:spcBef>
                <a:spcPts val="1500"/>
              </a:spcBef>
              <a:spcAft>
                <a:spcPts val="0"/>
              </a:spcAft>
              <a:buClrTx/>
              <a:buSzPct val="90000"/>
              <a:buFontTx/>
              <a:buNone/>
              <a:tabLst>
                <a:tab pos="1371655" algn="l"/>
              </a:tabLst>
              <a:defRPr/>
            </a:pPr>
            <a:r>
              <a:rPr kumimoji="0" lang="en-US" sz="8300" b="1" i="0" u="none" strike="noStrike" kern="1200" cap="none" spc="0" normalizeH="0" baseline="0" noProof="0" dirty="0">
                <a:ln w="3175">
                  <a:noFill/>
                </a:ln>
                <a:gradFill flip="none" rotWithShape="1">
                  <a:gsLst>
                    <a:gs pos="80000">
                      <a:srgbClr val="318581"/>
                    </a:gs>
                    <a:gs pos="0">
                      <a:srgbClr val="0A6BBA"/>
                    </a:gs>
                  </a:gsLst>
                  <a:path path="circle">
                    <a:fillToRect l="100000" t="100000"/>
                  </a:path>
                  <a:tileRect r="-100000" b="-100000"/>
                </a:gradFill>
                <a:effectLst/>
                <a:uLnTx/>
                <a:uFillTx/>
                <a:latin typeface="Segoe UI Variable Display Semibold" pitchFamily="2" charset="0"/>
                <a:ea typeface="+mn-ea"/>
                <a:cs typeface="Segoe UI" pitchFamily="34" charset="0"/>
              </a:rPr>
              <a:t>Frontier</a:t>
            </a:r>
          </a:p>
        </p:txBody>
      </p:sp>
      <p:pic>
        <p:nvPicPr>
          <p:cNvPr id="5" name="Picture 4" descr="AI-generated abstract image depicting &quot;Becoming Frontier&quot; ">
            <a:extLst>
              <a:ext uri="{FF2B5EF4-FFF2-40B4-BE49-F238E27FC236}">
                <a16:creationId xmlns:a16="http://schemas.microsoft.com/office/drawing/2014/main" id="{FD1BC6A3-6B19-8892-0E90-5E5B1602EA0B}"/>
              </a:ext>
            </a:extLst>
          </p:cNvPr>
          <p:cNvPicPr>
            <a:picLocks noChangeAspect="1"/>
          </p:cNvPicPr>
          <p:nvPr/>
        </p:nvPicPr>
        <p:blipFill>
          <a:blip r:embed="rId3">
            <a:duotone>
              <a:prstClr val="black"/>
              <a:schemeClr val="tx1">
                <a:tint val="45000"/>
                <a:satMod val="400000"/>
              </a:schemeClr>
            </a:duotone>
            <a:alphaModFix/>
            <a:extLst>
              <a:ext uri="{BEBA8EAE-BF5A-486C-A8C5-ECC9F3942E4B}">
                <a14:imgProps xmlns:a14="http://schemas.microsoft.com/office/drawing/2010/main">
                  <a14:imgLayer r:embed="rId4">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4275547" y="544119"/>
            <a:ext cx="8027494" cy="5769762"/>
          </a:xfrm>
          <a:prstGeom prst="rect">
            <a:avLst/>
          </a:prstGeom>
        </p:spPr>
      </p:pic>
      <p:sp>
        <p:nvSpPr>
          <p:cNvPr id="3" name="Title 2">
            <a:extLst>
              <a:ext uri="{FF2B5EF4-FFF2-40B4-BE49-F238E27FC236}">
                <a16:creationId xmlns:a16="http://schemas.microsoft.com/office/drawing/2014/main" id="{D50B73D3-3A19-18B4-D61C-A38C02760C6E}"/>
              </a:ext>
            </a:extLst>
          </p:cNvPr>
          <p:cNvSpPr>
            <a:spLocks noGrp="1"/>
          </p:cNvSpPr>
          <p:nvPr>
            <p:ph type="title" idx="4294967295"/>
          </p:nvPr>
        </p:nvSpPr>
        <p:spPr>
          <a:xfrm>
            <a:off x="1174750" y="-614363"/>
            <a:ext cx="11017250" cy="554038"/>
          </a:xfrm>
        </p:spPr>
        <p:txBody>
          <a:bodyPr vert="horz" wrap="square" lIns="0" tIns="0" rIns="0" bIns="0" rtlCol="0" anchor="b">
            <a:spAutoFit/>
          </a:bodyPr>
          <a:lstStyle/>
          <a:p>
            <a:r>
              <a:rPr lang="en-US">
                <a:solidFill>
                  <a:schemeClr val="bg1"/>
                </a:solidFill>
              </a:rPr>
              <a:t>Becoming Frontier</a:t>
            </a:r>
          </a:p>
        </p:txBody>
      </p:sp>
      <p:sp>
        <p:nvSpPr>
          <p:cNvPr id="11" name="TextBox 10">
            <a:extLst>
              <a:ext uri="{FF2B5EF4-FFF2-40B4-BE49-F238E27FC236}">
                <a16:creationId xmlns:a16="http://schemas.microsoft.com/office/drawing/2014/main" id="{5C4481A6-65D0-6CE4-1795-7CD9AB3D6A22}"/>
              </a:ext>
            </a:extLst>
          </p:cNvPr>
          <p:cNvSpPr txBox="1"/>
          <p:nvPr/>
        </p:nvSpPr>
        <p:spPr>
          <a:xfrm>
            <a:off x="379708" y="4843180"/>
            <a:ext cx="2392811" cy="523220"/>
          </a:xfrm>
          <a:prstGeom prst="rect">
            <a:avLst/>
          </a:prstGeom>
          <a:noFill/>
        </p:spPr>
        <p:txBody>
          <a:bodyPr wrap="square">
            <a:spAutoFit/>
          </a:bodyPr>
          <a:lstStyle/>
          <a:p>
            <a:pPr marL="0" marR="0" lvl="1" indent="0" algn="l" defTabSz="630263" rtl="0" eaLnBrk="1" fontAlgn="base" latinLnBrk="0" hangingPunct="1">
              <a:lnSpc>
                <a:spcPct val="100000"/>
              </a:lnSpc>
              <a:spcBef>
                <a:spcPts val="1500"/>
              </a:spcBef>
              <a:spcAft>
                <a:spcPts val="0"/>
              </a:spcAft>
              <a:buClrTx/>
              <a:buSzPct val="90000"/>
              <a:buFontTx/>
              <a:buNone/>
              <a:tabLst>
                <a:tab pos="1371655" algn="l"/>
              </a:tabLst>
              <a:defRPr/>
            </a:pPr>
            <a:r>
              <a:rPr kumimoji="0" lang="en-US" sz="1400" b="1" i="0" u="none" strike="noStrike" kern="1200" cap="none" spc="0" normalizeH="0" baseline="0" noProof="0" dirty="0">
                <a:ln w="3175">
                  <a:noFill/>
                </a:ln>
                <a:gradFill flip="none" rotWithShape="1">
                  <a:gsLst>
                    <a:gs pos="80000">
                      <a:srgbClr val="318581"/>
                    </a:gs>
                    <a:gs pos="0">
                      <a:srgbClr val="0A6BBA"/>
                    </a:gs>
                  </a:gsLst>
                  <a:path path="circle">
                    <a:fillToRect l="100000" t="100000"/>
                  </a:path>
                  <a:tileRect r="-100000" b="-100000"/>
                </a:gradFill>
                <a:effectLst/>
                <a:uLnTx/>
                <a:uFillTx/>
                <a:latin typeface="Segoe UI Variable Display Semibold" pitchFamily="2" charset="0"/>
                <a:ea typeface="+mn-ea"/>
                <a:cs typeface="Segoe UI" pitchFamily="34" charset="0"/>
              </a:rPr>
              <a:t>2025.10.08 | Uwa Airhiavbere</a:t>
            </a:r>
          </a:p>
        </p:txBody>
      </p:sp>
    </p:spTree>
    <p:extLst>
      <p:ext uri="{BB962C8B-B14F-4D97-AF65-F5344CB8AC3E}">
        <p14:creationId xmlns:p14="http://schemas.microsoft.com/office/powerpoint/2010/main" val="23176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ABCCE-100F-CD58-9852-E592EE87C042}"/>
            </a:ext>
          </a:extLst>
        </p:cNvPr>
        <p:cNvGrpSpPr/>
        <p:nvPr/>
      </p:nvGrpSpPr>
      <p:grpSpPr>
        <a:xfrm>
          <a:off x="0" y="0"/>
          <a:ext cx="0" cy="0"/>
          <a:chOff x="0" y="0"/>
          <a:chExt cx="0" cy="0"/>
        </a:xfrm>
      </p:grpSpPr>
      <p:sp>
        <p:nvSpPr>
          <p:cNvPr id="68" name="TextBox 67">
            <a:extLst>
              <a:ext uri="{FF2B5EF4-FFF2-40B4-BE49-F238E27FC236}">
                <a16:creationId xmlns:a16="http://schemas.microsoft.com/office/drawing/2014/main" id="{EF2B3777-30F6-0090-452E-56C41E6B0685}"/>
              </a:ext>
              <a:ext uri="{C183D7F6-B498-43B3-948B-1728B52AA6E4}">
                <adec:decorative xmlns:adec="http://schemas.microsoft.com/office/drawing/2017/decorative" val="1"/>
              </a:ext>
            </a:extLst>
          </p:cNvPr>
          <p:cNvSpPr txBox="1">
            <a:spLocks/>
          </p:cNvSpPr>
          <p:nvPr/>
        </p:nvSpPr>
        <p:spPr>
          <a:xfrm>
            <a:off x="588645" y="1348051"/>
            <a:ext cx="11018520" cy="4931561"/>
          </a:xfrm>
          <a:prstGeom prst="roundRect">
            <a:avLst>
              <a:gd name="adj" fmla="val 3816"/>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latin typeface="Segoe Sans Display"/>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6" name="Title 5">
            <a:extLst>
              <a:ext uri="{FF2B5EF4-FFF2-40B4-BE49-F238E27FC236}">
                <a16:creationId xmlns:a16="http://schemas.microsoft.com/office/drawing/2014/main" id="{F5624AB2-E01F-E0F7-31AF-3C882D4ABC3D}"/>
              </a:ext>
            </a:extLst>
          </p:cNvPr>
          <p:cNvSpPr>
            <a:spLocks noGrp="1"/>
          </p:cNvSpPr>
          <p:nvPr>
            <p:ph type="title"/>
          </p:nvPr>
        </p:nvSpPr>
        <p:spPr>
          <a:xfrm>
            <a:off x="588263" y="457200"/>
            <a:ext cx="11018520" cy="553998"/>
          </a:xfrm>
        </p:spPr>
        <p:txBody>
          <a:bodyPr/>
          <a:lstStyle/>
          <a:p>
            <a:r>
              <a:rPr lang="en-US" noProof="0"/>
              <a:t>Becoming Frontier | </a:t>
            </a:r>
            <a:r>
              <a:rPr lang="en-US" noProof="0">
                <a:solidFill>
                  <a:schemeClr val="accent2"/>
                </a:solidFill>
              </a:rPr>
              <a:t>Energy and Resources </a:t>
            </a:r>
          </a:p>
        </p:txBody>
      </p:sp>
      <p:sp>
        <p:nvSpPr>
          <p:cNvPr id="47" name="Rectangle: Rounded Corners 46">
            <a:extLst>
              <a:ext uri="{FF2B5EF4-FFF2-40B4-BE49-F238E27FC236}">
                <a16:creationId xmlns:a16="http://schemas.microsoft.com/office/drawing/2014/main" id="{CA9A54D4-5059-B71B-76BE-5325A5D96F61}"/>
              </a:ext>
              <a:ext uri="{C183D7F6-B498-43B3-948B-1728B52AA6E4}">
                <adec:decorative xmlns:adec="http://schemas.microsoft.com/office/drawing/2017/decorative" val="1"/>
              </a:ext>
            </a:extLst>
          </p:cNvPr>
          <p:cNvSpPr>
            <a:spLocks/>
          </p:cNvSpPr>
          <p:nvPr/>
        </p:nvSpPr>
        <p:spPr bwMode="auto">
          <a:xfrm>
            <a:off x="721599" y="1491959"/>
            <a:ext cx="2584331" cy="4643744"/>
          </a:xfrm>
          <a:prstGeom prst="roundRect">
            <a:avLst>
              <a:gd name="adj" fmla="val 527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48" name="Rectangle: Rounded Corners 47">
            <a:extLst>
              <a:ext uri="{FF2B5EF4-FFF2-40B4-BE49-F238E27FC236}">
                <a16:creationId xmlns:a16="http://schemas.microsoft.com/office/drawing/2014/main" id="{C21C3A03-F641-E222-29EF-89AC3AAEF333}"/>
              </a:ext>
              <a:ext uri="{C183D7F6-B498-43B3-948B-1728B52AA6E4}">
                <adec:decorative xmlns:adec="http://schemas.microsoft.com/office/drawing/2017/decorative" val="1"/>
              </a:ext>
            </a:extLst>
          </p:cNvPr>
          <p:cNvSpPr>
            <a:spLocks/>
          </p:cNvSpPr>
          <p:nvPr/>
        </p:nvSpPr>
        <p:spPr bwMode="auto">
          <a:xfrm>
            <a:off x="8886071" y="1491959"/>
            <a:ext cx="2584331" cy="4643744"/>
          </a:xfrm>
          <a:prstGeom prst="roundRect">
            <a:avLst>
              <a:gd name="adj" fmla="val 527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49" name="Rectangle: Rounded Corners 48">
            <a:extLst>
              <a:ext uri="{FF2B5EF4-FFF2-40B4-BE49-F238E27FC236}">
                <a16:creationId xmlns:a16="http://schemas.microsoft.com/office/drawing/2014/main" id="{888ADE6D-8E85-7ECB-9170-BD7B6A8B6156}"/>
              </a:ext>
              <a:ext uri="{C183D7F6-B498-43B3-948B-1728B52AA6E4}">
                <adec:decorative xmlns:adec="http://schemas.microsoft.com/office/drawing/2017/decorative" val="1"/>
              </a:ext>
            </a:extLst>
          </p:cNvPr>
          <p:cNvSpPr>
            <a:spLocks/>
          </p:cNvSpPr>
          <p:nvPr/>
        </p:nvSpPr>
        <p:spPr bwMode="auto">
          <a:xfrm>
            <a:off x="6164580" y="1491959"/>
            <a:ext cx="2584331" cy="4643744"/>
          </a:xfrm>
          <a:prstGeom prst="roundRect">
            <a:avLst>
              <a:gd name="adj" fmla="val 527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0" name="Rectangle: Rounded Corners 49">
            <a:extLst>
              <a:ext uri="{FF2B5EF4-FFF2-40B4-BE49-F238E27FC236}">
                <a16:creationId xmlns:a16="http://schemas.microsoft.com/office/drawing/2014/main" id="{FEA9C045-6999-5514-5E1F-879660F10805}"/>
              </a:ext>
              <a:ext uri="{C183D7F6-B498-43B3-948B-1728B52AA6E4}">
                <adec:decorative xmlns:adec="http://schemas.microsoft.com/office/drawing/2017/decorative" val="1"/>
              </a:ext>
            </a:extLst>
          </p:cNvPr>
          <p:cNvSpPr>
            <a:spLocks/>
          </p:cNvSpPr>
          <p:nvPr/>
        </p:nvSpPr>
        <p:spPr bwMode="auto">
          <a:xfrm>
            <a:off x="3443089" y="1491959"/>
            <a:ext cx="2584331" cy="4643744"/>
          </a:xfrm>
          <a:prstGeom prst="roundRect">
            <a:avLst>
              <a:gd name="adj" fmla="val 527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1" name="TextBox 24_1">
            <a:extLst>
              <a:ext uri="{FF2B5EF4-FFF2-40B4-BE49-F238E27FC236}">
                <a16:creationId xmlns:a16="http://schemas.microsoft.com/office/drawing/2014/main" id="{023CDFC6-5AED-7012-CACF-3EADDDF712FB}"/>
              </a:ext>
              <a:ext uri="{C183D7F6-B498-43B3-948B-1728B52AA6E4}">
                <adec:decorative xmlns:adec="http://schemas.microsoft.com/office/drawing/2017/decorative" val="0"/>
              </a:ext>
            </a:extLst>
          </p:cNvPr>
          <p:cNvSpPr txBox="1">
            <a:spLocks/>
          </p:cNvSpPr>
          <p:nvPr/>
        </p:nvSpPr>
        <p:spPr>
          <a:xfrm>
            <a:off x="821838" y="1592194"/>
            <a:ext cx="2383854" cy="826538"/>
          </a:xfrm>
          <a:prstGeom prst="roundRect">
            <a:avLst>
              <a:gd name="adj" fmla="val 11313"/>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1205"/>
              </a:spcBef>
              <a:spcAft>
                <a:spcPts val="0"/>
              </a:spcAft>
              <a:buClrTx/>
              <a:buSzTx/>
              <a:buFontTx/>
              <a:buNone/>
              <a:tabLst>
                <a:tab pos="5665570" algn="l"/>
              </a:tabLst>
              <a:defRPr kumimoji="0" sz="1600" b="0" i="0" u="none" strike="noStrike" cap="none" spc="0" normalizeH="0" baseline="0">
                <a:ln w="3175">
                  <a:noFill/>
                </a:ln>
                <a:solidFill>
                  <a:srgbClr val="FFFFFF"/>
                </a:solidFill>
                <a:effectLst/>
                <a:uLnTx/>
                <a:uFillTx/>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Enrich employee experiences</a:t>
            </a:r>
          </a:p>
        </p:txBody>
      </p:sp>
      <p:sp>
        <p:nvSpPr>
          <p:cNvPr id="52" name="TextBox 51">
            <a:extLst>
              <a:ext uri="{FF2B5EF4-FFF2-40B4-BE49-F238E27FC236}">
                <a16:creationId xmlns:a16="http://schemas.microsoft.com/office/drawing/2014/main" id="{3480416D-B682-FCA7-3042-81E1C82B3064}"/>
              </a:ext>
              <a:ext uri="{C183D7F6-B498-43B3-948B-1728B52AA6E4}">
                <adec:decorative xmlns:adec="http://schemas.microsoft.com/office/drawing/2017/decorative" val="0"/>
              </a:ext>
            </a:extLst>
          </p:cNvPr>
          <p:cNvSpPr txBox="1">
            <a:spLocks/>
          </p:cNvSpPr>
          <p:nvPr/>
        </p:nvSpPr>
        <p:spPr>
          <a:xfrm>
            <a:off x="875151" y="2544811"/>
            <a:ext cx="2277227" cy="646331"/>
          </a:xfrm>
          <a:prstGeom prst="rect">
            <a:avLst/>
          </a:prstGeom>
          <a:noFill/>
        </p:spPr>
        <p:txBody>
          <a:bodyPr wrap="square" lIns="0" tIns="0" rIns="0" bIns="0" rtlCol="0" anchor="t">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Automate</a:t>
            </a:r>
            <a:r>
              <a:rPr kumimoji="0" lang="en-US" sz="1400" b="0" i="0" u="none" strike="noStrike" kern="1200" cap="none" spc="0" normalizeH="0" baseline="0" noProof="0">
                <a:ln>
                  <a:noFill/>
                </a:ln>
                <a:solidFill>
                  <a:srgbClr val="000000"/>
                </a:solidFill>
                <a:effectLst/>
                <a:uLnTx/>
                <a:uFillTx/>
                <a:latin typeface="Segoe UI"/>
                <a:ea typeface="+mj-lt"/>
                <a:cs typeface="Segoe UI Semibold"/>
              </a:rPr>
              <a:t> workflows, improve worker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safety</a:t>
            </a:r>
            <a:r>
              <a:rPr kumimoji="0" lang="en-US" sz="1400" b="0" i="0" u="none" strike="noStrike" kern="1200" cap="none" spc="0" normalizeH="0" baseline="0" noProof="0">
                <a:ln>
                  <a:noFill/>
                </a:ln>
                <a:solidFill>
                  <a:srgbClr val="000000"/>
                </a:solidFill>
                <a:effectLst/>
                <a:uLnTx/>
                <a:uFillTx/>
                <a:latin typeface="Segoe UI"/>
                <a:ea typeface="+mj-lt"/>
                <a:cs typeface="Segoe UI Semibold"/>
              </a:rPr>
              <a:t>, and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increase productivity</a:t>
            </a:r>
          </a:p>
        </p:txBody>
      </p:sp>
      <p:pic>
        <p:nvPicPr>
          <p:cNvPr id="53" name="Picture 52" descr="An industrial worker with a laptop">
            <a:extLst>
              <a:ext uri="{FF2B5EF4-FFF2-40B4-BE49-F238E27FC236}">
                <a16:creationId xmlns:a16="http://schemas.microsoft.com/office/drawing/2014/main" id="{8AD45D4E-8EB9-57D6-E8B7-6F19E19504D7}"/>
              </a:ext>
            </a:extLst>
          </p:cNvPr>
          <p:cNvPicPr>
            <a:picLocks/>
          </p:cNvPicPr>
          <p:nvPr/>
        </p:nvPicPr>
        <p:blipFill rotWithShape="1">
          <a:blip r:embed="rId3" cstate="email">
            <a:extLst>
              <a:ext uri="{28A0092B-C50C-407E-A947-70E740481C1C}">
                <a14:useLocalDpi xmlns:a14="http://schemas.microsoft.com/office/drawing/2010/main"/>
              </a:ext>
            </a:extLst>
          </a:blip>
          <a:srcRect/>
          <a:stretch>
            <a:fillRect/>
          </a:stretch>
        </p:blipFill>
        <p:spPr>
          <a:xfrm>
            <a:off x="821838" y="3569286"/>
            <a:ext cx="2383854" cy="1743417"/>
          </a:xfrm>
          <a:custGeom>
            <a:avLst/>
            <a:gdLst>
              <a:gd name="connsiteX0" fmla="*/ 113045 w 2589808"/>
              <a:gd name="connsiteY0" fmla="*/ 0 h 2710685"/>
              <a:gd name="connsiteX1" fmla="*/ 2476763 w 2589808"/>
              <a:gd name="connsiteY1" fmla="*/ 0 h 2710685"/>
              <a:gd name="connsiteX2" fmla="*/ 2589808 w 2589808"/>
              <a:gd name="connsiteY2" fmla="*/ 113045 h 2710685"/>
              <a:gd name="connsiteX3" fmla="*/ 2589808 w 2589808"/>
              <a:gd name="connsiteY3" fmla="*/ 2597640 h 2710685"/>
              <a:gd name="connsiteX4" fmla="*/ 2476763 w 2589808"/>
              <a:gd name="connsiteY4" fmla="*/ 2710685 h 2710685"/>
              <a:gd name="connsiteX5" fmla="*/ 113045 w 2589808"/>
              <a:gd name="connsiteY5" fmla="*/ 2710685 h 2710685"/>
              <a:gd name="connsiteX6" fmla="*/ 0 w 2589808"/>
              <a:gd name="connsiteY6" fmla="*/ 2597640 h 2710685"/>
              <a:gd name="connsiteX7" fmla="*/ 0 w 2589808"/>
              <a:gd name="connsiteY7" fmla="*/ 113045 h 2710685"/>
              <a:gd name="connsiteX8" fmla="*/ 113045 w 2589808"/>
              <a:gd name="connsiteY8" fmla="*/ 0 h 271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9808" h="2710685">
                <a:moveTo>
                  <a:pt x="113045" y="0"/>
                </a:moveTo>
                <a:lnTo>
                  <a:pt x="2476763" y="0"/>
                </a:lnTo>
                <a:cubicBezTo>
                  <a:pt x="2539196" y="0"/>
                  <a:pt x="2589808" y="50612"/>
                  <a:pt x="2589808" y="113045"/>
                </a:cubicBezTo>
                <a:lnTo>
                  <a:pt x="2589808" y="2597640"/>
                </a:lnTo>
                <a:cubicBezTo>
                  <a:pt x="2589808" y="2660073"/>
                  <a:pt x="2539196" y="2710685"/>
                  <a:pt x="2476763" y="2710685"/>
                </a:cubicBezTo>
                <a:lnTo>
                  <a:pt x="113045" y="2710685"/>
                </a:lnTo>
                <a:cubicBezTo>
                  <a:pt x="50612" y="2710685"/>
                  <a:pt x="0" y="2660073"/>
                  <a:pt x="0" y="2597640"/>
                </a:cubicBezTo>
                <a:lnTo>
                  <a:pt x="0" y="113045"/>
                </a:lnTo>
                <a:cubicBezTo>
                  <a:pt x="0" y="50612"/>
                  <a:pt x="50612" y="0"/>
                  <a:pt x="113045" y="0"/>
                </a:cubicBezTo>
                <a:close/>
              </a:path>
            </a:pathLst>
          </a:custGeom>
        </p:spPr>
      </p:pic>
      <p:pic>
        <p:nvPicPr>
          <p:cNvPr id="54" name="Picture 12" descr="Chevron Logo ">
            <a:extLst>
              <a:ext uri="{FF2B5EF4-FFF2-40B4-BE49-F238E27FC236}">
                <a16:creationId xmlns:a16="http://schemas.microsoft.com/office/drawing/2014/main" id="{BC4978D5-92EB-1F12-5564-0840192B9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430" y="5410648"/>
            <a:ext cx="620670" cy="640998"/>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24_1">
            <a:extLst>
              <a:ext uri="{FF2B5EF4-FFF2-40B4-BE49-F238E27FC236}">
                <a16:creationId xmlns:a16="http://schemas.microsoft.com/office/drawing/2014/main" id="{1DC570C3-2459-64A2-013F-6E0C8E6D8105}"/>
              </a:ext>
              <a:ext uri="{C183D7F6-B498-43B3-948B-1728B52AA6E4}">
                <adec:decorative xmlns:adec="http://schemas.microsoft.com/office/drawing/2017/decorative" val="0"/>
              </a:ext>
            </a:extLst>
          </p:cNvPr>
          <p:cNvSpPr txBox="1">
            <a:spLocks/>
          </p:cNvSpPr>
          <p:nvPr/>
        </p:nvSpPr>
        <p:spPr>
          <a:xfrm>
            <a:off x="3543328" y="1592194"/>
            <a:ext cx="2383854" cy="826538"/>
          </a:xfrm>
          <a:prstGeom prst="roundRect">
            <a:avLst>
              <a:gd name="adj" fmla="val 11313"/>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1205"/>
              </a:spcBef>
              <a:spcAft>
                <a:spcPts val="0"/>
              </a:spcAft>
              <a:buClrTx/>
              <a:buSzTx/>
              <a:buFontTx/>
              <a:buNone/>
              <a:tabLst>
                <a:tab pos="5665570" algn="l"/>
              </a:tabLst>
              <a:defRPr kumimoji="0" sz="1600" b="0" i="0" u="none" strike="noStrike" cap="none" spc="0" normalizeH="0" baseline="0">
                <a:ln w="3175">
                  <a:noFill/>
                </a:ln>
                <a:solidFill>
                  <a:srgbClr val="FFFFFF"/>
                </a:solidFill>
                <a:effectLst/>
                <a:uLnTx/>
                <a:uFillTx/>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Reinvent customer engagement</a:t>
            </a:r>
          </a:p>
        </p:txBody>
      </p:sp>
      <p:sp>
        <p:nvSpPr>
          <p:cNvPr id="56" name="TextBox 55">
            <a:extLst>
              <a:ext uri="{FF2B5EF4-FFF2-40B4-BE49-F238E27FC236}">
                <a16:creationId xmlns:a16="http://schemas.microsoft.com/office/drawing/2014/main" id="{6CE5212A-6096-E6F0-5695-0D43DC54EBFF}"/>
              </a:ext>
              <a:ext uri="{C183D7F6-B498-43B3-948B-1728B52AA6E4}">
                <adec:decorative xmlns:adec="http://schemas.microsoft.com/office/drawing/2017/decorative" val="0"/>
              </a:ext>
            </a:extLst>
          </p:cNvPr>
          <p:cNvSpPr txBox="1">
            <a:spLocks/>
          </p:cNvSpPr>
          <p:nvPr/>
        </p:nvSpPr>
        <p:spPr>
          <a:xfrm>
            <a:off x="3596641" y="2544811"/>
            <a:ext cx="2277227" cy="861774"/>
          </a:xfrm>
          <a:prstGeom prst="rect">
            <a:avLst/>
          </a:prstGeom>
          <a:noFill/>
        </p:spPr>
        <p:txBody>
          <a:bodyPr wrap="square" lIns="0" tIns="0" rIns="0" bIns="0" rtlCol="0" anchor="t">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Integrate AI agents </a:t>
            </a:r>
            <a:r>
              <a:rPr kumimoji="0" lang="en-US" sz="1400" b="0" i="0" u="none" strike="noStrike" kern="1200" cap="none" spc="0" normalizeH="0" baseline="0" noProof="0">
                <a:ln>
                  <a:noFill/>
                </a:ln>
                <a:solidFill>
                  <a:srgbClr val="000000"/>
                </a:solidFill>
                <a:effectLst/>
                <a:uLnTx/>
                <a:uFillTx/>
                <a:latin typeface="Segoe UI"/>
                <a:ea typeface="+mj-lt"/>
                <a:cs typeface="Segoe UI Semibold"/>
              </a:rPr>
              <a:t>to improve frontline and field service experiences and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better support customers</a:t>
            </a:r>
          </a:p>
        </p:txBody>
      </p:sp>
      <p:pic>
        <p:nvPicPr>
          <p:cNvPr id="57" name="Picture 56" descr="A factory worker showing another worker data on a computer">
            <a:extLst>
              <a:ext uri="{FF2B5EF4-FFF2-40B4-BE49-F238E27FC236}">
                <a16:creationId xmlns:a16="http://schemas.microsoft.com/office/drawing/2014/main" id="{16C6FC74-25C8-6EA4-D52C-F5CE8634DB0F}"/>
              </a:ext>
            </a:extLst>
          </p:cNvPr>
          <p:cNvPicPr>
            <a:picLocks/>
          </p:cNvPicPr>
          <p:nvPr/>
        </p:nvPicPr>
        <p:blipFill rotWithShape="1">
          <a:blip r:embed="rId5" cstate="email">
            <a:extLst>
              <a:ext uri="{28A0092B-C50C-407E-A947-70E740481C1C}">
                <a14:useLocalDpi xmlns:a14="http://schemas.microsoft.com/office/drawing/2010/main"/>
              </a:ext>
            </a:extLst>
          </a:blip>
          <a:srcRect/>
          <a:stretch>
            <a:fillRect/>
          </a:stretch>
        </p:blipFill>
        <p:spPr>
          <a:xfrm>
            <a:off x="3543328" y="3569286"/>
            <a:ext cx="2383854" cy="1743417"/>
          </a:xfrm>
          <a:custGeom>
            <a:avLst/>
            <a:gdLst>
              <a:gd name="connsiteX0" fmla="*/ 113045 w 2589808"/>
              <a:gd name="connsiteY0" fmla="*/ 0 h 2710685"/>
              <a:gd name="connsiteX1" fmla="*/ 2476763 w 2589808"/>
              <a:gd name="connsiteY1" fmla="*/ 0 h 2710685"/>
              <a:gd name="connsiteX2" fmla="*/ 2589808 w 2589808"/>
              <a:gd name="connsiteY2" fmla="*/ 113045 h 2710685"/>
              <a:gd name="connsiteX3" fmla="*/ 2589808 w 2589808"/>
              <a:gd name="connsiteY3" fmla="*/ 2597640 h 2710685"/>
              <a:gd name="connsiteX4" fmla="*/ 2476763 w 2589808"/>
              <a:gd name="connsiteY4" fmla="*/ 2710685 h 2710685"/>
              <a:gd name="connsiteX5" fmla="*/ 113045 w 2589808"/>
              <a:gd name="connsiteY5" fmla="*/ 2710685 h 2710685"/>
              <a:gd name="connsiteX6" fmla="*/ 0 w 2589808"/>
              <a:gd name="connsiteY6" fmla="*/ 2597640 h 2710685"/>
              <a:gd name="connsiteX7" fmla="*/ 0 w 2589808"/>
              <a:gd name="connsiteY7" fmla="*/ 113045 h 2710685"/>
              <a:gd name="connsiteX8" fmla="*/ 113045 w 2589808"/>
              <a:gd name="connsiteY8" fmla="*/ 0 h 271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9808" h="2710685">
                <a:moveTo>
                  <a:pt x="113045" y="0"/>
                </a:moveTo>
                <a:lnTo>
                  <a:pt x="2476763" y="0"/>
                </a:lnTo>
                <a:cubicBezTo>
                  <a:pt x="2539196" y="0"/>
                  <a:pt x="2589808" y="50612"/>
                  <a:pt x="2589808" y="113045"/>
                </a:cubicBezTo>
                <a:lnTo>
                  <a:pt x="2589808" y="2597640"/>
                </a:lnTo>
                <a:cubicBezTo>
                  <a:pt x="2589808" y="2660073"/>
                  <a:pt x="2539196" y="2710685"/>
                  <a:pt x="2476763" y="2710685"/>
                </a:cubicBezTo>
                <a:lnTo>
                  <a:pt x="113045" y="2710685"/>
                </a:lnTo>
                <a:cubicBezTo>
                  <a:pt x="50612" y="2710685"/>
                  <a:pt x="0" y="2660073"/>
                  <a:pt x="0" y="2597640"/>
                </a:cubicBezTo>
                <a:lnTo>
                  <a:pt x="0" y="113045"/>
                </a:lnTo>
                <a:cubicBezTo>
                  <a:pt x="0" y="50612"/>
                  <a:pt x="50612" y="0"/>
                  <a:pt x="113045" y="0"/>
                </a:cubicBezTo>
                <a:close/>
              </a:path>
            </a:pathLst>
          </a:custGeom>
        </p:spPr>
      </p:pic>
      <p:pic>
        <p:nvPicPr>
          <p:cNvPr id="58" name="Picture 2" descr="Eneco logo">
            <a:extLst>
              <a:ext uri="{FF2B5EF4-FFF2-40B4-BE49-F238E27FC236}">
                <a16:creationId xmlns:a16="http://schemas.microsoft.com/office/drawing/2014/main" id="{436B3A2C-10FE-EAEE-9CD4-F5F5F0D1E3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8245" y="5417642"/>
            <a:ext cx="1254020" cy="627010"/>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24_1">
            <a:extLst>
              <a:ext uri="{FF2B5EF4-FFF2-40B4-BE49-F238E27FC236}">
                <a16:creationId xmlns:a16="http://schemas.microsoft.com/office/drawing/2014/main" id="{3B410A15-ADD0-8F21-CF38-EE8307142B34}"/>
              </a:ext>
              <a:ext uri="{C183D7F6-B498-43B3-948B-1728B52AA6E4}">
                <adec:decorative xmlns:adec="http://schemas.microsoft.com/office/drawing/2017/decorative" val="0"/>
              </a:ext>
            </a:extLst>
          </p:cNvPr>
          <p:cNvSpPr txBox="1">
            <a:spLocks/>
          </p:cNvSpPr>
          <p:nvPr/>
        </p:nvSpPr>
        <p:spPr>
          <a:xfrm>
            <a:off x="6264819" y="1592194"/>
            <a:ext cx="2383854" cy="826538"/>
          </a:xfrm>
          <a:prstGeom prst="roundRect">
            <a:avLst>
              <a:gd name="adj" fmla="val 11313"/>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1205"/>
              </a:spcBef>
              <a:spcAft>
                <a:spcPts val="0"/>
              </a:spcAft>
              <a:buClrTx/>
              <a:buSzTx/>
              <a:buFontTx/>
              <a:buNone/>
              <a:tabLst>
                <a:tab pos="5665570" algn="l"/>
              </a:tabLst>
              <a:defRPr kumimoji="0" sz="1600" b="0" i="0" u="none" strike="noStrike" cap="none" spc="0" normalizeH="0" baseline="0">
                <a:ln w="3175">
                  <a:noFill/>
                </a:ln>
                <a:solidFill>
                  <a:srgbClr val="FFFFFF"/>
                </a:solidFill>
                <a:effectLst/>
                <a:uLnTx/>
                <a:uFillTx/>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Reshape business </a:t>
            </a:r>
            <a:br>
              <a:rPr kumimoji="0" lang="en-US" sz="1800" b="0" i="0" u="none" strike="noStrike" kern="1200" cap="none" spc="0" normalizeH="0" baseline="0" noProof="0">
                <a:ln w="3175">
                  <a:noFill/>
                </a:ln>
                <a:solidFill>
                  <a:srgbClr val="FFFFFF"/>
                </a:solidFill>
                <a:effectLst/>
                <a:uLnTx/>
                <a:uFillTx/>
                <a:latin typeface="Segoe UI Semibold"/>
                <a:ea typeface="+mj-ea"/>
                <a:cs typeface="+mj-cs"/>
              </a:rPr>
            </a:b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processes with AI</a:t>
            </a:r>
          </a:p>
        </p:txBody>
      </p:sp>
      <p:sp>
        <p:nvSpPr>
          <p:cNvPr id="60" name="TextBox 59">
            <a:extLst>
              <a:ext uri="{FF2B5EF4-FFF2-40B4-BE49-F238E27FC236}">
                <a16:creationId xmlns:a16="http://schemas.microsoft.com/office/drawing/2014/main" id="{90296BC0-2E6A-3DD3-AF37-731671E1C10E}"/>
              </a:ext>
              <a:ext uri="{C183D7F6-B498-43B3-948B-1728B52AA6E4}">
                <adec:decorative xmlns:adec="http://schemas.microsoft.com/office/drawing/2017/decorative" val="0"/>
              </a:ext>
            </a:extLst>
          </p:cNvPr>
          <p:cNvSpPr txBox="1">
            <a:spLocks/>
          </p:cNvSpPr>
          <p:nvPr/>
        </p:nvSpPr>
        <p:spPr>
          <a:xfrm>
            <a:off x="6269665" y="2544811"/>
            <a:ext cx="2374162" cy="861774"/>
          </a:xfrm>
          <a:prstGeom prst="rect">
            <a:avLst/>
          </a:prstGeom>
          <a:noFill/>
        </p:spPr>
        <p:txBody>
          <a:bodyPr wrap="square" lIns="0" tIns="0" rIns="0" bIns="0" rtlCol="0" anchor="t">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j-lt"/>
                <a:cs typeface="Segoe UI Semibold"/>
              </a:rPr>
              <a:t>Operate for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a secure and efficient energy future </a:t>
            </a:r>
            <a:b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br>
            <a:r>
              <a:rPr kumimoji="0" lang="en-US" sz="1400" b="0" i="0" u="none" strike="noStrike" kern="1200" cap="none" spc="0" normalizeH="0" baseline="0" noProof="0">
                <a:ln>
                  <a:noFill/>
                </a:ln>
                <a:solidFill>
                  <a:srgbClr val="000000"/>
                </a:solidFill>
                <a:effectLst/>
                <a:uLnTx/>
                <a:uFillTx/>
                <a:latin typeface="Segoe UI"/>
                <a:ea typeface="+mj-lt"/>
                <a:cs typeface="Segoe UI Semibold"/>
              </a:rPr>
              <a:t>and power the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intelligent energy system</a:t>
            </a:r>
          </a:p>
        </p:txBody>
      </p:sp>
      <p:pic>
        <p:nvPicPr>
          <p:cNvPr id="62" name="Picture 61" descr="A factory worker with a clipboard">
            <a:extLst>
              <a:ext uri="{FF2B5EF4-FFF2-40B4-BE49-F238E27FC236}">
                <a16:creationId xmlns:a16="http://schemas.microsoft.com/office/drawing/2014/main" id="{4DE441E5-B47B-0FBA-129C-BB8ADFC869B7}"/>
              </a:ext>
            </a:extLst>
          </p:cNvPr>
          <p:cNvPicPr>
            <a:picLocks/>
          </p:cNvPicPr>
          <p:nvPr/>
        </p:nvPicPr>
        <p:blipFill rotWithShape="1">
          <a:blip r:embed="rId7" cstate="email">
            <a:extLst>
              <a:ext uri="{28A0092B-C50C-407E-A947-70E740481C1C}">
                <a14:useLocalDpi xmlns:a14="http://schemas.microsoft.com/office/drawing/2010/main"/>
              </a:ext>
            </a:extLst>
          </a:blip>
          <a:srcRect/>
          <a:stretch>
            <a:fillRect/>
          </a:stretch>
        </p:blipFill>
        <p:spPr>
          <a:xfrm>
            <a:off x="6264820" y="3569286"/>
            <a:ext cx="2383852" cy="1743417"/>
          </a:xfrm>
          <a:custGeom>
            <a:avLst/>
            <a:gdLst>
              <a:gd name="connsiteX0" fmla="*/ 113045 w 2589808"/>
              <a:gd name="connsiteY0" fmla="*/ 0 h 2710685"/>
              <a:gd name="connsiteX1" fmla="*/ 2476763 w 2589808"/>
              <a:gd name="connsiteY1" fmla="*/ 0 h 2710685"/>
              <a:gd name="connsiteX2" fmla="*/ 2589808 w 2589808"/>
              <a:gd name="connsiteY2" fmla="*/ 113045 h 2710685"/>
              <a:gd name="connsiteX3" fmla="*/ 2589808 w 2589808"/>
              <a:gd name="connsiteY3" fmla="*/ 2597640 h 2710685"/>
              <a:gd name="connsiteX4" fmla="*/ 2476763 w 2589808"/>
              <a:gd name="connsiteY4" fmla="*/ 2710685 h 2710685"/>
              <a:gd name="connsiteX5" fmla="*/ 113045 w 2589808"/>
              <a:gd name="connsiteY5" fmla="*/ 2710685 h 2710685"/>
              <a:gd name="connsiteX6" fmla="*/ 0 w 2589808"/>
              <a:gd name="connsiteY6" fmla="*/ 2597640 h 2710685"/>
              <a:gd name="connsiteX7" fmla="*/ 0 w 2589808"/>
              <a:gd name="connsiteY7" fmla="*/ 113045 h 2710685"/>
              <a:gd name="connsiteX8" fmla="*/ 113045 w 2589808"/>
              <a:gd name="connsiteY8" fmla="*/ 0 h 271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9808" h="2710685">
                <a:moveTo>
                  <a:pt x="113045" y="0"/>
                </a:moveTo>
                <a:lnTo>
                  <a:pt x="2476763" y="0"/>
                </a:lnTo>
                <a:cubicBezTo>
                  <a:pt x="2539196" y="0"/>
                  <a:pt x="2589808" y="50612"/>
                  <a:pt x="2589808" y="113045"/>
                </a:cubicBezTo>
                <a:lnTo>
                  <a:pt x="2589808" y="2597640"/>
                </a:lnTo>
                <a:cubicBezTo>
                  <a:pt x="2589808" y="2660073"/>
                  <a:pt x="2539196" y="2710685"/>
                  <a:pt x="2476763" y="2710685"/>
                </a:cubicBezTo>
                <a:lnTo>
                  <a:pt x="113045" y="2710685"/>
                </a:lnTo>
                <a:cubicBezTo>
                  <a:pt x="50612" y="2710685"/>
                  <a:pt x="0" y="2660073"/>
                  <a:pt x="0" y="2597640"/>
                </a:cubicBezTo>
                <a:lnTo>
                  <a:pt x="0" y="113045"/>
                </a:lnTo>
                <a:cubicBezTo>
                  <a:pt x="0" y="50612"/>
                  <a:pt x="50612" y="0"/>
                  <a:pt x="113045" y="0"/>
                </a:cubicBezTo>
                <a:close/>
              </a:path>
            </a:pathLst>
          </a:custGeom>
        </p:spPr>
      </p:pic>
      <p:pic>
        <p:nvPicPr>
          <p:cNvPr id="63" name="Picture 6" descr="Uniper logo">
            <a:extLst>
              <a:ext uri="{FF2B5EF4-FFF2-40B4-BE49-F238E27FC236}">
                <a16:creationId xmlns:a16="http://schemas.microsoft.com/office/drawing/2014/main" id="{32518D8B-F559-A436-740C-FEA2145E92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2225" y="5459151"/>
            <a:ext cx="649042" cy="54399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24_1">
            <a:extLst>
              <a:ext uri="{FF2B5EF4-FFF2-40B4-BE49-F238E27FC236}">
                <a16:creationId xmlns:a16="http://schemas.microsoft.com/office/drawing/2014/main" id="{0155A53E-8B1C-C633-18EE-7953D5AB1BFB}"/>
              </a:ext>
              <a:ext uri="{C183D7F6-B498-43B3-948B-1728B52AA6E4}">
                <adec:decorative xmlns:adec="http://schemas.microsoft.com/office/drawing/2017/decorative" val="0"/>
              </a:ext>
            </a:extLst>
          </p:cNvPr>
          <p:cNvSpPr txBox="1">
            <a:spLocks/>
          </p:cNvSpPr>
          <p:nvPr/>
        </p:nvSpPr>
        <p:spPr>
          <a:xfrm>
            <a:off x="8986309" y="1592194"/>
            <a:ext cx="2383854" cy="826538"/>
          </a:xfrm>
          <a:prstGeom prst="roundRect">
            <a:avLst>
              <a:gd name="adj" fmla="val 11313"/>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1205"/>
              </a:spcBef>
              <a:spcAft>
                <a:spcPts val="0"/>
              </a:spcAft>
              <a:buClrTx/>
              <a:buSzTx/>
              <a:buFontTx/>
              <a:buNone/>
              <a:tabLst>
                <a:tab pos="5665570" algn="l"/>
              </a:tabLst>
              <a:defRPr kumimoji="0" sz="1600" b="0" i="0" u="none" strike="noStrike" cap="none" spc="0" normalizeH="0" baseline="0">
                <a:ln w="3175">
                  <a:noFill/>
                </a:ln>
                <a:solidFill>
                  <a:srgbClr val="FFFFFF"/>
                </a:solidFill>
                <a:effectLst/>
                <a:uLnTx/>
                <a:uFillTx/>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Bend the curve </a:t>
            </a:r>
          </a:p>
          <a:p>
            <a:pPr marL="0" marR="0" lvl="0" indent="0" algn="ctr" defTabSz="914400" rtl="0" eaLnBrk="1" fontAlgn="auto" latinLnBrk="0" hangingPunct="1">
              <a:lnSpc>
                <a:spcPct val="100000"/>
              </a:lnSpc>
              <a:spcBef>
                <a:spcPts val="0"/>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j-ea"/>
                <a:cs typeface="+mj-cs"/>
              </a:rPr>
              <a:t>on innovation</a:t>
            </a:r>
          </a:p>
        </p:txBody>
      </p:sp>
      <p:sp>
        <p:nvSpPr>
          <p:cNvPr id="65" name="TextBox 64">
            <a:extLst>
              <a:ext uri="{FF2B5EF4-FFF2-40B4-BE49-F238E27FC236}">
                <a16:creationId xmlns:a16="http://schemas.microsoft.com/office/drawing/2014/main" id="{F03B48BD-6DD4-F9BF-7F84-17B31F1EB483}"/>
              </a:ext>
              <a:ext uri="{C183D7F6-B498-43B3-948B-1728B52AA6E4}">
                <adec:decorative xmlns:adec="http://schemas.microsoft.com/office/drawing/2017/decorative" val="0"/>
              </a:ext>
            </a:extLst>
          </p:cNvPr>
          <p:cNvSpPr txBox="1">
            <a:spLocks/>
          </p:cNvSpPr>
          <p:nvPr/>
        </p:nvSpPr>
        <p:spPr>
          <a:xfrm>
            <a:off x="9039623" y="2544811"/>
            <a:ext cx="2277227" cy="646331"/>
          </a:xfrm>
          <a:prstGeom prst="rect">
            <a:avLst/>
          </a:prstGeom>
          <a:noFill/>
        </p:spPr>
        <p:txBody>
          <a:bodyPr wrap="square" lIns="0" tIns="0" rIns="0" bIns="0" rtlCol="0" anchor="t">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j-lt"/>
                <a:cs typeface="Segoe UI Semibold"/>
              </a:rPr>
              <a:t>Use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data insights to ignite climate innovation</a:t>
            </a:r>
            <a:r>
              <a:rPr kumimoji="0" lang="en-US" sz="1400" b="0" i="0" u="none" strike="noStrike" kern="1200" cap="none" spc="0" normalizeH="0" baseline="0" noProof="0">
                <a:ln>
                  <a:noFill/>
                </a:ln>
                <a:solidFill>
                  <a:srgbClr val="000000"/>
                </a:solidFill>
                <a:effectLst/>
                <a:uLnTx/>
                <a:uFillTx/>
                <a:latin typeface="Segoe UI"/>
                <a:ea typeface="+mj-lt"/>
                <a:cs typeface="Segoe UI Semibold"/>
              </a:rPr>
              <a:t> and drive </a:t>
            </a:r>
            <a:r>
              <a:rPr kumimoji="0" lang="en-US" sz="1400" b="0" i="0" u="none" strike="noStrike" kern="1200" cap="none" spc="0" normalizeH="0" baseline="0" noProof="0">
                <a:ln>
                  <a:noFill/>
                </a:ln>
                <a:solidFill>
                  <a:srgbClr val="000000"/>
                </a:solidFill>
                <a:effectLst/>
                <a:uLnTx/>
                <a:uFillTx/>
                <a:latin typeface="Segoe UI Semibold"/>
                <a:ea typeface="+mj-lt"/>
                <a:cs typeface="Segoe UI Semibold"/>
              </a:rPr>
              <a:t>sustainable business growth</a:t>
            </a:r>
          </a:p>
        </p:txBody>
      </p:sp>
      <p:pic>
        <p:nvPicPr>
          <p:cNvPr id="66" name="Picture 65" descr="A car assembling robot">
            <a:extLst>
              <a:ext uri="{FF2B5EF4-FFF2-40B4-BE49-F238E27FC236}">
                <a16:creationId xmlns:a16="http://schemas.microsoft.com/office/drawing/2014/main" id="{56FB1C35-C3B8-2C08-7F9B-258036807392}"/>
              </a:ext>
            </a:extLst>
          </p:cNvPr>
          <p:cNvPicPr>
            <a:picLocks/>
          </p:cNvPicPr>
          <p:nvPr/>
        </p:nvPicPr>
        <p:blipFill rotWithShape="1">
          <a:blip r:embed="rId9" cstate="email">
            <a:extLst>
              <a:ext uri="{28A0092B-C50C-407E-A947-70E740481C1C}">
                <a14:useLocalDpi xmlns:a14="http://schemas.microsoft.com/office/drawing/2010/main"/>
              </a:ext>
            </a:extLst>
          </a:blip>
          <a:srcRect/>
          <a:stretch>
            <a:fillRect/>
          </a:stretch>
        </p:blipFill>
        <p:spPr>
          <a:xfrm>
            <a:off x="8986309" y="3569286"/>
            <a:ext cx="2383854" cy="1743417"/>
          </a:xfrm>
          <a:custGeom>
            <a:avLst/>
            <a:gdLst>
              <a:gd name="connsiteX0" fmla="*/ 113045 w 2589808"/>
              <a:gd name="connsiteY0" fmla="*/ 0 h 2710685"/>
              <a:gd name="connsiteX1" fmla="*/ 2476763 w 2589808"/>
              <a:gd name="connsiteY1" fmla="*/ 0 h 2710685"/>
              <a:gd name="connsiteX2" fmla="*/ 2589808 w 2589808"/>
              <a:gd name="connsiteY2" fmla="*/ 113045 h 2710685"/>
              <a:gd name="connsiteX3" fmla="*/ 2589808 w 2589808"/>
              <a:gd name="connsiteY3" fmla="*/ 2597640 h 2710685"/>
              <a:gd name="connsiteX4" fmla="*/ 2476763 w 2589808"/>
              <a:gd name="connsiteY4" fmla="*/ 2710685 h 2710685"/>
              <a:gd name="connsiteX5" fmla="*/ 113045 w 2589808"/>
              <a:gd name="connsiteY5" fmla="*/ 2710685 h 2710685"/>
              <a:gd name="connsiteX6" fmla="*/ 0 w 2589808"/>
              <a:gd name="connsiteY6" fmla="*/ 2597640 h 2710685"/>
              <a:gd name="connsiteX7" fmla="*/ 0 w 2589808"/>
              <a:gd name="connsiteY7" fmla="*/ 113045 h 2710685"/>
              <a:gd name="connsiteX8" fmla="*/ 113045 w 2589808"/>
              <a:gd name="connsiteY8" fmla="*/ 0 h 271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9808" h="2710685">
                <a:moveTo>
                  <a:pt x="113045" y="0"/>
                </a:moveTo>
                <a:lnTo>
                  <a:pt x="2476763" y="0"/>
                </a:lnTo>
                <a:cubicBezTo>
                  <a:pt x="2539196" y="0"/>
                  <a:pt x="2589808" y="50612"/>
                  <a:pt x="2589808" y="113045"/>
                </a:cubicBezTo>
                <a:lnTo>
                  <a:pt x="2589808" y="2597640"/>
                </a:lnTo>
                <a:cubicBezTo>
                  <a:pt x="2589808" y="2660073"/>
                  <a:pt x="2539196" y="2710685"/>
                  <a:pt x="2476763" y="2710685"/>
                </a:cubicBezTo>
                <a:lnTo>
                  <a:pt x="113045" y="2710685"/>
                </a:lnTo>
                <a:cubicBezTo>
                  <a:pt x="50612" y="2710685"/>
                  <a:pt x="0" y="2660073"/>
                  <a:pt x="0" y="2597640"/>
                </a:cubicBezTo>
                <a:lnTo>
                  <a:pt x="0" y="113045"/>
                </a:lnTo>
                <a:cubicBezTo>
                  <a:pt x="0" y="50612"/>
                  <a:pt x="50612" y="0"/>
                  <a:pt x="113045" y="0"/>
                </a:cubicBezTo>
                <a:close/>
              </a:path>
            </a:pathLst>
          </a:custGeom>
        </p:spPr>
      </p:pic>
      <p:pic>
        <p:nvPicPr>
          <p:cNvPr id="67" name="Picture 18" descr="Petronas logo">
            <a:extLst>
              <a:ext uri="{FF2B5EF4-FFF2-40B4-BE49-F238E27FC236}">
                <a16:creationId xmlns:a16="http://schemas.microsoft.com/office/drawing/2014/main" id="{B3FF8677-D2DF-78DF-B031-CFC3E1D96ED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65647" y="5497517"/>
            <a:ext cx="1225178" cy="467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804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bg>
      <p:bgPr>
        <a:blipFill dpi="0" rotWithShape="1">
          <a:blip r:embed="rId3">
            <a:lum/>
          </a:blip>
          <a:srcRect/>
          <a:stretch>
            <a:fillRect t="-39000" b="-39000"/>
          </a:stretch>
        </a:blipFill>
        <a:effectLst/>
      </p:bgPr>
    </p:bg>
    <p:spTree>
      <p:nvGrpSpPr>
        <p:cNvPr id="1" name="">
          <a:extLst>
            <a:ext uri="{FF2B5EF4-FFF2-40B4-BE49-F238E27FC236}">
              <a16:creationId xmlns:a16="http://schemas.microsoft.com/office/drawing/2014/main" id="{29D4FEF0-C5EE-4616-E002-33900CCBCC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19049E-755E-ABE1-41FD-70E03BD9E3D6}"/>
              </a:ext>
            </a:extLst>
          </p:cNvPr>
          <p:cNvSpPr>
            <a:spLocks noGrp="1"/>
          </p:cNvSpPr>
          <p:nvPr>
            <p:ph type="title" idx="4294967295"/>
          </p:nvPr>
        </p:nvSpPr>
        <p:spPr>
          <a:xfrm>
            <a:off x="1174750" y="736362"/>
            <a:ext cx="10106541" cy="553998"/>
          </a:xfrm>
        </p:spPr>
        <p:txBody>
          <a:bodyPr/>
          <a:lstStyle/>
          <a:p>
            <a:pPr algn="ctr"/>
            <a:r>
              <a:rPr lang="en-US" sz="3600" noProof="0">
                <a:cs typeface="Segoe Sans Display"/>
              </a:rPr>
              <a:t>Becoming Frontier | Energy and Resources</a:t>
            </a:r>
            <a:endParaRPr lang="en-US" sz="3600" noProof="0"/>
          </a:p>
        </p:txBody>
      </p:sp>
      <p:sp>
        <p:nvSpPr>
          <p:cNvPr id="4" name="TextBox 3">
            <a:extLst>
              <a:ext uri="{FF2B5EF4-FFF2-40B4-BE49-F238E27FC236}">
                <a16:creationId xmlns:a16="http://schemas.microsoft.com/office/drawing/2014/main" id="{98CB4243-DD7B-A0BA-E5CC-A4DE65DE4B61}"/>
              </a:ext>
              <a:ext uri="{C183D7F6-B498-43B3-948B-1728B52AA6E4}">
                <adec:decorative xmlns:adec="http://schemas.microsoft.com/office/drawing/2017/decorative" val="1"/>
              </a:ext>
            </a:extLst>
          </p:cNvPr>
          <p:cNvSpPr txBox="1">
            <a:spLocks/>
          </p:cNvSpPr>
          <p:nvPr/>
        </p:nvSpPr>
        <p:spPr>
          <a:xfrm>
            <a:off x="588263" y="1505454"/>
            <a:ext cx="11018520" cy="4191736"/>
          </a:xfrm>
          <a:prstGeom prst="roundRect">
            <a:avLst>
              <a:gd name="adj" fmla="val 478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cs typeface="Segoe UI" pitchFamily="34" charset="0"/>
            </a:endParaRPr>
          </a:p>
        </p:txBody>
      </p:sp>
      <p:sp>
        <p:nvSpPr>
          <p:cNvPr id="5" name="Rectangle: Rounded Corners 4">
            <a:extLst>
              <a:ext uri="{FF2B5EF4-FFF2-40B4-BE49-F238E27FC236}">
                <a16:creationId xmlns:a16="http://schemas.microsoft.com/office/drawing/2014/main" id="{AA64DABD-5201-C9FD-3125-81D1CD483391}"/>
              </a:ext>
              <a:ext uri="{C183D7F6-B498-43B3-948B-1728B52AA6E4}">
                <adec:decorative xmlns:adec="http://schemas.microsoft.com/office/drawing/2017/decorative" val="1"/>
              </a:ext>
            </a:extLst>
          </p:cNvPr>
          <p:cNvSpPr>
            <a:spLocks/>
          </p:cNvSpPr>
          <p:nvPr/>
        </p:nvSpPr>
        <p:spPr bwMode="auto">
          <a:xfrm>
            <a:off x="721599" y="1635829"/>
            <a:ext cx="2584331" cy="3930986"/>
          </a:xfrm>
          <a:prstGeom prst="roundRect">
            <a:avLst>
              <a:gd name="adj" fmla="val 5275"/>
            </a:avLst>
          </a:prstGeom>
          <a:solidFill>
            <a:schemeClr val="tx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0" name="Rectangle: Rounded Corners 9">
            <a:extLst>
              <a:ext uri="{FF2B5EF4-FFF2-40B4-BE49-F238E27FC236}">
                <a16:creationId xmlns:a16="http://schemas.microsoft.com/office/drawing/2014/main" id="{32690CBC-5899-148D-423A-0B93CA509B47}"/>
              </a:ext>
              <a:ext uri="{C183D7F6-B498-43B3-948B-1728B52AA6E4}">
                <adec:decorative xmlns:adec="http://schemas.microsoft.com/office/drawing/2017/decorative" val="1"/>
              </a:ext>
            </a:extLst>
          </p:cNvPr>
          <p:cNvSpPr>
            <a:spLocks/>
          </p:cNvSpPr>
          <p:nvPr/>
        </p:nvSpPr>
        <p:spPr bwMode="auto">
          <a:xfrm>
            <a:off x="8886071" y="1635829"/>
            <a:ext cx="2584331" cy="3930986"/>
          </a:xfrm>
          <a:prstGeom prst="roundRect">
            <a:avLst>
              <a:gd name="adj" fmla="val 5275"/>
            </a:avLst>
          </a:prstGeom>
          <a:solidFill>
            <a:schemeClr val="tx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1" name="Rectangle: Rounded Corners 10">
            <a:extLst>
              <a:ext uri="{FF2B5EF4-FFF2-40B4-BE49-F238E27FC236}">
                <a16:creationId xmlns:a16="http://schemas.microsoft.com/office/drawing/2014/main" id="{78655BC0-0314-1194-CC28-CE51458E9F76}"/>
              </a:ext>
              <a:ext uri="{C183D7F6-B498-43B3-948B-1728B52AA6E4}">
                <adec:decorative xmlns:adec="http://schemas.microsoft.com/office/drawing/2017/decorative" val="1"/>
              </a:ext>
            </a:extLst>
          </p:cNvPr>
          <p:cNvSpPr>
            <a:spLocks/>
          </p:cNvSpPr>
          <p:nvPr/>
        </p:nvSpPr>
        <p:spPr bwMode="auto">
          <a:xfrm>
            <a:off x="3443089" y="1635829"/>
            <a:ext cx="2584331" cy="3930986"/>
          </a:xfrm>
          <a:prstGeom prst="roundRect">
            <a:avLst>
              <a:gd name="adj" fmla="val 5275"/>
            </a:avLst>
          </a:prstGeom>
          <a:solidFill>
            <a:schemeClr val="tx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4" name="Rectangle: Rounded Corners 13">
            <a:extLst>
              <a:ext uri="{FF2B5EF4-FFF2-40B4-BE49-F238E27FC236}">
                <a16:creationId xmlns:a16="http://schemas.microsoft.com/office/drawing/2014/main" id="{5E0EAD95-3980-8BF6-DD92-85820CA06F78}"/>
              </a:ext>
              <a:ext uri="{C183D7F6-B498-43B3-948B-1728B52AA6E4}">
                <adec:decorative xmlns:adec="http://schemas.microsoft.com/office/drawing/2017/decorative" val="1"/>
              </a:ext>
            </a:extLst>
          </p:cNvPr>
          <p:cNvSpPr>
            <a:spLocks/>
          </p:cNvSpPr>
          <p:nvPr/>
        </p:nvSpPr>
        <p:spPr bwMode="auto">
          <a:xfrm>
            <a:off x="6164580" y="1635829"/>
            <a:ext cx="2584331" cy="3930986"/>
          </a:xfrm>
          <a:prstGeom prst="roundRect">
            <a:avLst>
              <a:gd name="adj" fmla="val 5275"/>
            </a:avLst>
          </a:prstGeom>
          <a:solidFill>
            <a:schemeClr val="tx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5" name="Oval 14">
            <a:extLst>
              <a:ext uri="{FF2B5EF4-FFF2-40B4-BE49-F238E27FC236}">
                <a16:creationId xmlns:a16="http://schemas.microsoft.com/office/drawing/2014/main" id="{DF3C12D4-C30D-BFE8-366A-DEDAFCD2C739}"/>
              </a:ext>
              <a:ext uri="{C183D7F6-B498-43B3-948B-1728B52AA6E4}">
                <adec:decorative xmlns:adec="http://schemas.microsoft.com/office/drawing/2017/decorative" val="1"/>
              </a:ext>
            </a:extLst>
          </p:cNvPr>
          <p:cNvSpPr/>
          <p:nvPr/>
        </p:nvSpPr>
        <p:spPr bwMode="auto">
          <a:xfrm>
            <a:off x="1599109" y="1847699"/>
            <a:ext cx="829309" cy="829309"/>
          </a:xfrm>
          <a:prstGeom prst="ellipse">
            <a:avLst/>
          </a:prstGeom>
          <a:solidFill>
            <a:srgbClr val="3880B6"/>
          </a:soli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solidFill>
                <a:srgbClr val="091F2C"/>
              </a:solidFill>
              <a:effectLst/>
              <a:uLnTx/>
              <a:uFillTx/>
              <a:latin typeface="Segoe UI Variable Display Semib" pitchFamily="2" charset="0"/>
              <a:ea typeface="+mn-ea"/>
              <a:cs typeface="Segoe Sans Display Semibold" pitchFamily="2" charset="0"/>
            </a:endParaRPr>
          </a:p>
        </p:txBody>
      </p:sp>
      <p:cxnSp>
        <p:nvCxnSpPr>
          <p:cNvPr id="16" name="Straight Connector 15">
            <a:extLst>
              <a:ext uri="{FF2B5EF4-FFF2-40B4-BE49-F238E27FC236}">
                <a16:creationId xmlns:a16="http://schemas.microsoft.com/office/drawing/2014/main" id="{583662A3-81EA-BB28-F353-BC2CC39F6A07}"/>
              </a:ext>
              <a:ext uri="{C183D7F6-B498-43B3-948B-1728B52AA6E4}">
                <adec:decorative xmlns:adec="http://schemas.microsoft.com/office/drawing/2017/decorative" val="1"/>
              </a:ext>
            </a:extLst>
          </p:cNvPr>
          <p:cNvCxnSpPr>
            <a:cxnSpLocks/>
          </p:cNvCxnSpPr>
          <p:nvPr/>
        </p:nvCxnSpPr>
        <p:spPr>
          <a:xfrm flipH="1">
            <a:off x="910710" y="3704206"/>
            <a:ext cx="220611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6D8821D-2F17-BE1F-114C-59A60763E188}"/>
              </a:ext>
              <a:ext uri="{C183D7F6-B498-43B3-948B-1728B52AA6E4}">
                <adec:decorative xmlns:adec="http://schemas.microsoft.com/office/drawing/2017/decorative" val="1"/>
              </a:ext>
            </a:extLst>
          </p:cNvPr>
          <p:cNvSpPr>
            <a:spLocks/>
          </p:cNvSpPr>
          <p:nvPr/>
        </p:nvSpPr>
        <p:spPr bwMode="auto">
          <a:xfrm>
            <a:off x="4320600" y="1847699"/>
            <a:ext cx="829309" cy="829309"/>
          </a:xfrm>
          <a:prstGeom prst="ellipse">
            <a:avLst/>
          </a:prstGeom>
          <a:solidFill>
            <a:srgbClr val="3880B6"/>
          </a:soli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solidFill>
                <a:srgbClr val="091F2C"/>
              </a:solidFill>
              <a:effectLst/>
              <a:uLnTx/>
              <a:uFillTx/>
              <a:latin typeface="Segoe UI Variable Display Semib" pitchFamily="2" charset="0"/>
              <a:ea typeface="+mn-ea"/>
              <a:cs typeface="Segoe Sans Display Semibold" pitchFamily="2" charset="0"/>
            </a:endParaRPr>
          </a:p>
        </p:txBody>
      </p:sp>
      <p:cxnSp>
        <p:nvCxnSpPr>
          <p:cNvPr id="18" name="Straight Connector 17">
            <a:extLst>
              <a:ext uri="{FF2B5EF4-FFF2-40B4-BE49-F238E27FC236}">
                <a16:creationId xmlns:a16="http://schemas.microsoft.com/office/drawing/2014/main" id="{BE6DD05C-5231-38D4-3B33-8BCFC2CA477C}"/>
              </a:ext>
              <a:ext uri="{C183D7F6-B498-43B3-948B-1728B52AA6E4}">
                <adec:decorative xmlns:adec="http://schemas.microsoft.com/office/drawing/2017/decorative" val="1"/>
              </a:ext>
            </a:extLst>
          </p:cNvPr>
          <p:cNvCxnSpPr>
            <a:cxnSpLocks/>
          </p:cNvCxnSpPr>
          <p:nvPr/>
        </p:nvCxnSpPr>
        <p:spPr>
          <a:xfrm flipH="1">
            <a:off x="3632199" y="3704206"/>
            <a:ext cx="220611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9DFCAA59-4E12-906E-8016-8728C4D30E4B}"/>
              </a:ext>
              <a:ext uri="{C183D7F6-B498-43B3-948B-1728B52AA6E4}">
                <adec:decorative xmlns:adec="http://schemas.microsoft.com/office/drawing/2017/decorative" val="1"/>
              </a:ext>
            </a:extLst>
          </p:cNvPr>
          <p:cNvSpPr>
            <a:spLocks/>
          </p:cNvSpPr>
          <p:nvPr/>
        </p:nvSpPr>
        <p:spPr bwMode="auto">
          <a:xfrm>
            <a:off x="7042091" y="1847699"/>
            <a:ext cx="829309" cy="829309"/>
          </a:xfrm>
          <a:prstGeom prst="ellipse">
            <a:avLst/>
          </a:prstGeom>
          <a:solidFill>
            <a:srgbClr val="3880B6"/>
          </a:soli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solidFill>
                <a:srgbClr val="091F2C"/>
              </a:solidFill>
              <a:effectLst/>
              <a:uLnTx/>
              <a:uFillTx/>
              <a:latin typeface="Segoe UI Variable Display Semib" pitchFamily="2" charset="0"/>
              <a:ea typeface="+mn-ea"/>
              <a:cs typeface="Segoe Sans Display Semibold" pitchFamily="2" charset="0"/>
            </a:endParaRPr>
          </a:p>
        </p:txBody>
      </p:sp>
      <p:cxnSp>
        <p:nvCxnSpPr>
          <p:cNvPr id="20" name="Straight Connector 19">
            <a:extLst>
              <a:ext uri="{FF2B5EF4-FFF2-40B4-BE49-F238E27FC236}">
                <a16:creationId xmlns:a16="http://schemas.microsoft.com/office/drawing/2014/main" id="{BE19ED80-A725-F6C6-8B38-62A8FEA204B1}"/>
              </a:ext>
              <a:ext uri="{C183D7F6-B498-43B3-948B-1728B52AA6E4}">
                <adec:decorative xmlns:adec="http://schemas.microsoft.com/office/drawing/2017/decorative" val="1"/>
              </a:ext>
            </a:extLst>
          </p:cNvPr>
          <p:cNvCxnSpPr>
            <a:cxnSpLocks/>
          </p:cNvCxnSpPr>
          <p:nvPr/>
        </p:nvCxnSpPr>
        <p:spPr>
          <a:xfrm flipH="1">
            <a:off x="6353690" y="3704206"/>
            <a:ext cx="220611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C9EE2F1-8F0D-C3F6-C483-116C22DEC25C}"/>
              </a:ext>
              <a:ext uri="{C183D7F6-B498-43B3-948B-1728B52AA6E4}">
                <adec:decorative xmlns:adec="http://schemas.microsoft.com/office/drawing/2017/decorative" val="1"/>
              </a:ext>
            </a:extLst>
          </p:cNvPr>
          <p:cNvSpPr>
            <a:spLocks/>
          </p:cNvSpPr>
          <p:nvPr/>
        </p:nvSpPr>
        <p:spPr bwMode="auto">
          <a:xfrm>
            <a:off x="9763581" y="1847699"/>
            <a:ext cx="829309" cy="829309"/>
          </a:xfrm>
          <a:prstGeom prst="ellipse">
            <a:avLst/>
          </a:prstGeom>
          <a:solidFill>
            <a:srgbClr val="3880B6"/>
          </a:soli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solidFill>
                <a:srgbClr val="091F2C"/>
              </a:solidFill>
              <a:effectLst/>
              <a:uLnTx/>
              <a:uFillTx/>
              <a:latin typeface="Segoe UI Variable Display Semib" pitchFamily="2" charset="0"/>
              <a:ea typeface="+mn-ea"/>
              <a:cs typeface="Segoe Sans Display Semibold" pitchFamily="2" charset="0"/>
            </a:endParaRPr>
          </a:p>
        </p:txBody>
      </p:sp>
      <p:cxnSp>
        <p:nvCxnSpPr>
          <p:cNvPr id="23" name="Straight Connector 22">
            <a:extLst>
              <a:ext uri="{FF2B5EF4-FFF2-40B4-BE49-F238E27FC236}">
                <a16:creationId xmlns:a16="http://schemas.microsoft.com/office/drawing/2014/main" id="{26E94225-9C09-FC1A-B9CB-9D1F70A60905}"/>
              </a:ext>
              <a:ext uri="{C183D7F6-B498-43B3-948B-1728B52AA6E4}">
                <adec:decorative xmlns:adec="http://schemas.microsoft.com/office/drawing/2017/decorative" val="1"/>
              </a:ext>
            </a:extLst>
          </p:cNvPr>
          <p:cNvCxnSpPr>
            <a:cxnSpLocks/>
          </p:cNvCxnSpPr>
          <p:nvPr/>
        </p:nvCxnSpPr>
        <p:spPr>
          <a:xfrm flipH="1">
            <a:off x="9075181" y="3704206"/>
            <a:ext cx="220611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Graphic 30" descr="Icon of two people">
            <a:extLst>
              <a:ext uri="{FF2B5EF4-FFF2-40B4-BE49-F238E27FC236}">
                <a16:creationId xmlns:a16="http://schemas.microsoft.com/office/drawing/2014/main" id="{8D4A7462-C3B0-0FE0-191C-D8809A712685}"/>
              </a:ext>
              <a:ext uri="{C183D7F6-B498-43B3-948B-1728B52AA6E4}">
                <adec:decorative xmlns:adec="http://schemas.microsoft.com/office/drawing/2017/decorative" val="0"/>
              </a:ext>
            </a:extLst>
          </p:cNvPr>
          <p:cNvSpPr>
            <a:spLocks noChangeAspect="1"/>
          </p:cNvSpPr>
          <p:nvPr/>
        </p:nvSpPr>
        <p:spPr>
          <a:xfrm>
            <a:off x="1835977" y="2097299"/>
            <a:ext cx="388368" cy="330108"/>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chemeClr val="tx1"/>
          </a:solidFill>
          <a:ln w="9525" cap="flat">
            <a:noFill/>
            <a:prstDash val="solid"/>
            <a:miter/>
          </a:ln>
          <a:effectLst>
            <a:outerShdw blurRad="50800" dist="25400" dir="5400000" algn="t" rotWithShape="0">
              <a:srgbClr val="F7F7F8">
                <a:lumMod val="65000"/>
                <a:alpha val="4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91F2C"/>
              </a:solidFill>
              <a:effectLst/>
              <a:uLnTx/>
              <a:uFillTx/>
              <a:latin typeface="Segoe UI"/>
              <a:ea typeface="+mn-ea"/>
              <a:cs typeface="+mn-cs"/>
            </a:endParaRPr>
          </a:p>
        </p:txBody>
      </p:sp>
      <p:sp>
        <p:nvSpPr>
          <p:cNvPr id="28" name="!! 1">
            <a:extLst>
              <a:ext uri="{FF2B5EF4-FFF2-40B4-BE49-F238E27FC236}">
                <a16:creationId xmlns:a16="http://schemas.microsoft.com/office/drawing/2014/main" id="{026AA10C-6F3A-24D3-0161-AAC462860A09}"/>
              </a:ext>
            </a:extLst>
          </p:cNvPr>
          <p:cNvSpPr>
            <a:spLocks/>
          </p:cNvSpPr>
          <p:nvPr/>
        </p:nvSpPr>
        <p:spPr bwMode="auto">
          <a:xfrm>
            <a:off x="910710" y="2905773"/>
            <a:ext cx="2206110" cy="615553"/>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Enrich employee</a:t>
            </a:r>
            <a:b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b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experiences</a:t>
            </a:r>
          </a:p>
        </p:txBody>
      </p:sp>
      <p:sp>
        <p:nvSpPr>
          <p:cNvPr id="30" name="TextBox 29">
            <a:extLst>
              <a:ext uri="{FF2B5EF4-FFF2-40B4-BE49-F238E27FC236}">
                <a16:creationId xmlns:a16="http://schemas.microsoft.com/office/drawing/2014/main" id="{EB03765F-3542-79C8-27E4-16456E99EA71}"/>
              </a:ext>
            </a:extLst>
          </p:cNvPr>
          <p:cNvSpPr txBox="1">
            <a:spLocks/>
          </p:cNvSpPr>
          <p:nvPr/>
        </p:nvSpPr>
        <p:spPr>
          <a:xfrm>
            <a:off x="910710" y="3800105"/>
            <a:ext cx="2206110" cy="1523494"/>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enabling AI copilots and agents for field workers to summarize work orders, generate inspection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reports, and provide safety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guidance in real time</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improving training and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upskilling to increase productivity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and efficiency</a:t>
            </a:r>
          </a:p>
        </p:txBody>
      </p:sp>
      <p:sp>
        <p:nvSpPr>
          <p:cNvPr id="32" name="Graphic 27" descr="Icon of a chat bubble">
            <a:extLst>
              <a:ext uri="{FF2B5EF4-FFF2-40B4-BE49-F238E27FC236}">
                <a16:creationId xmlns:a16="http://schemas.microsoft.com/office/drawing/2014/main" id="{2EFD0B0F-BA79-D75D-BA0C-48226076871B}"/>
              </a:ext>
              <a:ext uri="{C183D7F6-B498-43B3-948B-1728B52AA6E4}">
                <adec:decorative xmlns:adec="http://schemas.microsoft.com/office/drawing/2017/decorative" val="0"/>
              </a:ext>
            </a:extLst>
          </p:cNvPr>
          <p:cNvSpPr>
            <a:spLocks noChangeAspect="1"/>
          </p:cNvSpPr>
          <p:nvPr/>
        </p:nvSpPr>
        <p:spPr>
          <a:xfrm>
            <a:off x="4546083" y="2092599"/>
            <a:ext cx="378342" cy="339510"/>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chemeClr val="tx1"/>
          </a:solidFill>
          <a:ln w="9525" cap="flat">
            <a:noFill/>
            <a:prstDash val="solid"/>
            <a:miter/>
          </a:ln>
          <a:effectLst>
            <a:outerShdw blurRad="50800" dist="25400" dir="5400000" algn="t" rotWithShape="0">
              <a:srgbClr val="F7F7F8">
                <a:lumMod val="65000"/>
                <a:alpha val="4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91F2C"/>
              </a:solidFill>
              <a:effectLst/>
              <a:uLnTx/>
              <a:uFillTx/>
              <a:latin typeface="Segoe UI"/>
              <a:ea typeface="+mn-ea"/>
              <a:cs typeface="+mn-cs"/>
            </a:endParaRPr>
          </a:p>
        </p:txBody>
      </p:sp>
      <p:sp>
        <p:nvSpPr>
          <p:cNvPr id="37" name="!! 1">
            <a:extLst>
              <a:ext uri="{FF2B5EF4-FFF2-40B4-BE49-F238E27FC236}">
                <a16:creationId xmlns:a16="http://schemas.microsoft.com/office/drawing/2014/main" id="{2E51A8A2-3789-85ED-A15C-65A9EF688177}"/>
              </a:ext>
            </a:extLst>
          </p:cNvPr>
          <p:cNvSpPr>
            <a:spLocks/>
          </p:cNvSpPr>
          <p:nvPr/>
        </p:nvSpPr>
        <p:spPr bwMode="auto">
          <a:xfrm>
            <a:off x="3632199" y="2905773"/>
            <a:ext cx="2206110" cy="615553"/>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Reinvent customer engagement</a:t>
            </a:r>
          </a:p>
        </p:txBody>
      </p:sp>
      <p:sp>
        <p:nvSpPr>
          <p:cNvPr id="38" name="TextBox 37">
            <a:extLst>
              <a:ext uri="{FF2B5EF4-FFF2-40B4-BE49-F238E27FC236}">
                <a16:creationId xmlns:a16="http://schemas.microsoft.com/office/drawing/2014/main" id="{E54CAF4F-795F-1D23-87A6-90CA808A564A}"/>
              </a:ext>
            </a:extLst>
          </p:cNvPr>
          <p:cNvSpPr txBox="1">
            <a:spLocks/>
          </p:cNvSpPr>
          <p:nvPr/>
        </p:nvSpPr>
        <p:spPr>
          <a:xfrm>
            <a:off x="3495040" y="3800105"/>
            <a:ext cx="2480429" cy="169277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reducing case volumes, improving response times, and enhancing service consist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deploying autonomous agents to handle inquiries, complex issues, and to deliver personalized, real-time upda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forecasting market trends and demand to better plan and respond to customers</a:t>
            </a:r>
          </a:p>
        </p:txBody>
      </p:sp>
      <p:sp>
        <p:nvSpPr>
          <p:cNvPr id="39" name="Graphic 20" descr="Icon of a gear">
            <a:extLst>
              <a:ext uri="{FF2B5EF4-FFF2-40B4-BE49-F238E27FC236}">
                <a16:creationId xmlns:a16="http://schemas.microsoft.com/office/drawing/2014/main" id="{B8CB2048-57E1-F16A-C7BF-ADD44D367E31}"/>
              </a:ext>
              <a:ext uri="{C183D7F6-B498-43B3-948B-1728B52AA6E4}">
                <adec:decorative xmlns:adec="http://schemas.microsoft.com/office/drawing/2017/decorative" val="0"/>
              </a:ext>
            </a:extLst>
          </p:cNvPr>
          <p:cNvSpPr>
            <a:spLocks noChangeAspect="1"/>
          </p:cNvSpPr>
          <p:nvPr/>
        </p:nvSpPr>
        <p:spPr>
          <a:xfrm>
            <a:off x="7285433" y="2083939"/>
            <a:ext cx="342626" cy="356830"/>
          </a:xfrm>
          <a:custGeom>
            <a:avLst/>
            <a:gdLst>
              <a:gd name="connsiteX0" fmla="*/ 213265 w 426043"/>
              <a:gd name="connsiteY0" fmla="*/ 0 h 443705"/>
              <a:gd name="connsiteX1" fmla="*/ 262903 w 426043"/>
              <a:gd name="connsiteY1" fmla="*/ 5758 h 443705"/>
              <a:gd name="connsiteX2" fmla="*/ 276148 w 426043"/>
              <a:gd name="connsiteY2" fmla="*/ 20523 h 443705"/>
              <a:gd name="connsiteX3" fmla="*/ 280021 w 426043"/>
              <a:gd name="connsiteY3" fmla="*/ 55266 h 443705"/>
              <a:gd name="connsiteX4" fmla="*/ 311299 w 426043"/>
              <a:gd name="connsiteY4" fmla="*/ 83316 h 443705"/>
              <a:gd name="connsiteX5" fmla="*/ 323873 w 426043"/>
              <a:gd name="connsiteY5" fmla="*/ 80660 h 443705"/>
              <a:gd name="connsiteX6" fmla="*/ 355742 w 426043"/>
              <a:gd name="connsiteY6" fmla="*/ 66660 h 443705"/>
              <a:gd name="connsiteX7" fmla="*/ 375063 w 426043"/>
              <a:gd name="connsiteY7" fmla="*/ 70620 h 443705"/>
              <a:gd name="connsiteX8" fmla="*/ 425231 w 426043"/>
              <a:gd name="connsiteY8" fmla="*/ 156903 h 443705"/>
              <a:gd name="connsiteX9" fmla="*/ 419058 w 426043"/>
              <a:gd name="connsiteY9" fmla="*/ 175696 h 443705"/>
              <a:gd name="connsiteX10" fmla="*/ 390809 w 426043"/>
              <a:gd name="connsiteY10" fmla="*/ 196519 h 443705"/>
              <a:gd name="connsiteX11" fmla="*/ 377991 w 426043"/>
              <a:gd name="connsiteY11" fmla="*/ 221842 h 443705"/>
              <a:gd name="connsiteX12" fmla="*/ 390827 w 426043"/>
              <a:gd name="connsiteY12" fmla="*/ 247176 h 443705"/>
              <a:gd name="connsiteX13" fmla="*/ 419099 w 426043"/>
              <a:gd name="connsiteY13" fmla="*/ 268005 h 443705"/>
              <a:gd name="connsiteX14" fmla="*/ 425277 w 426043"/>
              <a:gd name="connsiteY14" fmla="*/ 286800 h 443705"/>
              <a:gd name="connsiteX15" fmla="*/ 375136 w 426043"/>
              <a:gd name="connsiteY15" fmla="*/ 373080 h 443705"/>
              <a:gd name="connsiteX16" fmla="*/ 355826 w 426043"/>
              <a:gd name="connsiteY16" fmla="*/ 377050 h 443705"/>
              <a:gd name="connsiteX17" fmla="*/ 323827 w 426043"/>
              <a:gd name="connsiteY17" fmla="*/ 363031 h 443705"/>
              <a:gd name="connsiteX18" fmla="*/ 295505 w 426043"/>
              <a:gd name="connsiteY18" fmla="*/ 364613 h 443705"/>
              <a:gd name="connsiteX19" fmla="*/ 279998 w 426043"/>
              <a:gd name="connsiteY19" fmla="*/ 388361 h 443705"/>
              <a:gd name="connsiteX20" fmla="*/ 276150 w 426043"/>
              <a:gd name="connsiteY20" fmla="*/ 423100 h 443705"/>
              <a:gd name="connsiteX21" fmla="*/ 263137 w 426043"/>
              <a:gd name="connsiteY21" fmla="*/ 437824 h 443705"/>
              <a:gd name="connsiteX22" fmla="*/ 162883 w 426043"/>
              <a:gd name="connsiteY22" fmla="*/ 437824 h 443705"/>
              <a:gd name="connsiteX23" fmla="*/ 149871 w 426043"/>
              <a:gd name="connsiteY23" fmla="*/ 423100 h 443705"/>
              <a:gd name="connsiteX24" fmla="*/ 146030 w 426043"/>
              <a:gd name="connsiteY24" fmla="*/ 388414 h 443705"/>
              <a:gd name="connsiteX25" fmla="*/ 130490 w 426043"/>
              <a:gd name="connsiteY25" fmla="*/ 364727 h 443705"/>
              <a:gd name="connsiteX26" fmla="*/ 102224 w 426043"/>
              <a:gd name="connsiteY26" fmla="*/ 363143 h 443705"/>
              <a:gd name="connsiteX27" fmla="*/ 70218 w 426043"/>
              <a:gd name="connsiteY27" fmla="*/ 377164 h 443705"/>
              <a:gd name="connsiteX28" fmla="*/ 50904 w 426043"/>
              <a:gd name="connsiteY28" fmla="*/ 373189 h 443705"/>
              <a:gd name="connsiteX29" fmla="*/ 763 w 426043"/>
              <a:gd name="connsiteY29" fmla="*/ 286812 h 443705"/>
              <a:gd name="connsiteX30" fmla="*/ 6945 w 426043"/>
              <a:gd name="connsiteY30" fmla="*/ 268028 h 443705"/>
              <a:gd name="connsiteX31" fmla="*/ 35236 w 426043"/>
              <a:gd name="connsiteY31" fmla="*/ 247185 h 443705"/>
              <a:gd name="connsiteX32" fmla="*/ 48053 w 426043"/>
              <a:gd name="connsiteY32" fmla="*/ 221865 h 443705"/>
              <a:gd name="connsiteX33" fmla="*/ 35225 w 426043"/>
              <a:gd name="connsiteY33" fmla="*/ 196535 h 443705"/>
              <a:gd name="connsiteX34" fmla="*/ 6952 w 426043"/>
              <a:gd name="connsiteY34" fmla="*/ 175727 h 443705"/>
              <a:gd name="connsiteX35" fmla="*/ 767 w 426043"/>
              <a:gd name="connsiteY35" fmla="*/ 156926 h 443705"/>
              <a:gd name="connsiteX36" fmla="*/ 50935 w 426043"/>
              <a:gd name="connsiteY36" fmla="*/ 70643 h 443705"/>
              <a:gd name="connsiteX37" fmla="*/ 70256 w 426043"/>
              <a:gd name="connsiteY37" fmla="*/ 66682 h 443705"/>
              <a:gd name="connsiteX38" fmla="*/ 102120 w 426043"/>
              <a:gd name="connsiteY38" fmla="*/ 80680 h 443705"/>
              <a:gd name="connsiteX39" fmla="*/ 130521 w 426043"/>
              <a:gd name="connsiteY39" fmla="*/ 79018 h 443705"/>
              <a:gd name="connsiteX40" fmla="*/ 146048 w 426043"/>
              <a:gd name="connsiteY40" fmla="*/ 55239 h 443705"/>
              <a:gd name="connsiteX41" fmla="*/ 149918 w 426043"/>
              <a:gd name="connsiteY41" fmla="*/ 20523 h 443705"/>
              <a:gd name="connsiteX42" fmla="*/ 163174 w 426043"/>
              <a:gd name="connsiteY42" fmla="*/ 5755 h 443705"/>
              <a:gd name="connsiteX43" fmla="*/ 213265 w 426043"/>
              <a:gd name="connsiteY43" fmla="*/ 0 h 443705"/>
              <a:gd name="connsiteX44" fmla="*/ 212980 w 426043"/>
              <a:gd name="connsiteY44" fmla="*/ 153590 h 443705"/>
              <a:gd name="connsiteX45" fmla="*/ 144718 w 426043"/>
              <a:gd name="connsiteY45" fmla="*/ 221853 h 443705"/>
              <a:gd name="connsiteX46" fmla="*/ 212980 w 426043"/>
              <a:gd name="connsiteY46" fmla="*/ 290116 h 443705"/>
              <a:gd name="connsiteX47" fmla="*/ 281243 w 426043"/>
              <a:gd name="connsiteY47" fmla="*/ 221853 h 443705"/>
              <a:gd name="connsiteX48" fmla="*/ 212980 w 426043"/>
              <a:gd name="connsiteY48" fmla="*/ 153590 h 44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6043" h="443705">
                <a:moveTo>
                  <a:pt x="213265" y="0"/>
                </a:moveTo>
                <a:cubicBezTo>
                  <a:pt x="229966" y="193"/>
                  <a:pt x="246602" y="2122"/>
                  <a:pt x="262903" y="5758"/>
                </a:cubicBezTo>
                <a:cubicBezTo>
                  <a:pt x="270018" y="7345"/>
                  <a:pt x="275340" y="13277"/>
                  <a:pt x="276148" y="20523"/>
                </a:cubicBezTo>
                <a:lnTo>
                  <a:pt x="280021" y="55266"/>
                </a:lnTo>
                <a:cubicBezTo>
                  <a:pt x="281775" y="71217"/>
                  <a:pt x="295243" y="83299"/>
                  <a:pt x="311299" y="83316"/>
                </a:cubicBezTo>
                <a:cubicBezTo>
                  <a:pt x="315615" y="83323"/>
                  <a:pt x="319884" y="82424"/>
                  <a:pt x="323873" y="80660"/>
                </a:cubicBezTo>
                <a:lnTo>
                  <a:pt x="355742" y="66660"/>
                </a:lnTo>
                <a:cubicBezTo>
                  <a:pt x="362370" y="63748"/>
                  <a:pt x="370116" y="65335"/>
                  <a:pt x="375063" y="70620"/>
                </a:cubicBezTo>
                <a:cubicBezTo>
                  <a:pt x="398094" y="95218"/>
                  <a:pt x="415247" y="124719"/>
                  <a:pt x="425231" y="156903"/>
                </a:cubicBezTo>
                <a:cubicBezTo>
                  <a:pt x="427384" y="163843"/>
                  <a:pt x="424906" y="171385"/>
                  <a:pt x="419058" y="175696"/>
                </a:cubicBezTo>
                <a:lnTo>
                  <a:pt x="390809" y="196519"/>
                </a:lnTo>
                <a:cubicBezTo>
                  <a:pt x="382749" y="202439"/>
                  <a:pt x="377991" y="211841"/>
                  <a:pt x="377991" y="221842"/>
                </a:cubicBezTo>
                <a:cubicBezTo>
                  <a:pt x="377991" y="231840"/>
                  <a:pt x="382749" y="241242"/>
                  <a:pt x="390827" y="247176"/>
                </a:cubicBezTo>
                <a:lnTo>
                  <a:pt x="419099" y="268005"/>
                </a:lnTo>
                <a:cubicBezTo>
                  <a:pt x="424949" y="272315"/>
                  <a:pt x="427429" y="279858"/>
                  <a:pt x="425277" y="286800"/>
                </a:cubicBezTo>
                <a:cubicBezTo>
                  <a:pt x="415297" y="318979"/>
                  <a:pt x="398154" y="348478"/>
                  <a:pt x="375136" y="373080"/>
                </a:cubicBezTo>
                <a:cubicBezTo>
                  <a:pt x="370193" y="378363"/>
                  <a:pt x="362455" y="379956"/>
                  <a:pt x="355826" y="377050"/>
                </a:cubicBezTo>
                <a:lnTo>
                  <a:pt x="323827" y="363031"/>
                </a:lnTo>
                <a:cubicBezTo>
                  <a:pt x="314671" y="359024"/>
                  <a:pt x="304158" y="359611"/>
                  <a:pt x="295505" y="364613"/>
                </a:cubicBezTo>
                <a:cubicBezTo>
                  <a:pt x="286854" y="369612"/>
                  <a:pt x="281097" y="378429"/>
                  <a:pt x="279998" y="388361"/>
                </a:cubicBezTo>
                <a:lnTo>
                  <a:pt x="276150" y="423100"/>
                </a:lnTo>
                <a:cubicBezTo>
                  <a:pt x="275356" y="430263"/>
                  <a:pt x="270150" y="436156"/>
                  <a:pt x="263137" y="437824"/>
                </a:cubicBezTo>
                <a:cubicBezTo>
                  <a:pt x="230180" y="445665"/>
                  <a:pt x="195842" y="445665"/>
                  <a:pt x="162883" y="437824"/>
                </a:cubicBezTo>
                <a:cubicBezTo>
                  <a:pt x="155872" y="436156"/>
                  <a:pt x="150665" y="430263"/>
                  <a:pt x="149871" y="423100"/>
                </a:cubicBezTo>
                <a:lnTo>
                  <a:pt x="146030" y="388414"/>
                </a:lnTo>
                <a:cubicBezTo>
                  <a:pt x="144901" y="378500"/>
                  <a:pt x="139135" y="369710"/>
                  <a:pt x="130490" y="364727"/>
                </a:cubicBezTo>
                <a:cubicBezTo>
                  <a:pt x="121845" y="359743"/>
                  <a:pt x="111349" y="359159"/>
                  <a:pt x="102224" y="363143"/>
                </a:cubicBezTo>
                <a:lnTo>
                  <a:pt x="70218" y="377164"/>
                </a:lnTo>
                <a:cubicBezTo>
                  <a:pt x="63588" y="380070"/>
                  <a:pt x="55847" y="378477"/>
                  <a:pt x="50904" y="373189"/>
                </a:cubicBezTo>
                <a:cubicBezTo>
                  <a:pt x="27873" y="348560"/>
                  <a:pt x="10730" y="319025"/>
                  <a:pt x="763" y="286812"/>
                </a:cubicBezTo>
                <a:cubicBezTo>
                  <a:pt x="-1383" y="279874"/>
                  <a:pt x="1097" y="272336"/>
                  <a:pt x="6945" y="268028"/>
                </a:cubicBezTo>
                <a:lnTo>
                  <a:pt x="35236" y="247185"/>
                </a:lnTo>
                <a:cubicBezTo>
                  <a:pt x="43294" y="241265"/>
                  <a:pt x="48053" y="231863"/>
                  <a:pt x="48053" y="221865"/>
                </a:cubicBezTo>
                <a:cubicBezTo>
                  <a:pt x="48053" y="211864"/>
                  <a:pt x="43294" y="202462"/>
                  <a:pt x="35225" y="196535"/>
                </a:cubicBezTo>
                <a:lnTo>
                  <a:pt x="6952" y="175727"/>
                </a:lnTo>
                <a:cubicBezTo>
                  <a:pt x="1096" y="171417"/>
                  <a:pt x="-1387" y="163871"/>
                  <a:pt x="767" y="156926"/>
                </a:cubicBezTo>
                <a:cubicBezTo>
                  <a:pt x="10751" y="124742"/>
                  <a:pt x="27903" y="95241"/>
                  <a:pt x="50935" y="70643"/>
                </a:cubicBezTo>
                <a:cubicBezTo>
                  <a:pt x="55883" y="65358"/>
                  <a:pt x="63627" y="63771"/>
                  <a:pt x="70256" y="66682"/>
                </a:cubicBezTo>
                <a:lnTo>
                  <a:pt x="102120" y="80680"/>
                </a:lnTo>
                <a:cubicBezTo>
                  <a:pt x="111289" y="84704"/>
                  <a:pt x="121829" y="84096"/>
                  <a:pt x="130521" y="79018"/>
                </a:cubicBezTo>
                <a:cubicBezTo>
                  <a:pt x="139175" y="73999"/>
                  <a:pt x="144936" y="65173"/>
                  <a:pt x="146048" y="55239"/>
                </a:cubicBezTo>
                <a:lnTo>
                  <a:pt x="149918" y="20523"/>
                </a:lnTo>
                <a:cubicBezTo>
                  <a:pt x="150726" y="13274"/>
                  <a:pt x="156053" y="7339"/>
                  <a:pt x="163174" y="5755"/>
                </a:cubicBezTo>
                <a:cubicBezTo>
                  <a:pt x="179495" y="2126"/>
                  <a:pt x="196149" y="197"/>
                  <a:pt x="213265" y="0"/>
                </a:cubicBezTo>
                <a:close/>
                <a:moveTo>
                  <a:pt x="212980" y="153590"/>
                </a:moveTo>
                <a:cubicBezTo>
                  <a:pt x="175279" y="153590"/>
                  <a:pt x="144718" y="184152"/>
                  <a:pt x="144718" y="221853"/>
                </a:cubicBezTo>
                <a:cubicBezTo>
                  <a:pt x="144718" y="259552"/>
                  <a:pt x="175279" y="290116"/>
                  <a:pt x="212980" y="290116"/>
                </a:cubicBezTo>
                <a:cubicBezTo>
                  <a:pt x="250679" y="290116"/>
                  <a:pt x="281243" y="259552"/>
                  <a:pt x="281243" y="221853"/>
                </a:cubicBezTo>
                <a:cubicBezTo>
                  <a:pt x="281243" y="184152"/>
                  <a:pt x="250679" y="153590"/>
                  <a:pt x="212980" y="153590"/>
                </a:cubicBezTo>
                <a:close/>
              </a:path>
            </a:pathLst>
          </a:custGeom>
          <a:solidFill>
            <a:schemeClr val="tx1"/>
          </a:solidFill>
          <a:ln w="9525" cap="flat">
            <a:noFill/>
            <a:prstDash val="solid"/>
            <a:miter/>
          </a:ln>
          <a:effectLst>
            <a:outerShdw blurRad="50800" dist="25400" dir="5400000" algn="t" rotWithShape="0">
              <a:srgbClr val="F7F7F8">
                <a:lumMod val="65000"/>
                <a:alpha val="4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91F2C"/>
              </a:solidFill>
              <a:effectLst/>
              <a:uLnTx/>
              <a:uFillTx/>
              <a:latin typeface="Segoe UI"/>
              <a:ea typeface="+mn-ea"/>
              <a:cs typeface="+mn-cs"/>
            </a:endParaRPr>
          </a:p>
        </p:txBody>
      </p:sp>
      <p:sp>
        <p:nvSpPr>
          <p:cNvPr id="40" name="!! 1">
            <a:extLst>
              <a:ext uri="{FF2B5EF4-FFF2-40B4-BE49-F238E27FC236}">
                <a16:creationId xmlns:a16="http://schemas.microsoft.com/office/drawing/2014/main" id="{9F702782-8CF0-D91F-EEFC-70675BA79D22}"/>
              </a:ext>
            </a:extLst>
          </p:cNvPr>
          <p:cNvSpPr>
            <a:spLocks/>
          </p:cNvSpPr>
          <p:nvPr/>
        </p:nvSpPr>
        <p:spPr bwMode="auto">
          <a:xfrm>
            <a:off x="6353690" y="2905773"/>
            <a:ext cx="2206110" cy="615553"/>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Reshape business</a:t>
            </a:r>
            <a:b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b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processes</a:t>
            </a:r>
          </a:p>
        </p:txBody>
      </p:sp>
      <p:sp>
        <p:nvSpPr>
          <p:cNvPr id="41" name="TextBox 40">
            <a:extLst>
              <a:ext uri="{FF2B5EF4-FFF2-40B4-BE49-F238E27FC236}">
                <a16:creationId xmlns:a16="http://schemas.microsoft.com/office/drawing/2014/main" id="{98F728A1-8D6F-A18A-F747-00E2937CBA30}"/>
              </a:ext>
            </a:extLst>
          </p:cNvPr>
          <p:cNvSpPr txBox="1">
            <a:spLocks/>
          </p:cNvSpPr>
          <p:nvPr/>
        </p:nvSpPr>
        <p:spPr>
          <a:xfrm>
            <a:off x="6284068" y="3800105"/>
            <a:ext cx="2328186" cy="1661993"/>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harnessing AI to optimize supply chains, secure assets, and power intelligent systems</a:t>
            </a:r>
          </a:p>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forecasting transformer failure or substation degradation</a:t>
            </a:r>
          </a:p>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optimizing vegetation management programs with AI vision models and satellite analysis</a:t>
            </a:r>
          </a:p>
        </p:txBody>
      </p:sp>
      <p:sp>
        <p:nvSpPr>
          <p:cNvPr id="42" name="Graphic 11" descr="Icon of a lightbulb">
            <a:extLst>
              <a:ext uri="{FF2B5EF4-FFF2-40B4-BE49-F238E27FC236}">
                <a16:creationId xmlns:a16="http://schemas.microsoft.com/office/drawing/2014/main" id="{70B19375-FC10-1469-E9FB-0128DD8828CB}"/>
              </a:ext>
              <a:ext uri="{C183D7F6-B498-43B3-948B-1728B52AA6E4}">
                <adec:decorative xmlns:adec="http://schemas.microsoft.com/office/drawing/2017/decorative" val="0"/>
              </a:ext>
            </a:extLst>
          </p:cNvPr>
          <p:cNvSpPr>
            <a:spLocks noChangeAspect="1"/>
          </p:cNvSpPr>
          <p:nvPr/>
        </p:nvSpPr>
        <p:spPr>
          <a:xfrm>
            <a:off x="10045568" y="2079377"/>
            <a:ext cx="265336" cy="365954"/>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chemeClr val="tx1"/>
          </a:solidFill>
          <a:ln w="9525" cap="flat">
            <a:noFill/>
            <a:prstDash val="solid"/>
            <a:miter/>
          </a:ln>
          <a:effectLst>
            <a:outerShdw blurRad="50800" dist="25400" dir="5400000" algn="t" rotWithShape="0">
              <a:srgbClr val="F7F7F8">
                <a:lumMod val="65000"/>
                <a:alpha val="4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91F2C"/>
              </a:solidFill>
              <a:effectLst/>
              <a:uLnTx/>
              <a:uFillTx/>
              <a:latin typeface="Segoe UI"/>
              <a:ea typeface="+mn-ea"/>
              <a:cs typeface="+mn-cs"/>
            </a:endParaRPr>
          </a:p>
        </p:txBody>
      </p:sp>
      <p:sp>
        <p:nvSpPr>
          <p:cNvPr id="44" name="!! 1">
            <a:extLst>
              <a:ext uri="{FF2B5EF4-FFF2-40B4-BE49-F238E27FC236}">
                <a16:creationId xmlns:a16="http://schemas.microsoft.com/office/drawing/2014/main" id="{C2D343C5-F2A5-9D78-6033-47297DBF4548}"/>
              </a:ext>
            </a:extLst>
          </p:cNvPr>
          <p:cNvSpPr>
            <a:spLocks/>
          </p:cNvSpPr>
          <p:nvPr/>
        </p:nvSpPr>
        <p:spPr bwMode="auto">
          <a:xfrm>
            <a:off x="9075181" y="2905773"/>
            <a:ext cx="2206110" cy="615553"/>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Bend the curve</a:t>
            </a:r>
            <a:b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br>
            <a:r>
              <a:rPr kumimoji="0" lang="en-US" sz="2000" b="0" i="0" u="none" strike="noStrike" kern="1200" cap="none" spc="0" normalizeH="0" baseline="0" noProof="0">
                <a:ln w="3175">
                  <a:noFill/>
                </a:ln>
                <a:solidFill>
                  <a:srgbClr val="091F2C"/>
                </a:solidFill>
                <a:effectLst/>
                <a:uLnTx/>
                <a:uFillTx/>
                <a:latin typeface="Segoe Sans Display Semibold"/>
                <a:ea typeface="+mn-ea"/>
                <a:cs typeface="+mn-cs"/>
              </a:rPr>
              <a:t>on innovation</a:t>
            </a:r>
          </a:p>
        </p:txBody>
      </p:sp>
      <p:sp>
        <p:nvSpPr>
          <p:cNvPr id="45" name="TextBox 44">
            <a:extLst>
              <a:ext uri="{FF2B5EF4-FFF2-40B4-BE49-F238E27FC236}">
                <a16:creationId xmlns:a16="http://schemas.microsoft.com/office/drawing/2014/main" id="{A82BE915-F1F8-8CDB-059D-0A2B94F9AD52}"/>
              </a:ext>
            </a:extLst>
          </p:cNvPr>
          <p:cNvSpPr txBox="1">
            <a:spLocks/>
          </p:cNvSpPr>
          <p:nvPr/>
        </p:nvSpPr>
        <p:spPr>
          <a:xfrm>
            <a:off x="8957477" y="3800105"/>
            <a:ext cx="2453068" cy="1692771"/>
          </a:xfrm>
          <a:prstGeom prst="rect">
            <a:avLst/>
          </a:prstGeom>
          <a:noFill/>
        </p:spPr>
        <p:txBody>
          <a:bodyPr wrap="square" lIns="0" tIns="0" rIns="0" bIns="0" anchor="t">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growing sustainable,</a:t>
            </a:r>
            <a:br>
              <a:rPr kumimoji="0" lang="en-US" sz="1100" b="0" i="0" u="none" strike="noStrike" kern="1200" cap="none" spc="0" normalizeH="0" baseline="0" noProof="0">
                <a:ln>
                  <a:noFill/>
                </a:ln>
                <a:solidFill>
                  <a:srgbClr val="091F2C"/>
                </a:solidFill>
                <a:effectLst/>
                <a:uLnTx/>
                <a:uFillTx/>
                <a:latin typeface="Segoe Sans Display"/>
                <a:ea typeface="+mn-ea"/>
                <a:cs typeface="+mn-cs"/>
              </a:rPr>
            </a:br>
            <a:r>
              <a:rPr kumimoji="0" lang="en-US" sz="1100" b="0" i="0" u="none" strike="noStrike" kern="1200" cap="none" spc="0" normalizeH="0" baseline="0" noProof="0">
                <a:ln>
                  <a:noFill/>
                </a:ln>
                <a:solidFill>
                  <a:srgbClr val="091F2C"/>
                </a:solidFill>
                <a:effectLst/>
                <a:uLnTx/>
                <a:uFillTx/>
                <a:latin typeface="Segoe Sans Display"/>
                <a:ea typeface="+mn-ea"/>
                <a:cs typeface="+mn-cs"/>
              </a:rPr>
              <a:t> AI-powered businesses</a:t>
            </a:r>
          </a:p>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using AI to develop better battery storage materials and decarbonization methods</a:t>
            </a:r>
          </a:p>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using AI to simulate DER integration scenarios to stress-test grid flexibility and investment planning</a:t>
            </a:r>
          </a:p>
        </p:txBody>
      </p:sp>
      <p:grpSp>
        <p:nvGrpSpPr>
          <p:cNvPr id="6" name="Group 5">
            <a:extLst>
              <a:ext uri="{FF2B5EF4-FFF2-40B4-BE49-F238E27FC236}">
                <a16:creationId xmlns:a16="http://schemas.microsoft.com/office/drawing/2014/main" id="{32E6CC54-D553-7C03-0DE7-5943EF37B619}"/>
              </a:ext>
            </a:extLst>
          </p:cNvPr>
          <p:cNvGrpSpPr/>
          <p:nvPr/>
        </p:nvGrpSpPr>
        <p:grpSpPr>
          <a:xfrm>
            <a:off x="3338508" y="5893764"/>
            <a:ext cx="5514984" cy="489098"/>
            <a:chOff x="4019107" y="5465135"/>
            <a:chExt cx="5514984" cy="489098"/>
          </a:xfrm>
        </p:grpSpPr>
        <p:sp>
          <p:nvSpPr>
            <p:cNvPr id="7" name="Rectangle: Rounded Corners 6">
              <a:extLst>
                <a:ext uri="{FF2B5EF4-FFF2-40B4-BE49-F238E27FC236}">
                  <a16:creationId xmlns:a16="http://schemas.microsoft.com/office/drawing/2014/main" id="{BB239DD0-917A-7A47-82DE-DE11AEA3D5EB}"/>
                </a:ext>
              </a:extLst>
            </p:cNvPr>
            <p:cNvSpPr/>
            <p:nvPr/>
          </p:nvSpPr>
          <p:spPr bwMode="auto">
            <a:xfrm>
              <a:off x="4019107" y="5465135"/>
              <a:ext cx="5514984" cy="489098"/>
            </a:xfrm>
            <a:prstGeom prst="roundRect">
              <a:avLst>
                <a:gd name="adj"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Pro Light"/>
                <a:ea typeface="Segoe UI" pitchFamily="34" charset="0"/>
                <a:cs typeface="Segoe UI" pitchFamily="34" charset="0"/>
              </a:endParaRPr>
            </a:p>
          </p:txBody>
        </p:sp>
        <p:sp>
          <p:nvSpPr>
            <p:cNvPr id="8" name="TextBox 7">
              <a:extLst>
                <a:ext uri="{FF2B5EF4-FFF2-40B4-BE49-F238E27FC236}">
                  <a16:creationId xmlns:a16="http://schemas.microsoft.com/office/drawing/2014/main" id="{52D46742-64C9-94DA-17E8-2789451F54BA}"/>
                </a:ext>
              </a:extLst>
            </p:cNvPr>
            <p:cNvSpPr txBox="1"/>
            <p:nvPr/>
          </p:nvSpPr>
          <p:spPr>
            <a:xfrm>
              <a:off x="4260346" y="5555796"/>
              <a:ext cx="503250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rgbClr val="091F2E">
                      <a:lumMod val="75000"/>
                      <a:lumOff val="25000"/>
                    </a:srgbClr>
                  </a:solidFill>
                  <a:effectLst/>
                  <a:uLnTx/>
                  <a:uFillTx/>
                  <a:latin typeface="Segoe UI Semibold"/>
                  <a:ea typeface="+mn-ea"/>
                  <a:cs typeface="Segoe UI" pitchFamily="34" charset="0"/>
                </a:rPr>
                <a:t>Next Step: Schedule an Agentic Workshop</a:t>
              </a:r>
            </a:p>
          </p:txBody>
        </p:sp>
      </p:grpSp>
    </p:spTree>
    <p:extLst>
      <p:ext uri="{BB962C8B-B14F-4D97-AF65-F5344CB8AC3E}">
        <p14:creationId xmlns:p14="http://schemas.microsoft.com/office/powerpoint/2010/main" val="708752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00"/>
                                  </p:stCondLst>
                                  <p:childTnLst>
                                    <p:animMotion origin="layout" path="M -2.08333E-7 4.81481E-6 L -2.08333E-7 0.03541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4.16667E-6 3.33333E-6 L -4.16667E-6 0.03541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100"/>
                                  </p:stCondLst>
                                  <p:childTnLst>
                                    <p:animMotion origin="layout" path="M -4.16667E-6 -3.7037E-6 L -4.16667E-6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100"/>
                                  </p:stCondLst>
                                  <p:childTnLst>
                                    <p:animMotion origin="layout" path="M 3.54167E-6 4.81481E-6 L 3.54167E-6 0.03541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42" presetClass="path" presetSubtype="0" decel="100000" fill="hold" grpId="1" nodeType="withEffect">
                                  <p:stCondLst>
                                    <p:cond delay="100"/>
                                  </p:stCondLst>
                                  <p:childTnLst>
                                    <p:animMotion origin="layout" path="M -4.16667E-6 -2.59259E-6 L -4.16667E-6 0.03542 " pathEditMode="relative" rAng="0" ptsTypes="AA">
                                      <p:cBhvr>
                                        <p:cTn id="29" dur="700" spd="-100000" fill="hold"/>
                                        <p:tgtEl>
                                          <p:spTgt spid="28"/>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42" presetClass="path" presetSubtype="0" decel="100000" fill="hold" nodeType="withEffect">
                                  <p:stCondLst>
                                    <p:cond delay="100"/>
                                  </p:stCondLst>
                                  <p:childTnLst>
                                    <p:animMotion origin="layout" path="M -4.16667E-6 -3.7037E-7 L -4.16667E-6 0.03542 " pathEditMode="relative" rAng="0" ptsTypes="AA">
                                      <p:cBhvr>
                                        <p:cTn id="34" dur="700" spd="-100000" fill="hold"/>
                                        <p:tgtEl>
                                          <p:spTgt spid="16"/>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42" presetClass="path" presetSubtype="0" decel="100000" fill="hold" grpId="1" nodeType="withEffect">
                                  <p:stCondLst>
                                    <p:cond delay="100"/>
                                  </p:stCondLst>
                                  <p:childTnLst>
                                    <p:animMotion origin="layout" path="M -4.16667E-6 0 L -4.16667E-6 0.03542 " pathEditMode="relative" rAng="0" ptsTypes="AA">
                                      <p:cBhvr>
                                        <p:cTn id="39" dur="700" spd="-100000" fill="hold"/>
                                        <p:tgtEl>
                                          <p:spTgt spid="30"/>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42" presetClass="path" presetSubtype="0" decel="100000" fill="hold" grpId="1" nodeType="withEffect">
                                  <p:stCondLst>
                                    <p:cond delay="200"/>
                                  </p:stCondLst>
                                  <p:childTnLst>
                                    <p:animMotion origin="layout" path="M -1.45833E-6 3.33333E-6 L -1.45833E-6 0.03541 " pathEditMode="relative" rAng="0" ptsTypes="AA">
                                      <p:cBhvr>
                                        <p:cTn id="44" dur="700" spd="-100000" fill="hold"/>
                                        <p:tgtEl>
                                          <p:spTgt spid="11"/>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42" presetClass="path" presetSubtype="0" decel="100000" fill="hold" grpId="1" nodeType="withEffect">
                                  <p:stCondLst>
                                    <p:cond delay="200"/>
                                  </p:stCondLst>
                                  <p:childTnLst>
                                    <p:animMotion origin="layout" path="M -1.45833E-6 -3.7037E-6 L -1.45833E-6 0.03542 " pathEditMode="relative" rAng="0" ptsTypes="AA">
                                      <p:cBhvr>
                                        <p:cTn id="49" dur="700" spd="-100000" fill="hold"/>
                                        <p:tgtEl>
                                          <p:spTgt spid="17"/>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42" presetClass="path" presetSubtype="0" decel="100000" fill="hold" grpId="1" nodeType="withEffect">
                                  <p:stCondLst>
                                    <p:cond delay="200"/>
                                  </p:stCondLst>
                                  <p:childTnLst>
                                    <p:animMotion origin="layout" path="M -1.45833E-6 4.81481E-6 L -1.45833E-6 0.03541 " pathEditMode="relative" rAng="0" ptsTypes="AA">
                                      <p:cBhvr>
                                        <p:cTn id="54" dur="700" spd="-100000" fill="hold"/>
                                        <p:tgtEl>
                                          <p:spTgt spid="32"/>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42" presetClass="path" presetSubtype="0" decel="100000" fill="hold" grpId="1" nodeType="withEffect">
                                  <p:stCondLst>
                                    <p:cond delay="200"/>
                                  </p:stCondLst>
                                  <p:childTnLst>
                                    <p:animMotion origin="layout" path="M -1.45833E-6 -2.59259E-6 L -1.45833E-6 0.03542 " pathEditMode="relative" rAng="0" ptsTypes="AA">
                                      <p:cBhvr>
                                        <p:cTn id="59" dur="700" spd="-100000" fill="hold"/>
                                        <p:tgtEl>
                                          <p:spTgt spid="37"/>
                                        </p:tgtEl>
                                        <p:attrNameLst>
                                          <p:attrName>ppt_x</p:attrName>
                                          <p:attrName>ppt_y</p:attrName>
                                        </p:attrNameLst>
                                      </p:cBhvr>
                                      <p:rCtr x="0" y="1759"/>
                                    </p:animMotion>
                                  </p:childTnLst>
                                </p:cTn>
                              </p:par>
                              <p:par>
                                <p:cTn id="60" presetID="10" presetClass="entr" presetSubtype="0" fill="hold" nodeType="withEffect">
                                  <p:stCondLst>
                                    <p:cond delay="20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par>
                                <p:cTn id="63" presetID="42" presetClass="path" presetSubtype="0" decel="100000" fill="hold" nodeType="withEffect">
                                  <p:stCondLst>
                                    <p:cond delay="200"/>
                                  </p:stCondLst>
                                  <p:childTnLst>
                                    <p:animMotion origin="layout" path="M -1.45833E-6 -3.7037E-7 L -1.45833E-6 0.03542 " pathEditMode="relative" rAng="0" ptsTypes="AA">
                                      <p:cBhvr>
                                        <p:cTn id="64" dur="700" spd="-100000" fill="hold"/>
                                        <p:tgtEl>
                                          <p:spTgt spid="18"/>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42" presetClass="path" presetSubtype="0" decel="100000" fill="hold" grpId="1" nodeType="withEffect">
                                  <p:stCondLst>
                                    <p:cond delay="200"/>
                                  </p:stCondLst>
                                  <p:childTnLst>
                                    <p:animMotion origin="layout" path="M -1.45833E-6 0 L -1.45833E-6 0.03542 " pathEditMode="relative" rAng="0" ptsTypes="AA">
                                      <p:cBhvr>
                                        <p:cTn id="69" dur="700" spd="-100000" fill="hold"/>
                                        <p:tgtEl>
                                          <p:spTgt spid="38"/>
                                        </p:tgtEl>
                                        <p:attrNameLst>
                                          <p:attrName>ppt_x</p:attrName>
                                          <p:attrName>ppt_y</p:attrName>
                                        </p:attrNameLst>
                                      </p:cBhvr>
                                      <p:rCtr x="0" y="1759"/>
                                    </p:animMotion>
                                  </p:childTnLst>
                                </p:cTn>
                              </p:par>
                              <p:par>
                                <p:cTn id="70" presetID="10" presetClass="entr" presetSubtype="0" fill="hold" grpId="0" nodeType="withEffect">
                                  <p:stCondLst>
                                    <p:cond delay="300"/>
                                  </p:stCondLst>
                                  <p:childTnLst>
                                    <p:set>
                                      <p:cBhvr>
                                        <p:cTn id="71" dur="1" fill="hold">
                                          <p:stCondLst>
                                            <p:cond delay="0"/>
                                          </p:stCondLst>
                                        </p:cTn>
                                        <p:tgtEl>
                                          <p:spTgt spid="14"/>
                                        </p:tgtEl>
                                        <p:attrNameLst>
                                          <p:attrName>style.visibility</p:attrName>
                                        </p:attrNameLst>
                                      </p:cBhvr>
                                      <p:to>
                                        <p:strVal val="visible"/>
                                      </p:to>
                                    </p:set>
                                    <p:animEffect transition="in" filter="fade">
                                      <p:cBhvr>
                                        <p:cTn id="72" dur="500"/>
                                        <p:tgtEl>
                                          <p:spTgt spid="14"/>
                                        </p:tgtEl>
                                      </p:cBhvr>
                                    </p:animEffect>
                                  </p:childTnLst>
                                </p:cTn>
                              </p:par>
                              <p:par>
                                <p:cTn id="73" presetID="42" presetClass="path" presetSubtype="0" decel="100000" fill="hold" grpId="1" nodeType="withEffect">
                                  <p:stCondLst>
                                    <p:cond delay="300"/>
                                  </p:stCondLst>
                                  <p:childTnLst>
                                    <p:animMotion origin="layout" path="M 1.45833E-6 3.33333E-6 L 1.45833E-6 0.03541 " pathEditMode="relative" rAng="0" ptsTypes="AA">
                                      <p:cBhvr>
                                        <p:cTn id="74" dur="700" spd="-100000" fill="hold"/>
                                        <p:tgtEl>
                                          <p:spTgt spid="14"/>
                                        </p:tgtEl>
                                        <p:attrNameLst>
                                          <p:attrName>ppt_x</p:attrName>
                                          <p:attrName>ppt_y</p:attrName>
                                        </p:attrNameLst>
                                      </p:cBhvr>
                                      <p:rCtr x="0" y="1759"/>
                                    </p:animMotion>
                                  </p:childTnLst>
                                </p:cTn>
                              </p:par>
                              <p:par>
                                <p:cTn id="75" presetID="10" presetClass="entr" presetSubtype="0" fill="hold" grpId="0" nodeType="withEffect">
                                  <p:stCondLst>
                                    <p:cond delay="30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childTnLst>
                                </p:cTn>
                              </p:par>
                              <p:par>
                                <p:cTn id="78" presetID="42" presetClass="path" presetSubtype="0" decel="100000" fill="hold" grpId="1" nodeType="withEffect">
                                  <p:stCondLst>
                                    <p:cond delay="300"/>
                                  </p:stCondLst>
                                  <p:childTnLst>
                                    <p:animMotion origin="layout" path="M 1.45833E-6 -3.7037E-6 L 1.45833E-6 0.03542 " pathEditMode="relative" rAng="0" ptsTypes="AA">
                                      <p:cBhvr>
                                        <p:cTn id="79" dur="700" spd="-100000" fill="hold"/>
                                        <p:tgtEl>
                                          <p:spTgt spid="19"/>
                                        </p:tgtEl>
                                        <p:attrNameLst>
                                          <p:attrName>ppt_x</p:attrName>
                                          <p:attrName>ppt_y</p:attrName>
                                        </p:attrNameLst>
                                      </p:cBhvr>
                                      <p:rCtr x="0" y="1759"/>
                                    </p:animMotion>
                                  </p:childTnLst>
                                </p:cTn>
                              </p:par>
                              <p:par>
                                <p:cTn id="80" presetID="10" presetClass="entr" presetSubtype="0" fill="hold" grpId="0" nodeType="withEffect">
                                  <p:stCondLst>
                                    <p:cond delay="30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500"/>
                                        <p:tgtEl>
                                          <p:spTgt spid="39"/>
                                        </p:tgtEl>
                                      </p:cBhvr>
                                    </p:animEffect>
                                  </p:childTnLst>
                                </p:cTn>
                              </p:par>
                              <p:par>
                                <p:cTn id="83" presetID="42" presetClass="path" presetSubtype="0" decel="100000" fill="hold" grpId="1" nodeType="withEffect">
                                  <p:stCondLst>
                                    <p:cond delay="300"/>
                                  </p:stCondLst>
                                  <p:childTnLst>
                                    <p:animMotion origin="layout" path="M 1.45833E-6 -3.7037E-6 L 1.45833E-6 0.03542 " pathEditMode="relative" rAng="0" ptsTypes="AA">
                                      <p:cBhvr>
                                        <p:cTn id="84" dur="700" spd="-100000" fill="hold"/>
                                        <p:tgtEl>
                                          <p:spTgt spid="39"/>
                                        </p:tgtEl>
                                        <p:attrNameLst>
                                          <p:attrName>ppt_x</p:attrName>
                                          <p:attrName>ppt_y</p:attrName>
                                        </p:attrNameLst>
                                      </p:cBhvr>
                                      <p:rCtr x="0" y="1759"/>
                                    </p:animMotion>
                                  </p:childTnLst>
                                </p:cTn>
                              </p:par>
                              <p:par>
                                <p:cTn id="85" presetID="10" presetClass="entr" presetSubtype="0" fill="hold" grpId="0" nodeType="withEffect">
                                  <p:stCondLst>
                                    <p:cond delay="30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42" presetClass="path" presetSubtype="0" decel="100000" fill="hold" grpId="1" nodeType="withEffect">
                                  <p:stCondLst>
                                    <p:cond delay="300"/>
                                  </p:stCondLst>
                                  <p:childTnLst>
                                    <p:animMotion origin="layout" path="M 1.45833E-6 -2.59259E-6 L 1.45833E-6 0.03542 " pathEditMode="relative" rAng="0" ptsTypes="AA">
                                      <p:cBhvr>
                                        <p:cTn id="89" dur="700" spd="-100000" fill="hold"/>
                                        <p:tgtEl>
                                          <p:spTgt spid="40"/>
                                        </p:tgtEl>
                                        <p:attrNameLst>
                                          <p:attrName>ppt_x</p:attrName>
                                          <p:attrName>ppt_y</p:attrName>
                                        </p:attrNameLst>
                                      </p:cBhvr>
                                      <p:rCtr x="0" y="1759"/>
                                    </p:animMotion>
                                  </p:childTnLst>
                                </p:cTn>
                              </p:par>
                              <p:par>
                                <p:cTn id="90" presetID="10" presetClass="entr" presetSubtype="0" fill="hold" nodeType="withEffect">
                                  <p:stCondLst>
                                    <p:cond delay="300"/>
                                  </p:stCondLst>
                                  <p:childTnLst>
                                    <p:set>
                                      <p:cBhvr>
                                        <p:cTn id="91" dur="1" fill="hold">
                                          <p:stCondLst>
                                            <p:cond delay="0"/>
                                          </p:stCondLst>
                                        </p:cTn>
                                        <p:tgtEl>
                                          <p:spTgt spid="20"/>
                                        </p:tgtEl>
                                        <p:attrNameLst>
                                          <p:attrName>style.visibility</p:attrName>
                                        </p:attrNameLst>
                                      </p:cBhvr>
                                      <p:to>
                                        <p:strVal val="visible"/>
                                      </p:to>
                                    </p:set>
                                    <p:animEffect transition="in" filter="fade">
                                      <p:cBhvr>
                                        <p:cTn id="92" dur="500"/>
                                        <p:tgtEl>
                                          <p:spTgt spid="20"/>
                                        </p:tgtEl>
                                      </p:cBhvr>
                                    </p:animEffect>
                                  </p:childTnLst>
                                </p:cTn>
                              </p:par>
                              <p:par>
                                <p:cTn id="93" presetID="42" presetClass="path" presetSubtype="0" decel="100000" fill="hold" nodeType="withEffect">
                                  <p:stCondLst>
                                    <p:cond delay="300"/>
                                  </p:stCondLst>
                                  <p:childTnLst>
                                    <p:animMotion origin="layout" path="M 1.45833E-6 -3.7037E-7 L 1.45833E-6 0.03542 " pathEditMode="relative" rAng="0" ptsTypes="AA">
                                      <p:cBhvr>
                                        <p:cTn id="94" dur="700" spd="-100000" fill="hold"/>
                                        <p:tgtEl>
                                          <p:spTgt spid="20"/>
                                        </p:tgtEl>
                                        <p:attrNameLst>
                                          <p:attrName>ppt_x</p:attrName>
                                          <p:attrName>ppt_y</p:attrName>
                                        </p:attrNameLst>
                                      </p:cBhvr>
                                      <p:rCtr x="0" y="1759"/>
                                    </p:animMotion>
                                  </p:childTnLst>
                                </p:cTn>
                              </p:par>
                              <p:par>
                                <p:cTn id="95" presetID="10" presetClass="entr" presetSubtype="0" fill="hold" grpId="0" nodeType="withEffect">
                                  <p:stCondLst>
                                    <p:cond delay="3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500"/>
                                        <p:tgtEl>
                                          <p:spTgt spid="41"/>
                                        </p:tgtEl>
                                      </p:cBhvr>
                                    </p:animEffect>
                                  </p:childTnLst>
                                </p:cTn>
                              </p:par>
                              <p:par>
                                <p:cTn id="98" presetID="42" presetClass="path" presetSubtype="0" decel="100000" fill="hold" grpId="1" nodeType="withEffect">
                                  <p:stCondLst>
                                    <p:cond delay="300"/>
                                  </p:stCondLst>
                                  <p:childTnLst>
                                    <p:animMotion origin="layout" path="M 1.45833E-6 -4.44444E-6 L 1.45833E-6 0.03542 " pathEditMode="relative" rAng="0" ptsTypes="AA">
                                      <p:cBhvr>
                                        <p:cTn id="99" dur="700" spd="-100000" fill="hold"/>
                                        <p:tgtEl>
                                          <p:spTgt spid="41"/>
                                        </p:tgtEl>
                                        <p:attrNameLst>
                                          <p:attrName>ppt_x</p:attrName>
                                          <p:attrName>ppt_y</p:attrName>
                                        </p:attrNameLst>
                                      </p:cBhvr>
                                      <p:rCtr x="0" y="1759"/>
                                    </p:animMotion>
                                  </p:childTnLst>
                                </p:cTn>
                              </p:par>
                              <p:par>
                                <p:cTn id="100" presetID="10" presetClass="entr" presetSubtype="0" fill="hold" grpId="0" nodeType="withEffect">
                                  <p:stCondLst>
                                    <p:cond delay="400"/>
                                  </p:stCondLst>
                                  <p:childTnLst>
                                    <p:set>
                                      <p:cBhvr>
                                        <p:cTn id="101" dur="1" fill="hold">
                                          <p:stCondLst>
                                            <p:cond delay="0"/>
                                          </p:stCondLst>
                                        </p:cTn>
                                        <p:tgtEl>
                                          <p:spTgt spid="10"/>
                                        </p:tgtEl>
                                        <p:attrNameLst>
                                          <p:attrName>style.visibility</p:attrName>
                                        </p:attrNameLst>
                                      </p:cBhvr>
                                      <p:to>
                                        <p:strVal val="visible"/>
                                      </p:to>
                                    </p:set>
                                    <p:animEffect transition="in" filter="fade">
                                      <p:cBhvr>
                                        <p:cTn id="102" dur="500"/>
                                        <p:tgtEl>
                                          <p:spTgt spid="10"/>
                                        </p:tgtEl>
                                      </p:cBhvr>
                                    </p:animEffect>
                                  </p:childTnLst>
                                </p:cTn>
                              </p:par>
                              <p:par>
                                <p:cTn id="103" presetID="42" presetClass="path" presetSubtype="0" decel="100000" fill="hold" grpId="1" nodeType="withEffect">
                                  <p:stCondLst>
                                    <p:cond delay="400"/>
                                  </p:stCondLst>
                                  <p:childTnLst>
                                    <p:animMotion origin="layout" path="M 4.375E-6 3.33333E-6 L 4.375E-6 0.03541 " pathEditMode="relative" rAng="0" ptsTypes="AA">
                                      <p:cBhvr>
                                        <p:cTn id="104" dur="700" spd="-100000" fill="hold"/>
                                        <p:tgtEl>
                                          <p:spTgt spid="10"/>
                                        </p:tgtEl>
                                        <p:attrNameLst>
                                          <p:attrName>ppt_x</p:attrName>
                                          <p:attrName>ppt_y</p:attrName>
                                        </p:attrNameLst>
                                      </p:cBhvr>
                                      <p:rCtr x="0" y="1759"/>
                                    </p:animMotion>
                                  </p:childTnLst>
                                </p:cTn>
                              </p:par>
                              <p:par>
                                <p:cTn id="105" presetID="10" presetClass="entr" presetSubtype="0" fill="hold" grpId="0" nodeType="withEffect">
                                  <p:stCondLst>
                                    <p:cond delay="40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42" presetClass="path" presetSubtype="0" decel="100000" fill="hold" grpId="1" nodeType="withEffect">
                                  <p:stCondLst>
                                    <p:cond delay="400"/>
                                  </p:stCondLst>
                                  <p:childTnLst>
                                    <p:animMotion origin="layout" path="M 4.375E-6 -3.7037E-6 L 4.375E-6 0.03542 " pathEditMode="relative" rAng="0" ptsTypes="AA">
                                      <p:cBhvr>
                                        <p:cTn id="109" dur="700" spd="-100000" fill="hold"/>
                                        <p:tgtEl>
                                          <p:spTgt spid="21"/>
                                        </p:tgtEl>
                                        <p:attrNameLst>
                                          <p:attrName>ppt_x</p:attrName>
                                          <p:attrName>ppt_y</p:attrName>
                                        </p:attrNameLst>
                                      </p:cBhvr>
                                      <p:rCtr x="0" y="1759"/>
                                    </p:animMotion>
                                  </p:childTnLst>
                                </p:cTn>
                              </p:par>
                              <p:par>
                                <p:cTn id="110" presetID="10" presetClass="entr" presetSubtype="0" fill="hold" grpId="0" nodeType="withEffect">
                                  <p:stCondLst>
                                    <p:cond delay="400"/>
                                  </p:stCondLst>
                                  <p:childTnLst>
                                    <p:set>
                                      <p:cBhvr>
                                        <p:cTn id="111" dur="1" fill="hold">
                                          <p:stCondLst>
                                            <p:cond delay="0"/>
                                          </p:stCondLst>
                                        </p:cTn>
                                        <p:tgtEl>
                                          <p:spTgt spid="42"/>
                                        </p:tgtEl>
                                        <p:attrNameLst>
                                          <p:attrName>style.visibility</p:attrName>
                                        </p:attrNameLst>
                                      </p:cBhvr>
                                      <p:to>
                                        <p:strVal val="visible"/>
                                      </p:to>
                                    </p:set>
                                    <p:animEffect transition="in" filter="fade">
                                      <p:cBhvr>
                                        <p:cTn id="112" dur="500"/>
                                        <p:tgtEl>
                                          <p:spTgt spid="42"/>
                                        </p:tgtEl>
                                      </p:cBhvr>
                                    </p:animEffect>
                                  </p:childTnLst>
                                </p:cTn>
                              </p:par>
                              <p:par>
                                <p:cTn id="113" presetID="42" presetClass="path" presetSubtype="0" decel="100000" fill="hold" grpId="1" nodeType="withEffect">
                                  <p:stCondLst>
                                    <p:cond delay="400"/>
                                  </p:stCondLst>
                                  <p:childTnLst>
                                    <p:animMotion origin="layout" path="M 4.375E-6 -3.7037E-6 L 4.375E-6 0.03542 " pathEditMode="relative" rAng="0" ptsTypes="AA">
                                      <p:cBhvr>
                                        <p:cTn id="114" dur="700" spd="-100000" fill="hold"/>
                                        <p:tgtEl>
                                          <p:spTgt spid="42"/>
                                        </p:tgtEl>
                                        <p:attrNameLst>
                                          <p:attrName>ppt_x</p:attrName>
                                          <p:attrName>ppt_y</p:attrName>
                                        </p:attrNameLst>
                                      </p:cBhvr>
                                      <p:rCtr x="0" y="1759"/>
                                    </p:animMotion>
                                  </p:childTnLst>
                                </p:cTn>
                              </p:par>
                              <p:par>
                                <p:cTn id="115" presetID="10" presetClass="entr" presetSubtype="0" fill="hold" grpId="0" nodeType="withEffect">
                                  <p:stCondLst>
                                    <p:cond delay="400"/>
                                  </p:stCondLst>
                                  <p:childTnLst>
                                    <p:set>
                                      <p:cBhvr>
                                        <p:cTn id="116" dur="1" fill="hold">
                                          <p:stCondLst>
                                            <p:cond delay="0"/>
                                          </p:stCondLst>
                                        </p:cTn>
                                        <p:tgtEl>
                                          <p:spTgt spid="44"/>
                                        </p:tgtEl>
                                        <p:attrNameLst>
                                          <p:attrName>style.visibility</p:attrName>
                                        </p:attrNameLst>
                                      </p:cBhvr>
                                      <p:to>
                                        <p:strVal val="visible"/>
                                      </p:to>
                                    </p:set>
                                    <p:animEffect transition="in" filter="fade">
                                      <p:cBhvr>
                                        <p:cTn id="117" dur="500"/>
                                        <p:tgtEl>
                                          <p:spTgt spid="44"/>
                                        </p:tgtEl>
                                      </p:cBhvr>
                                    </p:animEffect>
                                  </p:childTnLst>
                                </p:cTn>
                              </p:par>
                              <p:par>
                                <p:cTn id="118" presetID="42" presetClass="path" presetSubtype="0" decel="100000" fill="hold" grpId="1" nodeType="withEffect">
                                  <p:stCondLst>
                                    <p:cond delay="400"/>
                                  </p:stCondLst>
                                  <p:childTnLst>
                                    <p:animMotion origin="layout" path="M 4.375E-6 -2.59259E-6 L 4.375E-6 0.03542 " pathEditMode="relative" rAng="0" ptsTypes="AA">
                                      <p:cBhvr>
                                        <p:cTn id="119" dur="700" spd="-100000" fill="hold"/>
                                        <p:tgtEl>
                                          <p:spTgt spid="44"/>
                                        </p:tgtEl>
                                        <p:attrNameLst>
                                          <p:attrName>ppt_x</p:attrName>
                                          <p:attrName>ppt_y</p:attrName>
                                        </p:attrNameLst>
                                      </p:cBhvr>
                                      <p:rCtr x="0" y="1759"/>
                                    </p:animMotion>
                                  </p:childTnLst>
                                </p:cTn>
                              </p:par>
                              <p:par>
                                <p:cTn id="120" presetID="10" presetClass="entr" presetSubtype="0" fill="hold" nodeType="withEffect">
                                  <p:stCondLst>
                                    <p:cond delay="400"/>
                                  </p:stCondLst>
                                  <p:childTnLst>
                                    <p:set>
                                      <p:cBhvr>
                                        <p:cTn id="121" dur="1" fill="hold">
                                          <p:stCondLst>
                                            <p:cond delay="0"/>
                                          </p:stCondLst>
                                        </p:cTn>
                                        <p:tgtEl>
                                          <p:spTgt spid="23"/>
                                        </p:tgtEl>
                                        <p:attrNameLst>
                                          <p:attrName>style.visibility</p:attrName>
                                        </p:attrNameLst>
                                      </p:cBhvr>
                                      <p:to>
                                        <p:strVal val="visible"/>
                                      </p:to>
                                    </p:set>
                                    <p:animEffect transition="in" filter="fade">
                                      <p:cBhvr>
                                        <p:cTn id="122" dur="500"/>
                                        <p:tgtEl>
                                          <p:spTgt spid="23"/>
                                        </p:tgtEl>
                                      </p:cBhvr>
                                    </p:animEffect>
                                  </p:childTnLst>
                                </p:cTn>
                              </p:par>
                              <p:par>
                                <p:cTn id="123" presetID="42" presetClass="path" presetSubtype="0" decel="100000" fill="hold" nodeType="withEffect">
                                  <p:stCondLst>
                                    <p:cond delay="400"/>
                                  </p:stCondLst>
                                  <p:childTnLst>
                                    <p:animMotion origin="layout" path="M 4.375E-6 -3.7037E-7 L 4.375E-6 0.03542 " pathEditMode="relative" rAng="0" ptsTypes="AA">
                                      <p:cBhvr>
                                        <p:cTn id="124" dur="700" spd="-100000" fill="hold"/>
                                        <p:tgtEl>
                                          <p:spTgt spid="23"/>
                                        </p:tgtEl>
                                        <p:attrNameLst>
                                          <p:attrName>ppt_x</p:attrName>
                                          <p:attrName>ppt_y</p:attrName>
                                        </p:attrNameLst>
                                      </p:cBhvr>
                                      <p:rCtr x="0" y="1759"/>
                                    </p:animMotion>
                                  </p:childTnLst>
                                </p:cTn>
                              </p:par>
                              <p:par>
                                <p:cTn id="125" presetID="10" presetClass="entr" presetSubtype="0" fill="hold" grpId="0" nodeType="withEffect">
                                  <p:stCondLst>
                                    <p:cond delay="400"/>
                                  </p:stCondLst>
                                  <p:childTnLst>
                                    <p:set>
                                      <p:cBhvr>
                                        <p:cTn id="126" dur="1" fill="hold">
                                          <p:stCondLst>
                                            <p:cond delay="0"/>
                                          </p:stCondLst>
                                        </p:cTn>
                                        <p:tgtEl>
                                          <p:spTgt spid="45"/>
                                        </p:tgtEl>
                                        <p:attrNameLst>
                                          <p:attrName>style.visibility</p:attrName>
                                        </p:attrNameLst>
                                      </p:cBhvr>
                                      <p:to>
                                        <p:strVal val="visible"/>
                                      </p:to>
                                    </p:set>
                                    <p:animEffect transition="in" filter="fade">
                                      <p:cBhvr>
                                        <p:cTn id="127" dur="500"/>
                                        <p:tgtEl>
                                          <p:spTgt spid="45"/>
                                        </p:tgtEl>
                                      </p:cBhvr>
                                    </p:animEffect>
                                  </p:childTnLst>
                                </p:cTn>
                              </p:par>
                              <p:par>
                                <p:cTn id="128" presetID="42" presetClass="path" presetSubtype="0" decel="100000" fill="hold" grpId="1" nodeType="withEffect">
                                  <p:stCondLst>
                                    <p:cond delay="400"/>
                                  </p:stCondLst>
                                  <p:childTnLst>
                                    <p:animMotion origin="layout" path="M 4.375E-6 -4.44444E-6 L 4.375E-6 0.03542 " pathEditMode="relative" rAng="0" ptsTypes="AA">
                                      <p:cBhvr>
                                        <p:cTn id="129" dur="700" spd="-100000" fill="hold"/>
                                        <p:tgtEl>
                                          <p:spTgt spid="4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10" grpId="0" animBg="1"/>
      <p:bldP spid="10" grpId="1" animBg="1"/>
      <p:bldP spid="11" grpId="0" animBg="1"/>
      <p:bldP spid="11" grpId="1" animBg="1"/>
      <p:bldP spid="14" grpId="0" animBg="1"/>
      <p:bldP spid="14" grpId="1" animBg="1"/>
      <p:bldP spid="15" grpId="0" animBg="1"/>
      <p:bldP spid="15" grpId="1" animBg="1"/>
      <p:bldP spid="17" grpId="0" animBg="1"/>
      <p:bldP spid="17" grpId="1" animBg="1"/>
      <p:bldP spid="19" grpId="0" animBg="1"/>
      <p:bldP spid="19" grpId="1" animBg="1"/>
      <p:bldP spid="21" grpId="0" animBg="1"/>
      <p:bldP spid="21" grpId="1" animBg="1"/>
      <p:bldP spid="24" grpId="0" animBg="1"/>
      <p:bldP spid="24" grpId="1" animBg="1"/>
      <p:bldP spid="28" grpId="0"/>
      <p:bldP spid="28" grpId="1"/>
      <p:bldP spid="30" grpId="0"/>
      <p:bldP spid="30" grpId="1"/>
      <p:bldP spid="32" grpId="0" animBg="1"/>
      <p:bldP spid="32" grpId="1" animBg="1"/>
      <p:bldP spid="37" grpId="0"/>
      <p:bldP spid="37" grpId="1"/>
      <p:bldP spid="38" grpId="0"/>
      <p:bldP spid="38" grpId="1"/>
      <p:bldP spid="39" grpId="0" animBg="1"/>
      <p:bldP spid="39" grpId="1" animBg="1"/>
      <p:bldP spid="40" grpId="0"/>
      <p:bldP spid="40" grpId="1"/>
      <p:bldP spid="41" grpId="0"/>
      <p:bldP spid="41" grpId="1"/>
      <p:bldP spid="42" grpId="0" animBg="1"/>
      <p:bldP spid="42" grpId="1" animBg="1"/>
      <p:bldP spid="44" grpId="0"/>
      <p:bldP spid="44" grpId="1"/>
      <p:bldP spid="45" grpId="0"/>
      <p:bldP spid="45" grpId="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2F2FA2C-8B66-7E84-A307-0C5B9B384A1F}"/>
            </a:ext>
          </a:extLst>
        </p:cNvPr>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1A6D9811-9BA8-B395-E284-3797DF93F931}"/>
              </a:ext>
              <a:ext uri="{C183D7F6-B498-43B3-948B-1728B52AA6E4}">
                <adec:decorative xmlns:adec="http://schemas.microsoft.com/office/drawing/2017/decorative" val="1"/>
              </a:ext>
            </a:extLst>
          </p:cNvPr>
          <p:cNvSpPr/>
          <p:nvPr/>
        </p:nvSpPr>
        <p:spPr bwMode="auto">
          <a:xfrm>
            <a:off x="588962" y="4604352"/>
            <a:ext cx="11017251" cy="1786288"/>
          </a:xfrm>
          <a:prstGeom prst="roundRect">
            <a:avLst>
              <a:gd name="adj" fmla="val 12821"/>
            </a:avLst>
          </a:prstGeom>
          <a:gradFill>
            <a:gsLst>
              <a:gs pos="100000">
                <a:schemeClr val="tx1">
                  <a:alpha val="0"/>
                </a:schemeClr>
              </a:gs>
              <a:gs pos="0">
                <a:schemeClr val="tx1">
                  <a:alpha val="70000"/>
                </a:schemeClr>
              </a:gs>
            </a:gsLst>
            <a:lin ang="0" scaled="1"/>
          </a:gra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Segoe UI Black" panose="020B0A02040204020203" pitchFamily="34" charset="0"/>
              <a:cs typeface="+mn-cs"/>
            </a:endParaRPr>
          </a:p>
        </p:txBody>
      </p:sp>
      <p:sp>
        <p:nvSpPr>
          <p:cNvPr id="35" name="Title 34">
            <a:extLst>
              <a:ext uri="{FF2B5EF4-FFF2-40B4-BE49-F238E27FC236}">
                <a16:creationId xmlns:a16="http://schemas.microsoft.com/office/drawing/2014/main" id="{4914C763-7262-AED3-744A-3783266E4808}"/>
              </a:ext>
            </a:extLst>
          </p:cNvPr>
          <p:cNvSpPr>
            <a:spLocks noGrp="1"/>
          </p:cNvSpPr>
          <p:nvPr>
            <p:ph type="title"/>
          </p:nvPr>
        </p:nvSpPr>
        <p:spPr/>
        <p:txBody>
          <a:bodyPr/>
          <a:lstStyle/>
          <a:p>
            <a:r>
              <a:rPr lang="en-US"/>
              <a:t>FY26 Becoming Frontier in E&amp;R</a:t>
            </a:r>
            <a:br>
              <a:rPr lang="en-US"/>
            </a:br>
            <a:r>
              <a:rPr lang="en-US" sz="2000" spc="0">
                <a:gradFill>
                  <a:gsLst>
                    <a:gs pos="0">
                      <a:srgbClr val="D59ED7"/>
                    </a:gs>
                    <a:gs pos="80000">
                      <a:srgbClr val="8DC8E8"/>
                    </a:gs>
                  </a:gsLst>
                  <a:path path="circle">
                    <a:fillToRect l="100000" t="100000"/>
                  </a:path>
                </a:gradFill>
                <a:sym typeface="Segoe UI"/>
              </a:rPr>
              <a:t>Energy &amp; Resources</a:t>
            </a:r>
            <a:endParaRPr lang="en-US" sz="2000" spc="0">
              <a:gradFill>
                <a:gsLst>
                  <a:gs pos="0">
                    <a:srgbClr val="D59ED7"/>
                  </a:gs>
                  <a:gs pos="80000">
                    <a:srgbClr val="8DC8E8"/>
                  </a:gs>
                </a:gsLst>
                <a:path path="circle">
                  <a:fillToRect l="100000" t="100000"/>
                </a:path>
              </a:gradFill>
            </a:endParaRPr>
          </a:p>
        </p:txBody>
      </p:sp>
      <p:sp>
        <p:nvSpPr>
          <p:cNvPr id="27" name="TextBox 26">
            <a:extLst>
              <a:ext uri="{FF2B5EF4-FFF2-40B4-BE49-F238E27FC236}">
                <a16:creationId xmlns:a16="http://schemas.microsoft.com/office/drawing/2014/main" id="{A2FC41AD-2A7B-F478-8C0E-B93F97E8A59E}"/>
              </a:ext>
            </a:extLst>
          </p:cNvPr>
          <p:cNvSpPr txBox="1"/>
          <p:nvPr/>
        </p:nvSpPr>
        <p:spPr>
          <a:xfrm>
            <a:off x="3867984" y="4451864"/>
            <a:ext cx="4456032" cy="320040"/>
          </a:xfrm>
          <a:prstGeom prst="roundRect">
            <a:avLst>
              <a:gd name="adj" fmla="val 50000"/>
            </a:avLst>
          </a:pr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DK"/>
            </a:defPPr>
            <a:lvl1pPr algn="ctr" defTabSz="932449" fontAlgn="base">
              <a:spcBef>
                <a:spcPts val="600"/>
              </a:spcBef>
              <a:spcAft>
                <a:spcPct val="0"/>
              </a:spcAft>
              <a:tabLst>
                <a:tab pos="914400" algn="l"/>
                <a:tab pos="457200" algn="l"/>
              </a:tabLst>
              <a:defRPr sz="1600" spc="-10">
                <a:ln w="3175">
                  <a:noFill/>
                </a:ln>
                <a:solidFill>
                  <a:schemeClr val="accent2"/>
                </a:solidFill>
                <a:latin typeface="+mj-lt"/>
                <a:ea typeface="+mj-ea"/>
                <a:cs typeface="+mj-cs"/>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Sans Display Semibold"/>
                <a:ea typeface="+mj-ea"/>
                <a:cs typeface="Segoe UI" pitchFamily="34" charset="0"/>
              </a:rPr>
              <a:t>FY26 Energy &amp; Resources Industry GTM</a:t>
            </a:r>
          </a:p>
        </p:txBody>
      </p:sp>
      <p:sp>
        <p:nvSpPr>
          <p:cNvPr id="18" name="TextBox 17">
            <a:extLst>
              <a:ext uri="{FF2B5EF4-FFF2-40B4-BE49-F238E27FC236}">
                <a16:creationId xmlns:a16="http://schemas.microsoft.com/office/drawing/2014/main" id="{3B7B01CA-A2BE-CECE-4729-340CA506D824}"/>
              </a:ext>
            </a:extLst>
          </p:cNvPr>
          <p:cNvSpPr txBox="1"/>
          <p:nvPr/>
        </p:nvSpPr>
        <p:spPr>
          <a:xfrm>
            <a:off x="792671" y="4930320"/>
            <a:ext cx="3130507" cy="1246380"/>
          </a:xfrm>
          <a:prstGeom prst="roundRect">
            <a:avLst>
              <a:gd name="adj" fmla="val 7876"/>
            </a:avLst>
          </a:prstGeom>
          <a:solidFill>
            <a:schemeClr val="tx1">
              <a:alpha val="40000"/>
            </a:schemeClr>
          </a:solidFill>
          <a:ln w="1270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91440" rIns="182828" bIns="146263" numCol="1" spcCol="0" rtlCol="0" fromWordArt="0" anchor="t" anchorCtr="0" forceAA="0" compatLnSpc="1">
            <a:prstTxWarp prst="textNoShape">
              <a:avLst/>
            </a:prstTxWarp>
            <a:noAutofit/>
          </a:bodyPr>
          <a:lstStyle>
            <a:defPPr>
              <a:defRPr lang="en-DK"/>
            </a:defPPr>
            <a:lvl1pPr algn="ctr" defTabSz="932114" fontAlgn="base">
              <a:spcBef>
                <a:spcPct val="0"/>
              </a:spcBef>
              <a:spcAft>
                <a:spcPct val="0"/>
              </a:spcAft>
              <a:defRPr sz="800">
                <a:solidFill>
                  <a:srgbClr val="FFFFFF"/>
                </a:solidFill>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400" b="0" i="0" u="none" strike="noStrike" kern="0" cap="none" spc="0" normalizeH="0" baseline="0" noProof="0">
                <a:ln>
                  <a:noFill/>
                </a:ln>
                <a:solidFill>
                  <a:srgbClr val="D59DFF"/>
                </a:solidFill>
                <a:effectLst/>
                <a:uLnTx/>
                <a:uFillTx/>
                <a:latin typeface="Segoe Sans Display Semibold"/>
                <a:ea typeface="+mn-ea"/>
                <a:cs typeface="Segoe UI Semibold" panose="020B0702040204020203" pitchFamily="34" charset="0"/>
                <a:sym typeface="Segoe UI"/>
              </a:rPr>
              <a:t>Energy Industry Narrative</a:t>
            </a:r>
          </a:p>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t>Energy &amp; Resources AI framework for addressing the current needs from customers and partners</a:t>
            </a:r>
            <a:endParaRPr kumimoji="0" lang="en-US" sz="1200" b="0" i="0" u="none" strike="noStrike" kern="0" cap="none" spc="0" normalizeH="0" baseline="0" noProof="0">
              <a:ln>
                <a:noFill/>
              </a:ln>
              <a:solidFill>
                <a:srgbClr val="FFFFFF"/>
              </a:solidFill>
              <a:effectLst/>
              <a:uLnTx/>
              <a:uFillTx/>
              <a:latin typeface="Segoe Sans Display"/>
              <a:ea typeface="+mn-ea"/>
              <a:cs typeface="Segoe UI"/>
            </a:endParaRPr>
          </a:p>
        </p:txBody>
      </p:sp>
      <p:sp>
        <p:nvSpPr>
          <p:cNvPr id="21" name="TextBox 20">
            <a:extLst>
              <a:ext uri="{FF2B5EF4-FFF2-40B4-BE49-F238E27FC236}">
                <a16:creationId xmlns:a16="http://schemas.microsoft.com/office/drawing/2014/main" id="{9E396C9D-09E6-BBAE-E5A8-5C2F3A7A29F8}"/>
              </a:ext>
            </a:extLst>
          </p:cNvPr>
          <p:cNvSpPr txBox="1"/>
          <p:nvPr/>
        </p:nvSpPr>
        <p:spPr>
          <a:xfrm>
            <a:off x="4434915" y="4930320"/>
            <a:ext cx="3340288" cy="1246380"/>
          </a:xfrm>
          <a:prstGeom prst="roundRect">
            <a:avLst>
              <a:gd name="adj" fmla="val 7876"/>
            </a:avLst>
          </a:prstGeom>
          <a:solidFill>
            <a:schemeClr val="tx1">
              <a:alpha val="40000"/>
            </a:schemeClr>
          </a:solidFill>
          <a:ln w="1270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91440" rIns="72000" bIns="146263" numCol="1" spcCol="0" rtlCol="0" fromWordArt="0" anchor="t" anchorCtr="0" forceAA="0" compatLnSpc="1">
            <a:prstTxWarp prst="textNoShape">
              <a:avLst/>
            </a:prstTxWarp>
            <a:noAutofit/>
          </a:bodyPr>
          <a:lstStyle>
            <a:defPPr>
              <a:defRPr lang="en-DK"/>
            </a:defPPr>
            <a:lvl1pPr algn="ctr" defTabSz="932114" fontAlgn="base">
              <a:spcBef>
                <a:spcPct val="0"/>
              </a:spcBef>
              <a:spcAft>
                <a:spcPct val="0"/>
              </a:spcAft>
              <a:defRPr sz="1400" b="1" kern="0">
                <a:solidFill>
                  <a:schemeClr val="tx1"/>
                </a:solidFill>
                <a:latin typeface="+mj-lt"/>
                <a:cs typeface="Segoe UI Semibold" panose="020B07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D59DFF"/>
                </a:solidFill>
                <a:effectLst/>
                <a:uLnTx/>
                <a:uFillTx/>
                <a:latin typeface="Segoe Sans Display Semibold"/>
                <a:ea typeface="+mn-ea"/>
                <a:cs typeface="Segoe UI Semibold" panose="020B0702040204020203" pitchFamily="34" charset="0"/>
                <a:sym typeface="Segoe UI"/>
              </a:rPr>
              <a:t>Energy Industry Growth Strategies</a:t>
            </a:r>
          </a:p>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t>GTM solution plays to help the Field</a:t>
            </a:r>
            <a:b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br>
            <a: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t>to engage Customers and Partners </a:t>
            </a:r>
            <a:endParaRPr kumimoji="0" lang="en-US" sz="1200" b="0" i="0" u="none" strike="noStrike" kern="0" cap="none" spc="0" normalizeH="0" baseline="0" noProof="0">
              <a:ln>
                <a:noFill/>
              </a:ln>
              <a:solidFill>
                <a:srgbClr val="FFFFFF"/>
              </a:solidFill>
              <a:effectLst/>
              <a:uLnTx/>
              <a:uFillTx/>
              <a:latin typeface="Segoe Sans Display"/>
              <a:ea typeface="+mn-ea"/>
              <a:cs typeface="Segoe UI"/>
            </a:endParaRPr>
          </a:p>
        </p:txBody>
      </p:sp>
      <p:sp>
        <p:nvSpPr>
          <p:cNvPr id="22" name="TextBox 21">
            <a:extLst>
              <a:ext uri="{FF2B5EF4-FFF2-40B4-BE49-F238E27FC236}">
                <a16:creationId xmlns:a16="http://schemas.microsoft.com/office/drawing/2014/main" id="{50F58C82-1CEA-E01A-52DD-2AE911165CF9}"/>
              </a:ext>
            </a:extLst>
          </p:cNvPr>
          <p:cNvSpPr txBox="1"/>
          <p:nvPr/>
        </p:nvSpPr>
        <p:spPr>
          <a:xfrm>
            <a:off x="8286941" y="4930833"/>
            <a:ext cx="3130507" cy="1245355"/>
          </a:xfrm>
          <a:prstGeom prst="roundRect">
            <a:avLst>
              <a:gd name="adj" fmla="val 7876"/>
            </a:avLst>
          </a:prstGeom>
          <a:solidFill>
            <a:schemeClr val="tx1">
              <a:alpha val="40000"/>
            </a:schemeClr>
          </a:solidFill>
          <a:ln w="1270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91440" rIns="72000" bIns="146263" numCol="1" spcCol="0" rtlCol="0" fromWordArt="0" anchor="t" anchorCtr="0" forceAA="0" compatLnSpc="1">
            <a:prstTxWarp prst="textNoShape">
              <a:avLst/>
            </a:prstTxWarp>
            <a:noAutofit/>
          </a:bodyPr>
          <a:lstStyle>
            <a:defPPr>
              <a:defRPr lang="en-DK"/>
            </a:defPPr>
            <a:lvl1pPr algn="ctr" defTabSz="932114" fontAlgn="base">
              <a:spcBef>
                <a:spcPct val="0"/>
              </a:spcBef>
              <a:spcAft>
                <a:spcPct val="0"/>
              </a:spcAft>
              <a:defRPr sz="1400" b="1" kern="0">
                <a:solidFill>
                  <a:schemeClr val="tx1"/>
                </a:solidFill>
                <a:latin typeface="+mj-lt"/>
                <a:cs typeface="Segoe UI Semibold" panose="020B07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D59DFF"/>
                </a:solidFill>
                <a:effectLst/>
                <a:uLnTx/>
                <a:uFillTx/>
                <a:latin typeface="Segoe Sans Display Semibold"/>
                <a:ea typeface="+mn-ea"/>
                <a:cs typeface="Segoe UI Semibold" panose="020B0702040204020203" pitchFamily="34" charset="0"/>
                <a:sym typeface="Segoe UI"/>
              </a:rPr>
              <a:t>Energy Industry Field Assets</a:t>
            </a:r>
          </a:p>
          <a:p>
            <a:pPr marL="0" marR="0" lvl="0" indent="0" algn="ctr" defTabSz="932114" rtl="0" eaLnBrk="1" fontAlgn="base" latinLnBrk="0" hangingPunct="1">
              <a:lnSpc>
                <a:spcPct val="100000"/>
              </a:lnSpc>
              <a:spcBef>
                <a:spcPts val="200"/>
              </a:spcBef>
              <a:spcAft>
                <a:spcPts val="2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t>Modularized grab-and-go/bite-size assets to empower Field teams advance the conversation with each persona/ </a:t>
            </a:r>
            <a:r>
              <a:rPr kumimoji="0" lang="en-US" sz="1200" b="0" i="0" u="none" strike="noStrike" kern="0" cap="none" spc="0" normalizeH="0" baseline="0" noProof="0" err="1">
                <a:ln>
                  <a:noFill/>
                </a:ln>
                <a:solidFill>
                  <a:srgbClr val="FFFFFF"/>
                </a:solidFill>
                <a:effectLst/>
                <a:uLnTx/>
                <a:uFillTx/>
                <a:latin typeface="Segoe Sans Display"/>
                <a:ea typeface="+mn-ea"/>
                <a:cs typeface="Segoe UI"/>
                <a:sym typeface="Segoe UI"/>
              </a:rPr>
              <a:t>LoB</a:t>
            </a:r>
            <a:r>
              <a:rPr kumimoji="0" lang="en-US" sz="1200" b="0" i="0" u="none" strike="noStrike" kern="0" cap="none" spc="0" normalizeH="0" baseline="0" noProof="0">
                <a:ln>
                  <a:noFill/>
                </a:ln>
                <a:solidFill>
                  <a:srgbClr val="FFFFFF"/>
                </a:solidFill>
                <a:effectLst/>
                <a:uLnTx/>
                <a:uFillTx/>
                <a:latin typeface="Segoe Sans Display"/>
                <a:ea typeface="+mn-ea"/>
                <a:cs typeface="Segoe UI"/>
                <a:sym typeface="Segoe UI"/>
              </a:rPr>
              <a:t> decision maker</a:t>
            </a:r>
            <a:endParaRPr kumimoji="0" lang="en-US" sz="1200" b="0" i="0" u="none" strike="noStrike" kern="0" cap="none" spc="0" normalizeH="0" baseline="0" noProof="0">
              <a:ln>
                <a:noFill/>
              </a:ln>
              <a:solidFill>
                <a:srgbClr val="FFFFFF"/>
              </a:solidFill>
              <a:effectLst/>
              <a:uLnTx/>
              <a:uFillTx/>
              <a:latin typeface="Segoe Sans Display"/>
              <a:ea typeface="+mn-ea"/>
              <a:cs typeface="Segoe UI"/>
            </a:endParaRPr>
          </a:p>
        </p:txBody>
      </p:sp>
      <p:sp>
        <p:nvSpPr>
          <p:cNvPr id="41" name="Oval 40">
            <a:extLst>
              <a:ext uri="{FF2B5EF4-FFF2-40B4-BE49-F238E27FC236}">
                <a16:creationId xmlns:a16="http://schemas.microsoft.com/office/drawing/2014/main" id="{73D71491-7188-BEE3-1647-D44AABED4465}"/>
              </a:ext>
            </a:extLst>
          </p:cNvPr>
          <p:cNvSpPr/>
          <p:nvPr/>
        </p:nvSpPr>
        <p:spPr bwMode="auto">
          <a:xfrm>
            <a:off x="4001446" y="5375910"/>
            <a:ext cx="355202" cy="355200"/>
          </a:xfrm>
          <a:prstGeom prst="ellipse">
            <a:avLst/>
          </a:prstGeom>
          <a:solidFill>
            <a:schemeClr val="tx2"/>
          </a:solidFill>
          <a:ln w="9525" cap="flat" cmpd="sng" algn="ctr">
            <a:noFill/>
            <a:prstDash val="solid"/>
            <a:headEnd type="none" w="med" len="med"/>
            <a:tailEnd type="none" w="med" len="med"/>
          </a:ln>
          <a:effectLst/>
        </p:spPr>
        <p:txBody>
          <a:bodyPr rot="0" spcFirstLastPara="0" vert="horz" wrap="square" lIns="173397" tIns="138718" rIns="173397" bIns="1387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420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sym typeface="Wingdings" panose="05000000000000000000" pitchFamily="2" charset="2"/>
              </a:rPr>
              <a:t></a:t>
            </a:r>
            <a:endParaRPr kumimoji="0" lang="en-US" sz="14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nvGrpSpPr>
          <p:cNvPr id="83" name="Group 82">
            <a:extLst>
              <a:ext uri="{FF2B5EF4-FFF2-40B4-BE49-F238E27FC236}">
                <a16:creationId xmlns:a16="http://schemas.microsoft.com/office/drawing/2014/main" id="{607923DD-F808-43DC-DE50-C967E4BF1CFF}"/>
              </a:ext>
            </a:extLst>
          </p:cNvPr>
          <p:cNvGrpSpPr/>
          <p:nvPr/>
        </p:nvGrpSpPr>
        <p:grpSpPr>
          <a:xfrm>
            <a:off x="588263" y="1525942"/>
            <a:ext cx="2628502" cy="2731097"/>
            <a:chOff x="588263" y="1525942"/>
            <a:chExt cx="2628502" cy="2731097"/>
          </a:xfrm>
        </p:grpSpPr>
        <p:sp>
          <p:nvSpPr>
            <p:cNvPr id="20" name="Rounded Rectangle 11">
              <a:extLst>
                <a:ext uri="{FF2B5EF4-FFF2-40B4-BE49-F238E27FC236}">
                  <a16:creationId xmlns:a16="http://schemas.microsoft.com/office/drawing/2014/main" id="{AEE7D208-DBF6-7E79-B105-7A10EEC5632B}"/>
                </a:ext>
              </a:extLst>
            </p:cNvPr>
            <p:cNvSpPr/>
            <p:nvPr/>
          </p:nvSpPr>
          <p:spPr bwMode="auto">
            <a:xfrm>
              <a:off x="588263" y="1525942"/>
              <a:ext cx="2628502" cy="2731097"/>
            </a:xfrm>
            <a:prstGeom prst="roundRect">
              <a:avLst>
                <a:gd name="adj" fmla="val 5300"/>
              </a:avLst>
            </a:prstGeom>
            <a:solidFill>
              <a:schemeClr val="tx1">
                <a:alpha val="10000"/>
              </a:schemeClr>
            </a:solidFill>
            <a:ln w="12700">
              <a:solidFill>
                <a:schemeClr val="bg1">
                  <a:alpha val="5000"/>
                </a:schemeClr>
              </a:solid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Black" panose="020B0A02040204020203" pitchFamily="34" charset="0"/>
                <a:cs typeface="+mn-cs"/>
              </a:endParaRPr>
            </a:p>
          </p:txBody>
        </p:sp>
        <p:sp>
          <p:nvSpPr>
            <p:cNvPr id="43" name="Rectangle: Rounded Corners 18">
              <a:extLst>
                <a:ext uri="{FF2B5EF4-FFF2-40B4-BE49-F238E27FC236}">
                  <a16:creationId xmlns:a16="http://schemas.microsoft.com/office/drawing/2014/main" id="{172CE5A0-5E32-24BA-56C6-B4EA30A03947}"/>
                </a:ext>
                <a:ext uri="{C183D7F6-B498-43B3-948B-1728B52AA6E4}">
                  <adec:decorative xmlns:adec="http://schemas.microsoft.com/office/drawing/2017/decorative" val="1"/>
                </a:ext>
              </a:extLst>
            </p:cNvPr>
            <p:cNvSpPr/>
            <p:nvPr/>
          </p:nvSpPr>
          <p:spPr bwMode="auto">
            <a:xfrm>
              <a:off x="679068" y="1637067"/>
              <a:ext cx="2406254" cy="628029"/>
            </a:xfrm>
            <a:prstGeom prst="roundRect">
              <a:avLst>
                <a:gd name="adj" fmla="val 8568"/>
              </a:avLst>
            </a:prstGeom>
            <a:no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5"/>
                </a:spcBef>
                <a:spcAft>
                  <a:spcPts val="0"/>
                </a:spcAft>
                <a:buClrTx/>
                <a:buSzTx/>
                <a:buFontTx/>
                <a:buNone/>
                <a:tabLst>
                  <a:tab pos="5665570" algn="l"/>
                </a:tabLst>
                <a:defRPr/>
              </a:pP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Enrich employee </a:t>
              </a:r>
              <a:b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b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experiences</a:t>
              </a:r>
            </a:p>
          </p:txBody>
        </p:sp>
        <p:grpSp>
          <p:nvGrpSpPr>
            <p:cNvPr id="51" name="Group 50">
              <a:extLst>
                <a:ext uri="{FF2B5EF4-FFF2-40B4-BE49-F238E27FC236}">
                  <a16:creationId xmlns:a16="http://schemas.microsoft.com/office/drawing/2014/main" id="{22B53B45-FBBB-5F99-C47E-AA4F44F65CEE}"/>
                </a:ext>
                <a:ext uri="{C183D7F6-B498-43B3-948B-1728B52AA6E4}">
                  <adec:decorative xmlns:adec="http://schemas.microsoft.com/office/drawing/2017/decorative" val="1"/>
                </a:ext>
              </a:extLst>
            </p:cNvPr>
            <p:cNvGrpSpPr/>
            <p:nvPr/>
          </p:nvGrpSpPr>
          <p:grpSpPr>
            <a:xfrm>
              <a:off x="2582213" y="1686045"/>
              <a:ext cx="523429" cy="530073"/>
              <a:chOff x="142812" y="139308"/>
              <a:chExt cx="301753" cy="305583"/>
            </a:xfrm>
          </p:grpSpPr>
          <p:sp>
            <p:nvSpPr>
              <p:cNvPr id="53" name="Rectangle: Rounded Corners 52">
                <a:extLst>
                  <a:ext uri="{FF2B5EF4-FFF2-40B4-BE49-F238E27FC236}">
                    <a16:creationId xmlns:a16="http://schemas.microsoft.com/office/drawing/2014/main" id="{7BDBFE0B-8AF3-89DB-7121-EA5A73FAA260}"/>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4" name="Oval 53">
                <a:extLst>
                  <a:ext uri="{FF2B5EF4-FFF2-40B4-BE49-F238E27FC236}">
                    <a16:creationId xmlns:a16="http://schemas.microsoft.com/office/drawing/2014/main" id="{448ACC7A-91E1-C686-1CEC-B7C0DBD3D33B}"/>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grpSp>
        <p:sp>
          <p:nvSpPr>
            <p:cNvPr id="70" name="TextBox 69">
              <a:extLst>
                <a:ext uri="{FF2B5EF4-FFF2-40B4-BE49-F238E27FC236}">
                  <a16:creationId xmlns:a16="http://schemas.microsoft.com/office/drawing/2014/main" id="{3FA0D56E-2BE7-03B3-1101-B526952AEE84}"/>
                </a:ext>
              </a:extLst>
            </p:cNvPr>
            <p:cNvSpPr txBox="1">
              <a:spLocks/>
            </p:cNvSpPr>
            <p:nvPr/>
          </p:nvSpPr>
          <p:spPr>
            <a:xfrm>
              <a:off x="679069" y="2261500"/>
              <a:ext cx="2287651" cy="1523494"/>
            </a:xfrm>
            <a:prstGeom prst="rect">
              <a:avLst/>
            </a:prstGeom>
            <a:noFill/>
          </p:spPr>
          <p:txBody>
            <a:bodyPr wrap="square" lIns="91440" tIns="45720" rIns="91440" bIns="45720" anchor="t">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AI copilots and agents for field workers summarizing work orders, generating inspection reports, and providing safety guidance in real time</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Improving training and upskilling to increase productivity and efficiency</a:t>
              </a:r>
            </a:p>
          </p:txBody>
        </p:sp>
        <p:sp>
          <p:nvSpPr>
            <p:cNvPr id="74" name="manager" title="Icon of three people with lines connecting them">
              <a:extLst>
                <a:ext uri="{FF2B5EF4-FFF2-40B4-BE49-F238E27FC236}">
                  <a16:creationId xmlns:a16="http://schemas.microsoft.com/office/drawing/2014/main" id="{2D838FDC-380D-F97F-42C3-4C4FD3879453}"/>
                </a:ext>
              </a:extLst>
            </p:cNvPr>
            <p:cNvSpPr>
              <a:spLocks noChangeAspect="1" noEditPoints="1"/>
            </p:cNvSpPr>
            <p:nvPr/>
          </p:nvSpPr>
          <p:spPr bwMode="auto">
            <a:xfrm>
              <a:off x="2732004" y="1838269"/>
              <a:ext cx="223847" cy="225624"/>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84" name="Group 83">
            <a:extLst>
              <a:ext uri="{FF2B5EF4-FFF2-40B4-BE49-F238E27FC236}">
                <a16:creationId xmlns:a16="http://schemas.microsoft.com/office/drawing/2014/main" id="{9AA0BCF0-6420-11A2-8A14-69A052814E6A}"/>
              </a:ext>
            </a:extLst>
          </p:cNvPr>
          <p:cNvGrpSpPr/>
          <p:nvPr/>
        </p:nvGrpSpPr>
        <p:grpSpPr>
          <a:xfrm>
            <a:off x="3384935" y="1525942"/>
            <a:ext cx="2628502" cy="2731097"/>
            <a:chOff x="3384935" y="1525942"/>
            <a:chExt cx="2628502" cy="2731097"/>
          </a:xfrm>
        </p:grpSpPr>
        <p:sp>
          <p:nvSpPr>
            <p:cNvPr id="25" name="Rounded Rectangle 11">
              <a:extLst>
                <a:ext uri="{FF2B5EF4-FFF2-40B4-BE49-F238E27FC236}">
                  <a16:creationId xmlns:a16="http://schemas.microsoft.com/office/drawing/2014/main" id="{70348CC5-8D89-413D-1524-EF99C6BBD269}"/>
                </a:ext>
              </a:extLst>
            </p:cNvPr>
            <p:cNvSpPr/>
            <p:nvPr/>
          </p:nvSpPr>
          <p:spPr bwMode="auto">
            <a:xfrm>
              <a:off x="3384935" y="1525942"/>
              <a:ext cx="2628502" cy="2731097"/>
            </a:xfrm>
            <a:prstGeom prst="roundRect">
              <a:avLst>
                <a:gd name="adj" fmla="val 5300"/>
              </a:avLst>
            </a:prstGeom>
            <a:solidFill>
              <a:schemeClr val="tx1">
                <a:alpha val="10000"/>
              </a:schemeClr>
            </a:solidFill>
            <a:ln w="12700">
              <a:solidFill>
                <a:schemeClr val="bg1">
                  <a:alpha val="5000"/>
                </a:schemeClr>
              </a:solid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Black" panose="020B0A02040204020203" pitchFamily="34" charset="0"/>
                <a:cs typeface="+mn-cs"/>
              </a:endParaRPr>
            </a:p>
          </p:txBody>
        </p:sp>
        <p:sp>
          <p:nvSpPr>
            <p:cNvPr id="10" name="Rectangle: Rounded Corners 18">
              <a:extLst>
                <a:ext uri="{FF2B5EF4-FFF2-40B4-BE49-F238E27FC236}">
                  <a16:creationId xmlns:a16="http://schemas.microsoft.com/office/drawing/2014/main" id="{AEE910D1-FCAC-CCC0-BD32-7300CD8E3FD4}"/>
                </a:ext>
                <a:ext uri="{C183D7F6-B498-43B3-948B-1728B52AA6E4}">
                  <adec:decorative xmlns:adec="http://schemas.microsoft.com/office/drawing/2017/decorative" val="1"/>
                </a:ext>
              </a:extLst>
            </p:cNvPr>
            <p:cNvSpPr/>
            <p:nvPr/>
          </p:nvSpPr>
          <p:spPr bwMode="auto">
            <a:xfrm>
              <a:off x="3475740" y="1637067"/>
              <a:ext cx="2406254" cy="628029"/>
            </a:xfrm>
            <a:prstGeom prst="roundRect">
              <a:avLst>
                <a:gd name="adj" fmla="val 8591"/>
              </a:avLst>
            </a:prstGeom>
            <a:no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5"/>
                </a:spcBef>
                <a:spcAft>
                  <a:spcPts val="0"/>
                </a:spcAft>
                <a:buClrTx/>
                <a:buSzTx/>
                <a:buFontTx/>
                <a:buNone/>
                <a:tabLst>
                  <a:tab pos="5665570" algn="l"/>
                </a:tabLst>
                <a:defRPr/>
              </a:pP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Reinvent customer engagement</a:t>
              </a:r>
            </a:p>
          </p:txBody>
        </p:sp>
        <p:grpSp>
          <p:nvGrpSpPr>
            <p:cNvPr id="61" name="Group 60">
              <a:extLst>
                <a:ext uri="{FF2B5EF4-FFF2-40B4-BE49-F238E27FC236}">
                  <a16:creationId xmlns:a16="http://schemas.microsoft.com/office/drawing/2014/main" id="{08142CD2-2380-7992-3955-3F3BA81F72A0}"/>
                </a:ext>
                <a:ext uri="{C183D7F6-B498-43B3-948B-1728B52AA6E4}">
                  <adec:decorative xmlns:adec="http://schemas.microsoft.com/office/drawing/2017/decorative" val="1"/>
                </a:ext>
              </a:extLst>
            </p:cNvPr>
            <p:cNvGrpSpPr/>
            <p:nvPr/>
          </p:nvGrpSpPr>
          <p:grpSpPr>
            <a:xfrm>
              <a:off x="5378885" y="1686045"/>
              <a:ext cx="523429" cy="530073"/>
              <a:chOff x="142812" y="139308"/>
              <a:chExt cx="301753" cy="305583"/>
            </a:xfrm>
          </p:grpSpPr>
          <p:sp>
            <p:nvSpPr>
              <p:cNvPr id="62" name="Rectangle: Rounded Corners 61">
                <a:extLst>
                  <a:ext uri="{FF2B5EF4-FFF2-40B4-BE49-F238E27FC236}">
                    <a16:creationId xmlns:a16="http://schemas.microsoft.com/office/drawing/2014/main" id="{F885C3D2-7144-6A99-043D-A3D94A74B7B4}"/>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63" name="Oval 62">
                <a:extLst>
                  <a:ext uri="{FF2B5EF4-FFF2-40B4-BE49-F238E27FC236}">
                    <a16:creationId xmlns:a16="http://schemas.microsoft.com/office/drawing/2014/main" id="{5CE0EA44-53FD-86AA-EC17-F79DBF978D0C}"/>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grpSp>
        <p:sp>
          <p:nvSpPr>
            <p:cNvPr id="71" name="TextBox 70">
              <a:extLst>
                <a:ext uri="{FF2B5EF4-FFF2-40B4-BE49-F238E27FC236}">
                  <a16:creationId xmlns:a16="http://schemas.microsoft.com/office/drawing/2014/main" id="{300D2C4D-32CD-9071-27B7-B8A75CCE1407}"/>
                </a:ext>
              </a:extLst>
            </p:cNvPr>
            <p:cNvSpPr txBox="1">
              <a:spLocks/>
            </p:cNvSpPr>
            <p:nvPr/>
          </p:nvSpPr>
          <p:spPr>
            <a:xfrm>
              <a:off x="3475740" y="2261500"/>
              <a:ext cx="2506621" cy="1938992"/>
            </a:xfrm>
            <a:prstGeom prst="rect">
              <a:avLst/>
            </a:prstGeom>
            <a:noFill/>
          </p:spPr>
          <p:txBody>
            <a:bodyPr wrap="square" lIns="91440" tIns="45720" rIns="91440" bIns="45720" anchor="t">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Reducing case volumes, improving response times, and enhancing </a:t>
              </a:r>
              <a:br>
                <a:rPr kumimoji="0" lang="en-US" sz="1100" b="0" i="0" u="none" strike="noStrike" kern="1200" cap="none" spc="0" normalizeH="0" baseline="0" noProof="0">
                  <a:ln>
                    <a:noFill/>
                  </a:ln>
                  <a:solidFill>
                    <a:srgbClr val="FFFFFF"/>
                  </a:solidFill>
                  <a:effectLst/>
                  <a:uLnTx/>
                  <a:uFillTx/>
                  <a:latin typeface="Segoe Sans Display"/>
                  <a:ea typeface="+mn-ea"/>
                  <a:cs typeface="+mn-cs"/>
                </a:rPr>
              </a:br>
              <a:r>
                <a:rPr kumimoji="0" lang="en-US" sz="1100" b="0" i="0" u="none" strike="noStrike" kern="1200" cap="none" spc="0" normalizeH="0" baseline="0" noProof="0">
                  <a:ln>
                    <a:noFill/>
                  </a:ln>
                  <a:solidFill>
                    <a:srgbClr val="FFFFFF"/>
                  </a:solidFill>
                  <a:effectLst/>
                  <a:uLnTx/>
                  <a:uFillTx/>
                  <a:latin typeface="Segoe Sans Display"/>
                  <a:ea typeface="+mn-ea"/>
                  <a:cs typeface="+mn-cs"/>
                </a:rPr>
                <a:t>service consistency</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Autonomous agents handling inquiries, complex issues, and delivering personalized, real-time updat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Forecasting market trends and demand to better plan and serve customers</a:t>
              </a:r>
            </a:p>
          </p:txBody>
        </p:sp>
        <p:sp>
          <p:nvSpPr>
            <p:cNvPr id="75" name="Freeform: Shape 74">
              <a:extLst>
                <a:ext uri="{FF2B5EF4-FFF2-40B4-BE49-F238E27FC236}">
                  <a16:creationId xmlns:a16="http://schemas.microsoft.com/office/drawing/2014/main" id="{51257156-E844-2C2A-A866-39CB064055B5}"/>
                </a:ext>
              </a:extLst>
            </p:cNvPr>
            <p:cNvSpPr/>
            <p:nvPr/>
          </p:nvSpPr>
          <p:spPr>
            <a:xfrm>
              <a:off x="5520822" y="1828407"/>
              <a:ext cx="239554" cy="245349"/>
            </a:xfrm>
            <a:custGeom>
              <a:avLst/>
              <a:gdLst>
                <a:gd name="connsiteX0" fmla="*/ 350376 w 475693"/>
                <a:gd name="connsiteY0" fmla="*/ 393854 h 487202"/>
                <a:gd name="connsiteX1" fmla="*/ 441168 w 475693"/>
                <a:gd name="connsiteY1" fmla="*/ 432216 h 487202"/>
                <a:gd name="connsiteX2" fmla="*/ 402805 w 475693"/>
                <a:gd name="connsiteY2" fmla="*/ 341425 h 487202"/>
                <a:gd name="connsiteX3" fmla="*/ 350376 w 475693"/>
                <a:gd name="connsiteY3" fmla="*/ 393854 h 487202"/>
                <a:gd name="connsiteX4" fmla="*/ 350376 w 475693"/>
                <a:gd name="connsiteY4" fmla="*/ 393854 h 487202"/>
                <a:gd name="connsiteX5" fmla="*/ 370836 w 475693"/>
                <a:gd name="connsiteY5" fmla="*/ 319687 h 487202"/>
                <a:gd name="connsiteX6" fmla="*/ 381066 w 475693"/>
                <a:gd name="connsiteY6" fmla="*/ 345262 h 487202"/>
                <a:gd name="connsiteX7" fmla="*/ 327359 w 475693"/>
                <a:gd name="connsiteY7" fmla="*/ 363164 h 487202"/>
                <a:gd name="connsiteX8" fmla="*/ 352934 w 475693"/>
                <a:gd name="connsiteY8" fmla="*/ 373394 h 487202"/>
                <a:gd name="connsiteX9" fmla="*/ 354213 w 475693"/>
                <a:gd name="connsiteY9" fmla="*/ 414314 h 487202"/>
                <a:gd name="connsiteX10" fmla="*/ 328638 w 475693"/>
                <a:gd name="connsiteY10" fmla="*/ 424544 h 487202"/>
                <a:gd name="connsiteX11" fmla="*/ 370836 w 475693"/>
                <a:gd name="connsiteY11" fmla="*/ 468021 h 487202"/>
                <a:gd name="connsiteX12" fmla="*/ 381066 w 475693"/>
                <a:gd name="connsiteY12" fmla="*/ 442446 h 487202"/>
                <a:gd name="connsiteX13" fmla="*/ 421986 w 475693"/>
                <a:gd name="connsiteY13" fmla="*/ 442446 h 487202"/>
                <a:gd name="connsiteX14" fmla="*/ 432216 w 475693"/>
                <a:gd name="connsiteY14" fmla="*/ 468021 h 487202"/>
                <a:gd name="connsiteX15" fmla="*/ 450119 w 475693"/>
                <a:gd name="connsiteY15" fmla="*/ 414314 h 487202"/>
                <a:gd name="connsiteX16" fmla="*/ 475694 w 475693"/>
                <a:gd name="connsiteY16" fmla="*/ 424544 h 487202"/>
                <a:gd name="connsiteX17" fmla="*/ 450119 w 475693"/>
                <a:gd name="connsiteY17" fmla="*/ 373394 h 487202"/>
                <a:gd name="connsiteX18" fmla="*/ 475694 w 475693"/>
                <a:gd name="connsiteY18" fmla="*/ 363164 h 487202"/>
                <a:gd name="connsiteX19" fmla="*/ 421986 w 475693"/>
                <a:gd name="connsiteY19" fmla="*/ 345262 h 487202"/>
                <a:gd name="connsiteX20" fmla="*/ 432216 w 475693"/>
                <a:gd name="connsiteY20" fmla="*/ 319687 h 487202"/>
                <a:gd name="connsiteX21" fmla="*/ 214829 w 475693"/>
                <a:gd name="connsiteY21" fmla="*/ 191812 h 487202"/>
                <a:gd name="connsiteX22" fmla="*/ 150892 w 475693"/>
                <a:gd name="connsiteY22" fmla="*/ 244240 h 487202"/>
                <a:gd name="connsiteX23" fmla="*/ 227617 w 475693"/>
                <a:gd name="connsiteY23" fmla="*/ 352934 h 487202"/>
                <a:gd name="connsiteX24" fmla="*/ 309457 w 475693"/>
                <a:gd name="connsiteY24" fmla="*/ 272373 h 487202"/>
                <a:gd name="connsiteX25" fmla="*/ 214829 w 475693"/>
                <a:gd name="connsiteY25" fmla="*/ 191812 h 487202"/>
                <a:gd name="connsiteX26" fmla="*/ 296669 w 475693"/>
                <a:gd name="connsiteY26" fmla="*/ 374673 h 487202"/>
                <a:gd name="connsiteX27" fmla="*/ 227617 w 475693"/>
                <a:gd name="connsiteY27" fmla="*/ 354213 h 487202"/>
                <a:gd name="connsiteX28" fmla="*/ 226338 w 475693"/>
                <a:gd name="connsiteY28" fmla="*/ 354213 h 487202"/>
                <a:gd name="connsiteX29" fmla="*/ 124038 w 475693"/>
                <a:gd name="connsiteY29" fmla="*/ 404084 h 487202"/>
                <a:gd name="connsiteX30" fmla="*/ 94627 w 475693"/>
                <a:gd name="connsiteY30" fmla="*/ 487202 h 487202"/>
                <a:gd name="connsiteX31" fmla="*/ 296669 w 475693"/>
                <a:gd name="connsiteY31" fmla="*/ 374673 h 487202"/>
                <a:gd name="connsiteX32" fmla="*/ 227617 w 475693"/>
                <a:gd name="connsiteY32" fmla="*/ 354213 h 487202"/>
                <a:gd name="connsiteX33" fmla="*/ 226338 w 475693"/>
                <a:gd name="connsiteY33" fmla="*/ 354213 h 487202"/>
                <a:gd name="connsiteX34" fmla="*/ 124038 w 475693"/>
                <a:gd name="connsiteY34" fmla="*/ 404084 h 487202"/>
                <a:gd name="connsiteX35" fmla="*/ 74167 w 475693"/>
                <a:gd name="connsiteY35" fmla="*/ 374673 h 487202"/>
                <a:gd name="connsiteX36" fmla="*/ 80561 w 475693"/>
                <a:gd name="connsiteY36" fmla="*/ 354213 h 487202"/>
                <a:gd name="connsiteX37" fmla="*/ 42199 w 475693"/>
                <a:gd name="connsiteY37" fmla="*/ 314572 h 487202"/>
                <a:gd name="connsiteX38" fmla="*/ 42199 w 475693"/>
                <a:gd name="connsiteY38" fmla="*/ 184139 h 487202"/>
                <a:gd name="connsiteX39" fmla="*/ 80561 w 475693"/>
                <a:gd name="connsiteY39" fmla="*/ 144498 h 487202"/>
                <a:gd name="connsiteX40" fmla="*/ 74167 w 475693"/>
                <a:gd name="connsiteY40" fmla="*/ 122760 h 487202"/>
                <a:gd name="connsiteX41" fmla="*/ 191812 w 475693"/>
                <a:gd name="connsiteY41" fmla="*/ 54986 h 487202"/>
                <a:gd name="connsiteX42" fmla="*/ 228896 w 475693"/>
                <a:gd name="connsiteY42" fmla="*/ 79282 h 487202"/>
                <a:gd name="connsiteX43" fmla="*/ 264700 w 475693"/>
                <a:gd name="connsiteY43" fmla="*/ 56265 h 487202"/>
                <a:gd name="connsiteX44" fmla="*/ 378509 w 475693"/>
                <a:gd name="connsiteY44" fmla="*/ 122760 h 487202"/>
                <a:gd name="connsiteX45" fmla="*/ 372115 w 475693"/>
                <a:gd name="connsiteY45" fmla="*/ 144498 h 487202"/>
                <a:gd name="connsiteX46" fmla="*/ 411756 w 475693"/>
                <a:gd name="connsiteY46" fmla="*/ 184139 h 487202"/>
                <a:gd name="connsiteX47" fmla="*/ 411756 w 475693"/>
                <a:gd name="connsiteY47" fmla="*/ 294112 h 487202"/>
                <a:gd name="connsiteX48" fmla="*/ 268537 w 475693"/>
                <a:gd name="connsiteY48" fmla="*/ 39641 h 487202"/>
                <a:gd name="connsiteX49" fmla="*/ 264700 w 475693"/>
                <a:gd name="connsiteY49" fmla="*/ 56265 h 487202"/>
                <a:gd name="connsiteX50" fmla="*/ 228896 w 475693"/>
                <a:gd name="connsiteY50" fmla="*/ 79282 h 487202"/>
                <a:gd name="connsiteX51" fmla="*/ 191812 w 475693"/>
                <a:gd name="connsiteY51" fmla="*/ 54986 h 487202"/>
                <a:gd name="connsiteX52" fmla="*/ 189255 w 475693"/>
                <a:gd name="connsiteY52" fmla="*/ 39641 h 487202"/>
                <a:gd name="connsiteX53" fmla="*/ 228896 w 475693"/>
                <a:gd name="connsiteY53" fmla="*/ 0 h 487202"/>
                <a:gd name="connsiteX54" fmla="*/ 268537 w 475693"/>
                <a:gd name="connsiteY54" fmla="*/ 39641 h 487202"/>
                <a:gd name="connsiteX55" fmla="*/ 452676 w 475693"/>
                <a:gd name="connsiteY55" fmla="*/ 144498 h 487202"/>
                <a:gd name="connsiteX56" fmla="*/ 413035 w 475693"/>
                <a:gd name="connsiteY56" fmla="*/ 184139 h 487202"/>
                <a:gd name="connsiteX57" fmla="*/ 373394 w 475693"/>
                <a:gd name="connsiteY57" fmla="*/ 144498 h 487202"/>
                <a:gd name="connsiteX58" fmla="*/ 379788 w 475693"/>
                <a:gd name="connsiteY58" fmla="*/ 122760 h 487202"/>
                <a:gd name="connsiteX59" fmla="*/ 413035 w 475693"/>
                <a:gd name="connsiteY59" fmla="*/ 104857 h 487202"/>
                <a:gd name="connsiteX60" fmla="*/ 452676 w 475693"/>
                <a:gd name="connsiteY60" fmla="*/ 144498 h 487202"/>
                <a:gd name="connsiteX61" fmla="*/ 80561 w 475693"/>
                <a:gd name="connsiteY61" fmla="*/ 144498 h 487202"/>
                <a:gd name="connsiteX62" fmla="*/ 42199 w 475693"/>
                <a:gd name="connsiteY62" fmla="*/ 184139 h 487202"/>
                <a:gd name="connsiteX63" fmla="*/ 40920 w 475693"/>
                <a:gd name="connsiteY63" fmla="*/ 184139 h 487202"/>
                <a:gd name="connsiteX64" fmla="*/ 1279 w 475693"/>
                <a:gd name="connsiteY64" fmla="*/ 144498 h 487202"/>
                <a:gd name="connsiteX65" fmla="*/ 40920 w 475693"/>
                <a:gd name="connsiteY65" fmla="*/ 104857 h 487202"/>
                <a:gd name="connsiteX66" fmla="*/ 75446 w 475693"/>
                <a:gd name="connsiteY66" fmla="*/ 124038 h 487202"/>
                <a:gd name="connsiteX67" fmla="*/ 80561 w 475693"/>
                <a:gd name="connsiteY67" fmla="*/ 144498 h 487202"/>
                <a:gd name="connsiteX68" fmla="*/ 80561 w 475693"/>
                <a:gd name="connsiteY68" fmla="*/ 354213 h 487202"/>
                <a:gd name="connsiteX69" fmla="*/ 74167 w 475693"/>
                <a:gd name="connsiteY69" fmla="*/ 374673 h 487202"/>
                <a:gd name="connsiteX70" fmla="*/ 39641 w 475693"/>
                <a:gd name="connsiteY70" fmla="*/ 393854 h 487202"/>
                <a:gd name="connsiteX71" fmla="*/ 0 w 475693"/>
                <a:gd name="connsiteY71" fmla="*/ 354213 h 487202"/>
                <a:gd name="connsiteX72" fmla="*/ 39641 w 475693"/>
                <a:gd name="connsiteY72" fmla="*/ 314572 h 487202"/>
                <a:gd name="connsiteX73" fmla="*/ 40920 w 475693"/>
                <a:gd name="connsiteY73" fmla="*/ 314572 h 487202"/>
                <a:gd name="connsiteX74" fmla="*/ 80561 w 475693"/>
                <a:gd name="connsiteY74" fmla="*/ 354213 h 48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75693" h="487202">
                  <a:moveTo>
                    <a:pt x="350376" y="393854"/>
                  </a:moveTo>
                  <a:cubicBezTo>
                    <a:pt x="350376" y="434774"/>
                    <a:pt x="397690" y="464185"/>
                    <a:pt x="441168" y="432216"/>
                  </a:cubicBezTo>
                  <a:cubicBezTo>
                    <a:pt x="474415" y="388739"/>
                    <a:pt x="443725" y="341425"/>
                    <a:pt x="402805" y="341425"/>
                  </a:cubicBezTo>
                  <a:cubicBezTo>
                    <a:pt x="373394" y="341425"/>
                    <a:pt x="350376" y="364443"/>
                    <a:pt x="350376" y="393854"/>
                  </a:cubicBezTo>
                  <a:lnTo>
                    <a:pt x="350376" y="393854"/>
                  </a:lnTo>
                  <a:close/>
                  <a:moveTo>
                    <a:pt x="370836" y="319687"/>
                  </a:moveTo>
                  <a:cubicBezTo>
                    <a:pt x="381066" y="345262"/>
                    <a:pt x="381066" y="345262"/>
                    <a:pt x="381066" y="345262"/>
                  </a:cubicBezTo>
                  <a:moveTo>
                    <a:pt x="327359" y="363164"/>
                  </a:moveTo>
                  <a:cubicBezTo>
                    <a:pt x="327359" y="363164"/>
                    <a:pt x="327359" y="363164"/>
                    <a:pt x="352934" y="373394"/>
                  </a:cubicBezTo>
                  <a:moveTo>
                    <a:pt x="354213" y="414314"/>
                  </a:moveTo>
                  <a:cubicBezTo>
                    <a:pt x="328638" y="424544"/>
                    <a:pt x="328638" y="424544"/>
                    <a:pt x="328638" y="424544"/>
                  </a:cubicBezTo>
                  <a:moveTo>
                    <a:pt x="370836" y="468021"/>
                  </a:moveTo>
                  <a:cubicBezTo>
                    <a:pt x="370836" y="468021"/>
                    <a:pt x="370836" y="468021"/>
                    <a:pt x="381066" y="442446"/>
                  </a:cubicBezTo>
                  <a:moveTo>
                    <a:pt x="421986" y="442446"/>
                  </a:moveTo>
                  <a:cubicBezTo>
                    <a:pt x="432216" y="468021"/>
                    <a:pt x="432216" y="468021"/>
                    <a:pt x="432216" y="468021"/>
                  </a:cubicBezTo>
                  <a:moveTo>
                    <a:pt x="450119" y="414314"/>
                  </a:moveTo>
                  <a:cubicBezTo>
                    <a:pt x="475694" y="424544"/>
                    <a:pt x="475694" y="424544"/>
                    <a:pt x="475694" y="424544"/>
                  </a:cubicBezTo>
                  <a:moveTo>
                    <a:pt x="450119" y="373394"/>
                  </a:moveTo>
                  <a:cubicBezTo>
                    <a:pt x="475694" y="363164"/>
                    <a:pt x="475694" y="363164"/>
                    <a:pt x="475694" y="363164"/>
                  </a:cubicBezTo>
                  <a:moveTo>
                    <a:pt x="421986" y="345262"/>
                  </a:moveTo>
                  <a:cubicBezTo>
                    <a:pt x="432216" y="319687"/>
                    <a:pt x="432216" y="319687"/>
                    <a:pt x="432216" y="319687"/>
                  </a:cubicBezTo>
                  <a:moveTo>
                    <a:pt x="214829" y="191812"/>
                  </a:moveTo>
                  <a:cubicBezTo>
                    <a:pt x="185418" y="195648"/>
                    <a:pt x="161122" y="216108"/>
                    <a:pt x="150892" y="244240"/>
                  </a:cubicBezTo>
                  <a:cubicBezTo>
                    <a:pt x="130432" y="299227"/>
                    <a:pt x="172631" y="352934"/>
                    <a:pt x="227617" y="352934"/>
                  </a:cubicBezTo>
                  <a:cubicBezTo>
                    <a:pt x="272373" y="352934"/>
                    <a:pt x="309457" y="315850"/>
                    <a:pt x="309457" y="272373"/>
                  </a:cubicBezTo>
                  <a:cubicBezTo>
                    <a:pt x="310735" y="223781"/>
                    <a:pt x="265979" y="184139"/>
                    <a:pt x="214829" y="191812"/>
                  </a:cubicBezTo>
                  <a:close/>
                  <a:moveTo>
                    <a:pt x="296669" y="374673"/>
                  </a:moveTo>
                  <a:cubicBezTo>
                    <a:pt x="277488" y="361885"/>
                    <a:pt x="253192" y="354213"/>
                    <a:pt x="227617" y="354213"/>
                  </a:cubicBezTo>
                  <a:lnTo>
                    <a:pt x="226338" y="354213"/>
                  </a:lnTo>
                  <a:cubicBezTo>
                    <a:pt x="185418" y="354213"/>
                    <a:pt x="148334" y="373394"/>
                    <a:pt x="124038" y="404084"/>
                  </a:cubicBezTo>
                  <a:cubicBezTo>
                    <a:pt x="106136" y="427101"/>
                    <a:pt x="94627" y="456512"/>
                    <a:pt x="94627" y="487202"/>
                  </a:cubicBezTo>
                  <a:moveTo>
                    <a:pt x="296669" y="374673"/>
                  </a:moveTo>
                  <a:cubicBezTo>
                    <a:pt x="277488" y="361885"/>
                    <a:pt x="253192" y="354213"/>
                    <a:pt x="227617" y="354213"/>
                  </a:cubicBezTo>
                  <a:lnTo>
                    <a:pt x="226338" y="354213"/>
                  </a:lnTo>
                  <a:cubicBezTo>
                    <a:pt x="185418" y="354213"/>
                    <a:pt x="148334" y="373394"/>
                    <a:pt x="124038" y="404084"/>
                  </a:cubicBezTo>
                  <a:lnTo>
                    <a:pt x="74167" y="374673"/>
                  </a:lnTo>
                  <a:cubicBezTo>
                    <a:pt x="78003" y="368279"/>
                    <a:pt x="80561" y="361885"/>
                    <a:pt x="80561" y="354213"/>
                  </a:cubicBezTo>
                  <a:cubicBezTo>
                    <a:pt x="80561" y="332474"/>
                    <a:pt x="63937" y="314572"/>
                    <a:pt x="42199" y="314572"/>
                  </a:cubicBezTo>
                  <a:lnTo>
                    <a:pt x="42199" y="184139"/>
                  </a:lnTo>
                  <a:cubicBezTo>
                    <a:pt x="63937" y="182861"/>
                    <a:pt x="80561" y="166237"/>
                    <a:pt x="80561" y="144498"/>
                  </a:cubicBezTo>
                  <a:cubicBezTo>
                    <a:pt x="80561" y="136826"/>
                    <a:pt x="78003" y="129153"/>
                    <a:pt x="74167" y="122760"/>
                  </a:cubicBezTo>
                  <a:lnTo>
                    <a:pt x="191812" y="54986"/>
                  </a:lnTo>
                  <a:cubicBezTo>
                    <a:pt x="198206" y="69052"/>
                    <a:pt x="212272" y="79282"/>
                    <a:pt x="228896" y="79282"/>
                  </a:cubicBezTo>
                  <a:cubicBezTo>
                    <a:pt x="245519" y="79282"/>
                    <a:pt x="258307" y="70331"/>
                    <a:pt x="264700" y="56265"/>
                  </a:cubicBezTo>
                  <a:lnTo>
                    <a:pt x="378509" y="122760"/>
                  </a:lnTo>
                  <a:cubicBezTo>
                    <a:pt x="374673" y="129153"/>
                    <a:pt x="372115" y="136826"/>
                    <a:pt x="372115" y="144498"/>
                  </a:cubicBezTo>
                  <a:cubicBezTo>
                    <a:pt x="372115" y="166237"/>
                    <a:pt x="390018" y="184139"/>
                    <a:pt x="411756" y="184139"/>
                  </a:cubicBezTo>
                  <a:lnTo>
                    <a:pt x="411756" y="294112"/>
                  </a:lnTo>
                  <a:moveTo>
                    <a:pt x="268537" y="39641"/>
                  </a:moveTo>
                  <a:cubicBezTo>
                    <a:pt x="268537" y="46035"/>
                    <a:pt x="267258" y="51150"/>
                    <a:pt x="264700" y="56265"/>
                  </a:cubicBezTo>
                  <a:cubicBezTo>
                    <a:pt x="258307" y="70331"/>
                    <a:pt x="244240" y="79282"/>
                    <a:pt x="228896" y="79282"/>
                  </a:cubicBezTo>
                  <a:cubicBezTo>
                    <a:pt x="212272" y="79282"/>
                    <a:pt x="198206" y="69052"/>
                    <a:pt x="191812" y="54986"/>
                  </a:cubicBezTo>
                  <a:cubicBezTo>
                    <a:pt x="189255" y="49871"/>
                    <a:pt x="189255" y="44756"/>
                    <a:pt x="189255" y="39641"/>
                  </a:cubicBezTo>
                  <a:cubicBezTo>
                    <a:pt x="189255" y="17902"/>
                    <a:pt x="207157" y="0"/>
                    <a:pt x="228896" y="0"/>
                  </a:cubicBezTo>
                  <a:cubicBezTo>
                    <a:pt x="250634" y="0"/>
                    <a:pt x="268537" y="17902"/>
                    <a:pt x="268537" y="39641"/>
                  </a:cubicBezTo>
                  <a:close/>
                  <a:moveTo>
                    <a:pt x="452676" y="144498"/>
                  </a:moveTo>
                  <a:cubicBezTo>
                    <a:pt x="452676" y="166237"/>
                    <a:pt x="434774" y="184139"/>
                    <a:pt x="413035" y="184139"/>
                  </a:cubicBezTo>
                  <a:cubicBezTo>
                    <a:pt x="391296" y="184139"/>
                    <a:pt x="373394" y="166237"/>
                    <a:pt x="373394" y="144498"/>
                  </a:cubicBezTo>
                  <a:cubicBezTo>
                    <a:pt x="373394" y="136826"/>
                    <a:pt x="375951" y="129153"/>
                    <a:pt x="379788" y="122760"/>
                  </a:cubicBezTo>
                  <a:cubicBezTo>
                    <a:pt x="386181" y="111251"/>
                    <a:pt x="398969" y="104857"/>
                    <a:pt x="413035" y="104857"/>
                  </a:cubicBezTo>
                  <a:cubicBezTo>
                    <a:pt x="433495" y="104857"/>
                    <a:pt x="452676" y="122760"/>
                    <a:pt x="452676" y="144498"/>
                  </a:cubicBezTo>
                  <a:close/>
                  <a:moveTo>
                    <a:pt x="80561" y="144498"/>
                  </a:moveTo>
                  <a:cubicBezTo>
                    <a:pt x="80561" y="166237"/>
                    <a:pt x="63937" y="184139"/>
                    <a:pt x="42199" y="184139"/>
                  </a:cubicBezTo>
                  <a:cubicBezTo>
                    <a:pt x="42199" y="184139"/>
                    <a:pt x="40920" y="184139"/>
                    <a:pt x="40920" y="184139"/>
                  </a:cubicBezTo>
                  <a:cubicBezTo>
                    <a:pt x="19181" y="184139"/>
                    <a:pt x="1279" y="166237"/>
                    <a:pt x="1279" y="144498"/>
                  </a:cubicBezTo>
                  <a:cubicBezTo>
                    <a:pt x="1279" y="122760"/>
                    <a:pt x="19181" y="104857"/>
                    <a:pt x="40920" y="104857"/>
                  </a:cubicBezTo>
                  <a:cubicBezTo>
                    <a:pt x="54986" y="104857"/>
                    <a:pt x="67774" y="112530"/>
                    <a:pt x="75446" y="124038"/>
                  </a:cubicBezTo>
                  <a:cubicBezTo>
                    <a:pt x="78003" y="129153"/>
                    <a:pt x="80561" y="136826"/>
                    <a:pt x="80561" y="144498"/>
                  </a:cubicBezTo>
                  <a:close/>
                  <a:moveTo>
                    <a:pt x="80561" y="354213"/>
                  </a:moveTo>
                  <a:cubicBezTo>
                    <a:pt x="80561" y="361885"/>
                    <a:pt x="78003" y="368279"/>
                    <a:pt x="74167" y="374673"/>
                  </a:cubicBezTo>
                  <a:cubicBezTo>
                    <a:pt x="67774" y="386181"/>
                    <a:pt x="54986" y="393854"/>
                    <a:pt x="39641" y="393854"/>
                  </a:cubicBezTo>
                  <a:cubicBezTo>
                    <a:pt x="17902" y="393854"/>
                    <a:pt x="0" y="375951"/>
                    <a:pt x="0" y="354213"/>
                  </a:cubicBezTo>
                  <a:cubicBezTo>
                    <a:pt x="0" y="332474"/>
                    <a:pt x="17902" y="314572"/>
                    <a:pt x="39641" y="314572"/>
                  </a:cubicBezTo>
                  <a:cubicBezTo>
                    <a:pt x="39641" y="314572"/>
                    <a:pt x="40920" y="314572"/>
                    <a:pt x="40920" y="314572"/>
                  </a:cubicBezTo>
                  <a:cubicBezTo>
                    <a:pt x="62658" y="314572"/>
                    <a:pt x="80561" y="332474"/>
                    <a:pt x="80561" y="354213"/>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85" name="Group 84">
            <a:extLst>
              <a:ext uri="{FF2B5EF4-FFF2-40B4-BE49-F238E27FC236}">
                <a16:creationId xmlns:a16="http://schemas.microsoft.com/office/drawing/2014/main" id="{EDA45980-F86C-4652-30F9-1BFAEB441ACB}"/>
              </a:ext>
            </a:extLst>
          </p:cNvPr>
          <p:cNvGrpSpPr/>
          <p:nvPr/>
        </p:nvGrpSpPr>
        <p:grpSpPr>
          <a:xfrm>
            <a:off x="6181607" y="1525942"/>
            <a:ext cx="2628502" cy="2731097"/>
            <a:chOff x="6181607" y="1525942"/>
            <a:chExt cx="2628502" cy="2731097"/>
          </a:xfrm>
        </p:grpSpPr>
        <p:sp>
          <p:nvSpPr>
            <p:cNvPr id="26" name="Rounded Rectangle 11">
              <a:extLst>
                <a:ext uri="{FF2B5EF4-FFF2-40B4-BE49-F238E27FC236}">
                  <a16:creationId xmlns:a16="http://schemas.microsoft.com/office/drawing/2014/main" id="{531A8D19-7B11-3A85-5960-E44EC578C7CF}"/>
                </a:ext>
              </a:extLst>
            </p:cNvPr>
            <p:cNvSpPr/>
            <p:nvPr/>
          </p:nvSpPr>
          <p:spPr bwMode="auto">
            <a:xfrm>
              <a:off x="6181607" y="1525942"/>
              <a:ext cx="2628502" cy="2731097"/>
            </a:xfrm>
            <a:prstGeom prst="roundRect">
              <a:avLst>
                <a:gd name="adj" fmla="val 5300"/>
              </a:avLst>
            </a:prstGeom>
            <a:solidFill>
              <a:schemeClr val="tx1">
                <a:alpha val="10000"/>
              </a:schemeClr>
            </a:solidFill>
            <a:ln w="12700">
              <a:solidFill>
                <a:schemeClr val="bg1">
                  <a:alpha val="5000"/>
                </a:schemeClr>
              </a:solid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Black" panose="020B0A02040204020203" pitchFamily="34" charset="0"/>
                <a:cs typeface="+mn-cs"/>
              </a:endParaRPr>
            </a:p>
          </p:txBody>
        </p:sp>
        <p:sp>
          <p:nvSpPr>
            <p:cNvPr id="9" name="Rectangle: Rounded Corners 18">
              <a:extLst>
                <a:ext uri="{FF2B5EF4-FFF2-40B4-BE49-F238E27FC236}">
                  <a16:creationId xmlns:a16="http://schemas.microsoft.com/office/drawing/2014/main" id="{BD0B4DD4-EA0A-ACD1-4351-64FA6F53CB45}"/>
                </a:ext>
                <a:ext uri="{C183D7F6-B498-43B3-948B-1728B52AA6E4}">
                  <adec:decorative xmlns:adec="http://schemas.microsoft.com/office/drawing/2017/decorative" val="1"/>
                </a:ext>
              </a:extLst>
            </p:cNvPr>
            <p:cNvSpPr/>
            <p:nvPr/>
          </p:nvSpPr>
          <p:spPr bwMode="auto">
            <a:xfrm>
              <a:off x="6272412" y="1637067"/>
              <a:ext cx="2406254" cy="628029"/>
            </a:xfrm>
            <a:prstGeom prst="roundRect">
              <a:avLst>
                <a:gd name="adj" fmla="val 8591"/>
              </a:avLst>
            </a:prstGeom>
            <a:no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5"/>
                </a:spcBef>
                <a:spcAft>
                  <a:spcPts val="0"/>
                </a:spcAft>
                <a:buClrTx/>
                <a:buSzTx/>
                <a:buFontTx/>
                <a:buNone/>
                <a:tabLst>
                  <a:tab pos="5665570" algn="l"/>
                </a:tabLst>
                <a:defRPr/>
              </a:pP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Reshape business </a:t>
              </a:r>
              <a:b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b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processes</a:t>
              </a:r>
            </a:p>
          </p:txBody>
        </p:sp>
        <p:grpSp>
          <p:nvGrpSpPr>
            <p:cNvPr id="64" name="Group 63">
              <a:extLst>
                <a:ext uri="{FF2B5EF4-FFF2-40B4-BE49-F238E27FC236}">
                  <a16:creationId xmlns:a16="http://schemas.microsoft.com/office/drawing/2014/main" id="{E14C6DB1-5B45-9F40-C005-B05493D6F9BF}"/>
                </a:ext>
                <a:ext uri="{C183D7F6-B498-43B3-948B-1728B52AA6E4}">
                  <adec:decorative xmlns:adec="http://schemas.microsoft.com/office/drawing/2017/decorative" val="1"/>
                </a:ext>
              </a:extLst>
            </p:cNvPr>
            <p:cNvGrpSpPr/>
            <p:nvPr/>
          </p:nvGrpSpPr>
          <p:grpSpPr>
            <a:xfrm>
              <a:off x="8175557" y="1686045"/>
              <a:ext cx="523429" cy="530073"/>
              <a:chOff x="142812" y="139308"/>
              <a:chExt cx="301753" cy="305583"/>
            </a:xfrm>
          </p:grpSpPr>
          <p:sp>
            <p:nvSpPr>
              <p:cNvPr id="65" name="Rectangle: Rounded Corners 64">
                <a:extLst>
                  <a:ext uri="{FF2B5EF4-FFF2-40B4-BE49-F238E27FC236}">
                    <a16:creationId xmlns:a16="http://schemas.microsoft.com/office/drawing/2014/main" id="{96D72177-9548-A8D8-5854-8F4C297E2B2C}"/>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66" name="Oval 65">
                <a:extLst>
                  <a:ext uri="{FF2B5EF4-FFF2-40B4-BE49-F238E27FC236}">
                    <a16:creationId xmlns:a16="http://schemas.microsoft.com/office/drawing/2014/main" id="{153CE884-E39C-AE41-28E9-6CC465E27501}"/>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grpSp>
        <p:sp>
          <p:nvSpPr>
            <p:cNvPr id="72" name="TextBox 71">
              <a:extLst>
                <a:ext uri="{FF2B5EF4-FFF2-40B4-BE49-F238E27FC236}">
                  <a16:creationId xmlns:a16="http://schemas.microsoft.com/office/drawing/2014/main" id="{78024C73-5C17-8038-5EF4-B78304BD454B}"/>
                </a:ext>
              </a:extLst>
            </p:cNvPr>
            <p:cNvSpPr txBox="1">
              <a:spLocks/>
            </p:cNvSpPr>
            <p:nvPr/>
          </p:nvSpPr>
          <p:spPr>
            <a:xfrm>
              <a:off x="6272412" y="2261500"/>
              <a:ext cx="2426573" cy="1600438"/>
            </a:xfrm>
            <a:prstGeom prst="rect">
              <a:avLst/>
            </a:prstGeom>
            <a:noFill/>
          </p:spPr>
          <p:txBody>
            <a:bodyPr wrap="square" lIns="91440" tIns="45720" rIns="91440" bIns="45720" anchor="t">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Optimizing supply chains, securing assets, and power intelligent system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Forecasting transformer failure or substation degradation</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Optimizing vegetation management programs with AI vision models and satellite analysis</a:t>
              </a:r>
            </a:p>
          </p:txBody>
        </p:sp>
        <p:sp>
          <p:nvSpPr>
            <p:cNvPr id="76" name="Processing_E9F5" title="Icon of two interlocked gears">
              <a:extLst>
                <a:ext uri="{FF2B5EF4-FFF2-40B4-BE49-F238E27FC236}">
                  <a16:creationId xmlns:a16="http://schemas.microsoft.com/office/drawing/2014/main" id="{AADCCD4F-22D1-89C5-A425-B242E876192B}"/>
                </a:ext>
              </a:extLst>
            </p:cNvPr>
            <p:cNvSpPr>
              <a:spLocks noChangeAspect="1" noEditPoints="1"/>
            </p:cNvSpPr>
            <p:nvPr/>
          </p:nvSpPr>
          <p:spPr bwMode="auto">
            <a:xfrm>
              <a:off x="8310540" y="1840706"/>
              <a:ext cx="253462" cy="2207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86" name="Group 85">
            <a:extLst>
              <a:ext uri="{FF2B5EF4-FFF2-40B4-BE49-F238E27FC236}">
                <a16:creationId xmlns:a16="http://schemas.microsoft.com/office/drawing/2014/main" id="{3302B8B4-3F6E-322F-588F-691D6D9D1FAB}"/>
              </a:ext>
            </a:extLst>
          </p:cNvPr>
          <p:cNvGrpSpPr/>
          <p:nvPr/>
        </p:nvGrpSpPr>
        <p:grpSpPr>
          <a:xfrm>
            <a:off x="8978280" y="1525942"/>
            <a:ext cx="2628502" cy="2731097"/>
            <a:chOff x="8978280" y="1525942"/>
            <a:chExt cx="2628502" cy="2731097"/>
          </a:xfrm>
        </p:grpSpPr>
        <p:sp>
          <p:nvSpPr>
            <p:cNvPr id="28" name="Rounded Rectangle 11">
              <a:extLst>
                <a:ext uri="{FF2B5EF4-FFF2-40B4-BE49-F238E27FC236}">
                  <a16:creationId xmlns:a16="http://schemas.microsoft.com/office/drawing/2014/main" id="{25544BD9-D302-62F5-505A-47FAAEE8C828}"/>
                </a:ext>
              </a:extLst>
            </p:cNvPr>
            <p:cNvSpPr/>
            <p:nvPr/>
          </p:nvSpPr>
          <p:spPr bwMode="auto">
            <a:xfrm>
              <a:off x="8978280" y="1525942"/>
              <a:ext cx="2628502" cy="2731097"/>
            </a:xfrm>
            <a:prstGeom prst="roundRect">
              <a:avLst>
                <a:gd name="adj" fmla="val 5300"/>
              </a:avLst>
            </a:prstGeom>
            <a:solidFill>
              <a:schemeClr val="tx1">
                <a:alpha val="10000"/>
              </a:schemeClr>
            </a:solidFill>
            <a:ln w="12700">
              <a:solidFill>
                <a:schemeClr val="bg1">
                  <a:alpha val="5000"/>
                </a:schemeClr>
              </a:solid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Black" panose="020B0A02040204020203" pitchFamily="34" charset="0"/>
                <a:cs typeface="+mn-cs"/>
              </a:endParaRPr>
            </a:p>
          </p:txBody>
        </p:sp>
        <p:sp>
          <p:nvSpPr>
            <p:cNvPr id="8" name="Rectangle: Rounded Corners 18">
              <a:extLst>
                <a:ext uri="{FF2B5EF4-FFF2-40B4-BE49-F238E27FC236}">
                  <a16:creationId xmlns:a16="http://schemas.microsoft.com/office/drawing/2014/main" id="{1789C196-E75D-57D6-E3A2-8264F804A6AC}"/>
                </a:ext>
                <a:ext uri="{C183D7F6-B498-43B3-948B-1728B52AA6E4}">
                  <adec:decorative xmlns:adec="http://schemas.microsoft.com/office/drawing/2017/decorative" val="1"/>
                </a:ext>
              </a:extLst>
            </p:cNvPr>
            <p:cNvSpPr/>
            <p:nvPr/>
          </p:nvSpPr>
          <p:spPr bwMode="auto">
            <a:xfrm>
              <a:off x="9069084" y="1637067"/>
              <a:ext cx="2406254" cy="628029"/>
            </a:xfrm>
            <a:prstGeom prst="roundRect">
              <a:avLst>
                <a:gd name="adj" fmla="val 8591"/>
              </a:avLst>
            </a:prstGeom>
            <a:no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5"/>
                </a:spcBef>
                <a:spcAft>
                  <a:spcPts val="0"/>
                </a:spcAft>
                <a:buClrTx/>
                <a:buSzTx/>
                <a:buFontTx/>
                <a:buNone/>
                <a:tabLst>
                  <a:tab pos="5665570" algn="l"/>
                </a:tabLst>
                <a:defRPr/>
              </a:pP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Bend the curve </a:t>
              </a:r>
              <a:b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br>
              <a:r>
                <a:rPr kumimoji="0" lang="en-US" sz="1400" b="0" i="0" u="none" strike="noStrike" kern="1200" cap="none" spc="0" normalizeH="0" baseline="0" noProof="0">
                  <a:ln w="3175">
                    <a:noFill/>
                  </a:ln>
                  <a:solidFill>
                    <a:srgbClr val="D59DFF"/>
                  </a:solidFill>
                  <a:effectLst/>
                  <a:uLnTx/>
                  <a:uFillTx/>
                  <a:latin typeface="Segoe Sans Display Semibold"/>
                  <a:ea typeface="+mn-ea"/>
                  <a:cs typeface="+mn-cs"/>
                </a:rPr>
                <a:t>on innovation</a:t>
              </a:r>
            </a:p>
          </p:txBody>
        </p:sp>
        <p:grpSp>
          <p:nvGrpSpPr>
            <p:cNvPr id="67" name="Group 66">
              <a:extLst>
                <a:ext uri="{FF2B5EF4-FFF2-40B4-BE49-F238E27FC236}">
                  <a16:creationId xmlns:a16="http://schemas.microsoft.com/office/drawing/2014/main" id="{FED61EDD-B70B-8538-CA4F-37A2E935B1FE}"/>
                </a:ext>
                <a:ext uri="{C183D7F6-B498-43B3-948B-1728B52AA6E4}">
                  <adec:decorative xmlns:adec="http://schemas.microsoft.com/office/drawing/2017/decorative" val="1"/>
                </a:ext>
              </a:extLst>
            </p:cNvPr>
            <p:cNvGrpSpPr/>
            <p:nvPr/>
          </p:nvGrpSpPr>
          <p:grpSpPr>
            <a:xfrm>
              <a:off x="10972229" y="1686045"/>
              <a:ext cx="523429" cy="530073"/>
              <a:chOff x="142812" y="139308"/>
              <a:chExt cx="301753" cy="305583"/>
            </a:xfrm>
          </p:grpSpPr>
          <p:sp>
            <p:nvSpPr>
              <p:cNvPr id="68" name="Rectangle: Rounded Corners 67">
                <a:extLst>
                  <a:ext uri="{FF2B5EF4-FFF2-40B4-BE49-F238E27FC236}">
                    <a16:creationId xmlns:a16="http://schemas.microsoft.com/office/drawing/2014/main" id="{0FD3F47F-C10D-920D-46DB-3998C43F06AF}"/>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69" name="Oval 68">
                <a:extLst>
                  <a:ext uri="{FF2B5EF4-FFF2-40B4-BE49-F238E27FC236}">
                    <a16:creationId xmlns:a16="http://schemas.microsoft.com/office/drawing/2014/main" id="{9F46C6F1-D4F5-0325-BA38-2866FECEF06A}"/>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grpSp>
        <p:sp>
          <p:nvSpPr>
            <p:cNvPr id="73" name="TextBox 72">
              <a:extLst>
                <a:ext uri="{FF2B5EF4-FFF2-40B4-BE49-F238E27FC236}">
                  <a16:creationId xmlns:a16="http://schemas.microsoft.com/office/drawing/2014/main" id="{B24451B6-4A50-63D2-B1E4-D939EC14C8A8}"/>
                </a:ext>
              </a:extLst>
            </p:cNvPr>
            <p:cNvSpPr txBox="1">
              <a:spLocks/>
            </p:cNvSpPr>
            <p:nvPr/>
          </p:nvSpPr>
          <p:spPr>
            <a:xfrm>
              <a:off x="9069085" y="2261500"/>
              <a:ext cx="2443846" cy="1600438"/>
            </a:xfrm>
            <a:prstGeom prst="rect">
              <a:avLst/>
            </a:prstGeom>
            <a:noFill/>
          </p:spPr>
          <p:txBody>
            <a:bodyPr wrap="square" lIns="91440" tIns="45720" rIns="91440" bIns="45720" anchor="t">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Growing sustainable,</a:t>
              </a:r>
              <a:br>
                <a:rPr kumimoji="0" lang="en-US" sz="1100" b="0" i="0" u="none" strike="noStrike" kern="1200" cap="none" spc="0" normalizeH="0" baseline="0" noProof="0">
                  <a:ln>
                    <a:noFill/>
                  </a:ln>
                  <a:solidFill>
                    <a:srgbClr val="FFFFFF"/>
                  </a:solidFill>
                  <a:effectLst/>
                  <a:uLnTx/>
                  <a:uFillTx/>
                  <a:latin typeface="Segoe Sans Display"/>
                  <a:ea typeface="+mn-ea"/>
                  <a:cs typeface="+mn-cs"/>
                </a:rPr>
              </a:br>
              <a:r>
                <a:rPr kumimoji="0" lang="en-US" sz="1100" b="0" i="0" u="none" strike="noStrike" kern="1200" cap="none" spc="0" normalizeH="0" baseline="0" noProof="0">
                  <a:ln>
                    <a:noFill/>
                  </a:ln>
                  <a:solidFill>
                    <a:srgbClr val="FFFFFF"/>
                  </a:solidFill>
                  <a:effectLst/>
                  <a:uLnTx/>
                  <a:uFillTx/>
                  <a:latin typeface="Segoe Sans Display"/>
                  <a:ea typeface="+mn-ea"/>
                  <a:cs typeface="+mn-cs"/>
                </a:rPr>
                <a:t>AI-powered busines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Developing better battery storage materials and decarbonization method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Display"/>
                  <a:ea typeface="+mn-ea"/>
                  <a:cs typeface="+mn-cs"/>
                </a:rPr>
                <a:t>Simulating DER integration scenarios to stress-test grid flexibility and investment planning</a:t>
              </a:r>
            </a:p>
          </p:txBody>
        </p:sp>
        <p:sp>
          <p:nvSpPr>
            <p:cNvPr id="77" name="light" title="Icon of a lightbulb">
              <a:extLst>
                <a:ext uri="{FF2B5EF4-FFF2-40B4-BE49-F238E27FC236}">
                  <a16:creationId xmlns:a16="http://schemas.microsoft.com/office/drawing/2014/main" id="{F13BB45D-0F6C-99E2-D5F9-606D99FB4F0C}"/>
                </a:ext>
              </a:extLst>
            </p:cNvPr>
            <p:cNvSpPr>
              <a:spLocks noChangeAspect="1" noEditPoints="1"/>
            </p:cNvSpPr>
            <p:nvPr/>
          </p:nvSpPr>
          <p:spPr bwMode="auto">
            <a:xfrm>
              <a:off x="11141957" y="1814514"/>
              <a:ext cx="183972" cy="27313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78" name="Oval 77">
            <a:extLst>
              <a:ext uri="{FF2B5EF4-FFF2-40B4-BE49-F238E27FC236}">
                <a16:creationId xmlns:a16="http://schemas.microsoft.com/office/drawing/2014/main" id="{6932B111-8867-6105-0AA1-9E3510115033}"/>
              </a:ext>
            </a:extLst>
          </p:cNvPr>
          <p:cNvSpPr/>
          <p:nvPr/>
        </p:nvSpPr>
        <p:spPr bwMode="auto">
          <a:xfrm>
            <a:off x="7853471" y="5375910"/>
            <a:ext cx="355202" cy="355200"/>
          </a:xfrm>
          <a:prstGeom prst="ellipse">
            <a:avLst/>
          </a:prstGeom>
          <a:solidFill>
            <a:schemeClr val="tx2"/>
          </a:solidFill>
          <a:ln w="9525" cap="flat" cmpd="sng" algn="ctr">
            <a:noFill/>
            <a:prstDash val="solid"/>
            <a:headEnd type="none" w="med" len="med"/>
            <a:tailEnd type="none" w="med" len="med"/>
          </a:ln>
          <a:effectLst/>
        </p:spPr>
        <p:txBody>
          <a:bodyPr rot="0" spcFirstLastPara="0" vert="horz" wrap="square" lIns="173397" tIns="138718" rIns="173397" bIns="1387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420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sym typeface="Wingdings" panose="05000000000000000000" pitchFamily="2" charset="2"/>
              </a:rPr>
              <a:t></a:t>
            </a:r>
            <a:endParaRPr kumimoji="0" lang="en-US" sz="1400" b="0" i="0" u="none" strike="noStrike" kern="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2599075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1000"/>
                                        <p:tgtEl>
                                          <p:spTgt spid="83"/>
                                        </p:tgtEl>
                                      </p:cBhvr>
                                    </p:animEffect>
                                  </p:childTnLst>
                                </p:cTn>
                              </p:par>
                              <p:par>
                                <p:cTn id="8" presetID="42" presetClass="path" presetSubtype="0" decel="100000" fill="hold" nodeType="withEffect">
                                  <p:stCondLst>
                                    <p:cond delay="0"/>
                                  </p:stCondLst>
                                  <p:childTnLst>
                                    <p:animMotion origin="layout" path="M 4.16667E-7 2.22222E-6 L 4.16667E-7 0.03541 " pathEditMode="relative" rAng="0" ptsTypes="AA">
                                      <p:cBhvr>
                                        <p:cTn id="9" dur="1000" spd="-100000" fill="hold"/>
                                        <p:tgtEl>
                                          <p:spTgt spid="83"/>
                                        </p:tgtEl>
                                        <p:attrNameLst>
                                          <p:attrName>ppt_x</p:attrName>
                                          <p:attrName>ppt_y</p:attrName>
                                        </p:attrNameLst>
                                      </p:cBhvr>
                                      <p:rCtr x="0" y="1759"/>
                                    </p:animMotion>
                                  </p:childTnLst>
                                </p:cTn>
                              </p:par>
                              <p:par>
                                <p:cTn id="10" presetID="10" presetClass="entr" presetSubtype="0" fill="hold" nodeType="withEffect">
                                  <p:stCondLst>
                                    <p:cond delay="5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1000"/>
                                        <p:tgtEl>
                                          <p:spTgt spid="84"/>
                                        </p:tgtEl>
                                      </p:cBhvr>
                                    </p:animEffect>
                                  </p:childTnLst>
                                </p:cTn>
                              </p:par>
                              <p:par>
                                <p:cTn id="13" presetID="42" presetClass="path" presetSubtype="0" decel="100000" fill="hold" nodeType="withEffect">
                                  <p:stCondLst>
                                    <p:cond delay="500"/>
                                  </p:stCondLst>
                                  <p:childTnLst>
                                    <p:animMotion origin="layout" path="M 4.16667E-7 2.22222E-6 L 4.16667E-7 0.03541 " pathEditMode="relative" rAng="0" ptsTypes="AA">
                                      <p:cBhvr>
                                        <p:cTn id="14" dur="1000" spd="-100000" fill="hold"/>
                                        <p:tgtEl>
                                          <p:spTgt spid="84"/>
                                        </p:tgtEl>
                                        <p:attrNameLst>
                                          <p:attrName>ppt_x</p:attrName>
                                          <p:attrName>ppt_y</p:attrName>
                                        </p:attrNameLst>
                                      </p:cBhvr>
                                      <p:rCtr x="0" y="1759"/>
                                    </p:animMotion>
                                  </p:childTnLst>
                                </p:cTn>
                              </p:par>
                              <p:par>
                                <p:cTn id="15" presetID="10" presetClass="entr" presetSubtype="0" fill="hold" nodeType="withEffect">
                                  <p:stCondLst>
                                    <p:cond delay="100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1000"/>
                                        <p:tgtEl>
                                          <p:spTgt spid="85"/>
                                        </p:tgtEl>
                                      </p:cBhvr>
                                    </p:animEffect>
                                  </p:childTnLst>
                                </p:cTn>
                              </p:par>
                              <p:par>
                                <p:cTn id="18" presetID="42" presetClass="path" presetSubtype="0" decel="100000" fill="hold" nodeType="withEffect">
                                  <p:stCondLst>
                                    <p:cond delay="1000"/>
                                  </p:stCondLst>
                                  <p:childTnLst>
                                    <p:animMotion origin="layout" path="M 4.16667E-7 2.22222E-6 L 4.16667E-7 0.03541 " pathEditMode="relative" rAng="0" ptsTypes="AA">
                                      <p:cBhvr>
                                        <p:cTn id="19" dur="1000" spd="-100000" fill="hold"/>
                                        <p:tgtEl>
                                          <p:spTgt spid="85"/>
                                        </p:tgtEl>
                                        <p:attrNameLst>
                                          <p:attrName>ppt_x</p:attrName>
                                          <p:attrName>ppt_y</p:attrName>
                                        </p:attrNameLst>
                                      </p:cBhvr>
                                      <p:rCtr x="0" y="1759"/>
                                    </p:animMotion>
                                  </p:childTnLst>
                                </p:cTn>
                              </p:par>
                              <p:par>
                                <p:cTn id="20" presetID="10" presetClass="entr" presetSubtype="0" fill="hold" nodeType="withEffect">
                                  <p:stCondLst>
                                    <p:cond delay="150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1000"/>
                                        <p:tgtEl>
                                          <p:spTgt spid="86"/>
                                        </p:tgtEl>
                                      </p:cBhvr>
                                    </p:animEffect>
                                  </p:childTnLst>
                                </p:cTn>
                              </p:par>
                              <p:par>
                                <p:cTn id="23" presetID="42" presetClass="path" presetSubtype="0" decel="100000" fill="hold" nodeType="withEffect">
                                  <p:stCondLst>
                                    <p:cond delay="1500"/>
                                  </p:stCondLst>
                                  <p:childTnLst>
                                    <p:animMotion origin="layout" path="M 4.16667E-7 2.22222E-6 L 4.16667E-7 0.03541 " pathEditMode="relative" rAng="0" ptsTypes="AA">
                                      <p:cBhvr>
                                        <p:cTn id="24" dur="1000" spd="-100000" fill="hold"/>
                                        <p:tgtEl>
                                          <p:spTgt spid="86"/>
                                        </p:tgtEl>
                                        <p:attrNameLst>
                                          <p:attrName>ppt_x</p:attrName>
                                          <p:attrName>ppt_y</p:attrName>
                                        </p:attrNameLst>
                                      </p:cBhvr>
                                      <p:rCtr x="0" y="1759"/>
                                    </p:animMotion>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1000"/>
                                        <p:tgtEl>
                                          <p:spTgt spid="27"/>
                                        </p:tgtEl>
                                      </p:cBhvr>
                                    </p:animEffect>
                                  </p:childTnLst>
                                </p:cTn>
                              </p:par>
                              <p:par>
                                <p:cTn id="29" presetID="42" presetClass="path" presetSubtype="0" decel="100000" fill="hold" grpId="1" nodeType="withEffect">
                                  <p:stCondLst>
                                    <p:cond delay="0"/>
                                  </p:stCondLst>
                                  <p:childTnLst>
                                    <p:animMotion origin="layout" path="M 0 -3.7037E-6 L 0 -0.02847 " pathEditMode="relative" rAng="0" ptsTypes="AA">
                                      <p:cBhvr>
                                        <p:cTn id="30" dur="1000" spd="-100000" fill="hold"/>
                                        <p:tgtEl>
                                          <p:spTgt spid="27"/>
                                        </p:tgtEl>
                                        <p:attrNameLst>
                                          <p:attrName>ppt_x</p:attrName>
                                          <p:attrName>ppt_y</p:attrName>
                                        </p:attrNameLst>
                                      </p:cBhvr>
                                      <p:rCtr x="0" y="-1435"/>
                                    </p:animMotion>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1000"/>
                                        <p:tgtEl>
                                          <p:spTgt spid="16"/>
                                        </p:tgtEl>
                                      </p:cBhvr>
                                    </p:animEffect>
                                  </p:childTnLst>
                                </p:cTn>
                              </p:par>
                              <p:par>
                                <p:cTn id="34" presetID="42" presetClass="path" presetSubtype="0" decel="100000" fill="hold" grpId="1" nodeType="withEffect">
                                  <p:stCondLst>
                                    <p:cond delay="0"/>
                                  </p:stCondLst>
                                  <p:childTnLst>
                                    <p:animMotion origin="layout" path="M 4.16667E-7 2.22222E-6 L 4.16667E-7 0.03541 " pathEditMode="relative" rAng="0" ptsTypes="AA">
                                      <p:cBhvr>
                                        <p:cTn id="35" dur="1000" spd="-100000" fill="hold"/>
                                        <p:tgtEl>
                                          <p:spTgt spid="16"/>
                                        </p:tgtEl>
                                        <p:attrNameLst>
                                          <p:attrName>ppt_x</p:attrName>
                                          <p:attrName>ppt_y</p:attrName>
                                        </p:attrNameLst>
                                      </p:cBhvr>
                                      <p:rCtr x="0" y="1759"/>
                                    </p:animMotion>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1000"/>
                                        <p:tgtEl>
                                          <p:spTgt spid="18"/>
                                        </p:tgtEl>
                                      </p:cBhvr>
                                    </p:animEffect>
                                  </p:childTnLst>
                                </p:cTn>
                              </p:par>
                              <p:par>
                                <p:cTn id="40" presetID="42" presetClass="path" presetSubtype="0" decel="100000" fill="hold" grpId="1" nodeType="withEffect">
                                  <p:stCondLst>
                                    <p:cond delay="0"/>
                                  </p:stCondLst>
                                  <p:childTnLst>
                                    <p:animMotion origin="layout" path="M 6.25E-7 -2.22222E-6 L -0.01133 -2.22222E-6 " pathEditMode="relative" rAng="0" ptsTypes="AA">
                                      <p:cBhvr>
                                        <p:cTn id="41" dur="1000" spd="-100000" fill="hold"/>
                                        <p:tgtEl>
                                          <p:spTgt spid="18"/>
                                        </p:tgtEl>
                                        <p:attrNameLst>
                                          <p:attrName>ppt_x</p:attrName>
                                          <p:attrName>ppt_y</p:attrName>
                                        </p:attrNameLst>
                                      </p:cBhvr>
                                      <p:rCtr x="-573" y="0"/>
                                    </p:animMotion>
                                  </p:childTnLst>
                                </p:cTn>
                              </p:par>
                            </p:childTnLst>
                          </p:cTn>
                        </p:par>
                        <p:par>
                          <p:cTn id="42" fill="hold">
                            <p:stCondLst>
                              <p:cond delay="4500"/>
                            </p:stCondLst>
                            <p:childTnLst>
                              <p:par>
                                <p:cTn id="43" presetID="10" presetClass="entr" presetSubtype="0" fill="hold" grpId="0"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1000"/>
                                        <p:tgtEl>
                                          <p:spTgt spid="41"/>
                                        </p:tgtEl>
                                      </p:cBhvr>
                                    </p:animEffect>
                                  </p:childTnLst>
                                </p:cTn>
                              </p:par>
                              <p:par>
                                <p:cTn id="46" presetID="42" presetClass="path" presetSubtype="0" decel="100000" fill="hold" grpId="1" nodeType="withEffect">
                                  <p:stCondLst>
                                    <p:cond delay="0"/>
                                  </p:stCondLst>
                                  <p:childTnLst>
                                    <p:animMotion origin="layout" path="M 1.66667E-6 -2.22222E-6 L -0.01133 -2.22222E-6 " pathEditMode="relative" rAng="0" ptsTypes="AA">
                                      <p:cBhvr>
                                        <p:cTn id="47" dur="1000" spd="-100000" fill="hold"/>
                                        <p:tgtEl>
                                          <p:spTgt spid="41"/>
                                        </p:tgtEl>
                                        <p:attrNameLst>
                                          <p:attrName>ppt_x</p:attrName>
                                          <p:attrName>ppt_y</p:attrName>
                                        </p:attrNameLst>
                                      </p:cBhvr>
                                      <p:rCtr x="-573" y="0"/>
                                    </p:animMotion>
                                  </p:childTnLst>
                                </p:cTn>
                              </p:par>
                              <p:par>
                                <p:cTn id="48" presetID="10" presetClass="entr" presetSubtype="0"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par>
                                <p:cTn id="51" presetID="42" presetClass="path" presetSubtype="0" decel="100000" fill="hold" grpId="1" nodeType="withEffect">
                                  <p:stCondLst>
                                    <p:cond delay="0"/>
                                  </p:stCondLst>
                                  <p:childTnLst>
                                    <p:animMotion origin="layout" path="M 6.25E-7 -2.22222E-6 L -0.01133 -2.22222E-6 " pathEditMode="relative" rAng="0" ptsTypes="AA">
                                      <p:cBhvr>
                                        <p:cTn id="52" dur="1000" spd="-100000" fill="hold"/>
                                        <p:tgtEl>
                                          <p:spTgt spid="21"/>
                                        </p:tgtEl>
                                        <p:attrNameLst>
                                          <p:attrName>ppt_x</p:attrName>
                                          <p:attrName>ppt_y</p:attrName>
                                        </p:attrNameLst>
                                      </p:cBhvr>
                                      <p:rCtr x="-573" y="0"/>
                                    </p:animMotion>
                                  </p:childTnLst>
                                </p:cTn>
                              </p:par>
                            </p:childTnLst>
                          </p:cTn>
                        </p:par>
                        <p:par>
                          <p:cTn id="53" fill="hold">
                            <p:stCondLst>
                              <p:cond delay="5500"/>
                            </p:stCondLst>
                            <p:childTnLst>
                              <p:par>
                                <p:cTn id="54" presetID="10" presetClass="entr" presetSubtype="0" fill="hold" grpId="0" nodeType="after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fade">
                                      <p:cBhvr>
                                        <p:cTn id="56" dur="1000"/>
                                        <p:tgtEl>
                                          <p:spTgt spid="78"/>
                                        </p:tgtEl>
                                      </p:cBhvr>
                                    </p:animEffect>
                                  </p:childTnLst>
                                </p:cTn>
                              </p:par>
                              <p:par>
                                <p:cTn id="57" presetID="42" presetClass="path" presetSubtype="0" decel="100000" fill="hold" grpId="1" nodeType="withEffect">
                                  <p:stCondLst>
                                    <p:cond delay="0"/>
                                  </p:stCondLst>
                                  <p:childTnLst>
                                    <p:animMotion origin="layout" path="M 1.66667E-6 -2.22222E-6 L -0.01133 -2.22222E-6 " pathEditMode="relative" rAng="0" ptsTypes="AA">
                                      <p:cBhvr>
                                        <p:cTn id="58" dur="1000" spd="-100000" fill="hold"/>
                                        <p:tgtEl>
                                          <p:spTgt spid="78"/>
                                        </p:tgtEl>
                                        <p:attrNameLst>
                                          <p:attrName>ppt_x</p:attrName>
                                          <p:attrName>ppt_y</p:attrName>
                                        </p:attrNameLst>
                                      </p:cBhvr>
                                      <p:rCtr x="-573" y="0"/>
                                    </p:animMotion>
                                  </p:childTnLst>
                                </p:cTn>
                              </p:par>
                              <p:par>
                                <p:cTn id="59" presetID="10"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1000"/>
                                        <p:tgtEl>
                                          <p:spTgt spid="22"/>
                                        </p:tgtEl>
                                      </p:cBhvr>
                                    </p:animEffect>
                                  </p:childTnLst>
                                </p:cTn>
                              </p:par>
                              <p:par>
                                <p:cTn id="62" presetID="42" presetClass="path" presetSubtype="0" decel="100000" fill="hold" grpId="1" nodeType="withEffect">
                                  <p:stCondLst>
                                    <p:cond delay="0"/>
                                  </p:stCondLst>
                                  <p:childTnLst>
                                    <p:animMotion origin="layout" path="M 6.25E-7 -2.22222E-6 L -0.01133 -2.22222E-6 " pathEditMode="relative" rAng="0" ptsTypes="AA">
                                      <p:cBhvr>
                                        <p:cTn id="63" dur="1000" spd="-100000" fill="hold"/>
                                        <p:tgtEl>
                                          <p:spTgt spid="22"/>
                                        </p:tgtEl>
                                        <p:attrNameLst>
                                          <p:attrName>ppt_x</p:attrName>
                                          <p:attrName>ppt_y</p:attrName>
                                        </p:attrNameLst>
                                      </p:cBhvr>
                                      <p:rCtr x="-5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27" grpId="0" animBg="1"/>
      <p:bldP spid="27" grpId="1" animBg="1"/>
      <p:bldP spid="18" grpId="0" animBg="1"/>
      <p:bldP spid="18" grpId="1" animBg="1"/>
      <p:bldP spid="21" grpId="0" animBg="1"/>
      <p:bldP spid="21" grpId="1" animBg="1"/>
      <p:bldP spid="22" grpId="0" animBg="1"/>
      <p:bldP spid="22" grpId="1" animBg="1"/>
      <p:bldP spid="41" grpId="0" animBg="1"/>
      <p:bldP spid="41" grpId="1" animBg="1"/>
      <p:bldP spid="78" grpId="0" animBg="1"/>
      <p:bldP spid="78"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AB4BB-0CD0-7688-E87E-659FAEDE427A}"/>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E55393D-8DEF-3566-5D97-4D09EC3058E8}"/>
              </a:ext>
              <a:ext uri="{C183D7F6-B498-43B3-948B-1728B52AA6E4}">
                <adec:decorative xmlns:adec="http://schemas.microsoft.com/office/drawing/2017/decorative" val="1"/>
              </a:ext>
            </a:extLst>
          </p:cNvPr>
          <p:cNvSpPr/>
          <p:nvPr/>
        </p:nvSpPr>
        <p:spPr bwMode="auto">
          <a:xfrm>
            <a:off x="749115" y="676912"/>
            <a:ext cx="10693771" cy="5504176"/>
          </a:xfrm>
          <a:prstGeom prst="roundRect">
            <a:avLst>
              <a:gd name="adj" fmla="val 6028"/>
            </a:avLst>
          </a:prstGeom>
          <a:solidFill>
            <a:srgbClr val="194449">
              <a:alpha val="10000"/>
            </a:srgbClr>
          </a:solidFill>
        </p:spPr>
        <p:txBody>
          <a:bodyPr wrap="square" lIns="0" tIns="0" rIns="0" bIns="45720" rtlCol="0" anchor="ctr" anchorCtr="0">
            <a:noAutofit/>
          </a:body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err="1">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pic>
        <p:nvPicPr>
          <p:cNvPr id="8" name="Picture 7">
            <a:extLst>
              <a:ext uri="{FF2B5EF4-FFF2-40B4-BE49-F238E27FC236}">
                <a16:creationId xmlns:a16="http://schemas.microsoft.com/office/drawing/2014/main" id="{A4428CBA-9A53-EC1E-3405-F66FFCA521F4}"/>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9021" t="9485" r="223" b="16606"/>
          <a:stretch>
            <a:fillRect/>
          </a:stretch>
        </p:blipFill>
        <p:spPr>
          <a:xfrm>
            <a:off x="1130917" y="1025707"/>
            <a:ext cx="3300875" cy="4806587"/>
          </a:xfrm>
          <a:prstGeom prst="roundRect">
            <a:avLst>
              <a:gd name="adj" fmla="val 8448"/>
            </a:avLst>
          </a:prstGeom>
          <a:ln>
            <a:noFill/>
          </a:ln>
        </p:spPr>
      </p:pic>
      <p:sp>
        <p:nvSpPr>
          <p:cNvPr id="2" name="Title 1">
            <a:extLst>
              <a:ext uri="{FF2B5EF4-FFF2-40B4-BE49-F238E27FC236}">
                <a16:creationId xmlns:a16="http://schemas.microsoft.com/office/drawing/2014/main" id="{11F1E865-BA38-C926-BE6C-004AC8CE9A0E}"/>
              </a:ext>
            </a:extLst>
          </p:cNvPr>
          <p:cNvSpPr txBox="1">
            <a:spLocks noGrp="1"/>
          </p:cNvSpPr>
          <p:nvPr>
            <p:ph type="title" idx="4294967295"/>
          </p:nvPr>
        </p:nvSpPr>
        <p:spPr>
          <a:xfrm>
            <a:off x="4857276" y="1986296"/>
            <a:ext cx="4578176" cy="288540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nrich</a:t>
            </a:r>
          </a:p>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mployee</a:t>
            </a:r>
          </a:p>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xperiences</a:t>
            </a:r>
          </a:p>
        </p:txBody>
      </p:sp>
    </p:spTree>
    <p:extLst>
      <p:ext uri="{BB962C8B-B14F-4D97-AF65-F5344CB8AC3E}">
        <p14:creationId xmlns:p14="http://schemas.microsoft.com/office/powerpoint/2010/main" val="286135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9693C-4714-8DC2-DA23-286634800DE7}"/>
            </a:ext>
          </a:extLst>
        </p:cNvPr>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12087D4F-D143-B753-EAF0-D181BC61E95D}"/>
              </a:ext>
              <a:ext uri="{C183D7F6-B498-43B3-948B-1728B52AA6E4}">
                <adec:decorative xmlns:adec="http://schemas.microsoft.com/office/drawing/2017/decorative" val="1"/>
              </a:ext>
            </a:extLst>
          </p:cNvPr>
          <p:cNvSpPr/>
          <p:nvPr/>
        </p:nvSpPr>
        <p:spPr bwMode="auto">
          <a:xfrm rot="5400000">
            <a:off x="-1367322" y="1878033"/>
            <a:ext cx="6078734" cy="3344090"/>
          </a:xfrm>
          <a:prstGeom prst="round2SameRect">
            <a:avLst>
              <a:gd name="adj1" fmla="val 6940"/>
              <a:gd name="adj2" fmla="val 0"/>
            </a:avLst>
          </a:prstGeom>
          <a:gradFill flip="none" rotWithShape="1">
            <a:gsLst>
              <a:gs pos="77000">
                <a:srgbClr val="0D72C4"/>
              </a:gs>
              <a:gs pos="0">
                <a:srgbClr val="9D42BB"/>
              </a:gs>
            </a:gsLst>
            <a:path path="circle">
              <a:fillToRect l="100000" b="100000"/>
            </a:path>
            <a:tileRect t="-100000" r="-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Sans Display Semibold"/>
              <a:ea typeface="+mn-ea"/>
              <a:cs typeface="Segoe Sans Display" pitchFamily="2" charset="0"/>
            </a:endParaRPr>
          </a:p>
        </p:txBody>
      </p:sp>
      <p:sp>
        <p:nvSpPr>
          <p:cNvPr id="3" name="Rectangle: Rounded Corners 2">
            <a:extLst>
              <a:ext uri="{FF2B5EF4-FFF2-40B4-BE49-F238E27FC236}">
                <a16:creationId xmlns:a16="http://schemas.microsoft.com/office/drawing/2014/main" id="{F7308527-201A-1F14-34BC-E1FACA101E84}"/>
              </a:ext>
              <a:ext uri="{C183D7F6-B498-43B3-948B-1728B52AA6E4}">
                <adec:decorative xmlns:adec="http://schemas.microsoft.com/office/drawing/2017/decorative" val="1"/>
              </a:ext>
            </a:extLst>
          </p:cNvPr>
          <p:cNvSpPr>
            <a:spLocks/>
          </p:cNvSpPr>
          <p:nvPr/>
        </p:nvSpPr>
        <p:spPr bwMode="auto">
          <a:xfrm>
            <a:off x="9206012" y="2742122"/>
            <a:ext cx="2395568" cy="3518978"/>
          </a:xfrm>
          <a:prstGeom prst="roundRect">
            <a:avLst>
              <a:gd name="adj" fmla="val 348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p:txBody>
      </p:sp>
      <p:sp>
        <p:nvSpPr>
          <p:cNvPr id="15" name="Freeform: Shape 14">
            <a:extLst>
              <a:ext uri="{FF2B5EF4-FFF2-40B4-BE49-F238E27FC236}">
                <a16:creationId xmlns:a16="http://schemas.microsoft.com/office/drawing/2014/main" id="{957F9925-BE45-64F4-C68F-CB7C57495144}"/>
              </a:ext>
              <a:ext uri="{C183D7F6-B498-43B3-948B-1728B52AA6E4}">
                <adec:decorative xmlns:adec="http://schemas.microsoft.com/office/drawing/2017/decorative" val="1"/>
              </a:ext>
            </a:extLst>
          </p:cNvPr>
          <p:cNvSpPr>
            <a:spLocks/>
          </p:cNvSpPr>
          <p:nvPr/>
        </p:nvSpPr>
        <p:spPr bwMode="auto">
          <a:xfrm>
            <a:off x="10016627" y="2363579"/>
            <a:ext cx="774338" cy="774338"/>
          </a:xfrm>
          <a:custGeom>
            <a:avLst/>
            <a:gdLst>
              <a:gd name="connsiteX0" fmla="*/ 338078 w 676156"/>
              <a:gd name="connsiteY0" fmla="*/ 0 h 677960"/>
              <a:gd name="connsiteX1" fmla="*/ 676156 w 676156"/>
              <a:gd name="connsiteY1" fmla="*/ 338980 h 677960"/>
              <a:gd name="connsiteX2" fmla="*/ 338078 w 676156"/>
              <a:gd name="connsiteY2" fmla="*/ 677960 h 677960"/>
              <a:gd name="connsiteX3" fmla="*/ 0 w 676156"/>
              <a:gd name="connsiteY3" fmla="*/ 338980 h 677960"/>
              <a:gd name="connsiteX4" fmla="*/ 338078 w 676156"/>
              <a:gd name="connsiteY4" fmla="*/ 0 h 67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56" h="677960">
                <a:moveTo>
                  <a:pt x="338078" y="0"/>
                </a:moveTo>
                <a:cubicBezTo>
                  <a:pt x="524794" y="0"/>
                  <a:pt x="676156" y="151766"/>
                  <a:pt x="676156" y="338980"/>
                </a:cubicBezTo>
                <a:cubicBezTo>
                  <a:pt x="676156" y="526194"/>
                  <a:pt x="524794" y="677960"/>
                  <a:pt x="338078" y="677960"/>
                </a:cubicBezTo>
                <a:cubicBezTo>
                  <a:pt x="151362" y="677960"/>
                  <a:pt x="0" y="526194"/>
                  <a:pt x="0" y="338980"/>
                </a:cubicBezTo>
                <a:cubicBezTo>
                  <a:pt x="0" y="151766"/>
                  <a:pt x="151362" y="0"/>
                  <a:pt x="338078"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0" cap="none" spc="0" normalizeH="0" baseline="0" noProof="0">
              <a:ln w="3175">
                <a:noFill/>
              </a:ln>
              <a:solidFill>
                <a:srgbClr val="000000"/>
              </a:solidFill>
              <a:effectLst/>
              <a:uLnTx/>
              <a:uFillTx/>
              <a:latin typeface="Segoe Sans Display Semibold"/>
              <a:ea typeface="+mn-ea"/>
              <a:cs typeface="Segoe Sans Display Semibold" pitchFamily="2" charset="0"/>
            </a:endParaRPr>
          </a:p>
        </p:txBody>
      </p:sp>
      <p:sp>
        <p:nvSpPr>
          <p:cNvPr id="20" name="Rectangle: Rounded Corners 19">
            <a:extLst>
              <a:ext uri="{FF2B5EF4-FFF2-40B4-BE49-F238E27FC236}">
                <a16:creationId xmlns:a16="http://schemas.microsoft.com/office/drawing/2014/main" id="{071E0E4E-FCA5-7F21-AAAA-BA0F603F9BC6}"/>
              </a:ext>
              <a:ext uri="{C183D7F6-B498-43B3-948B-1728B52AA6E4}">
                <adec:decorative xmlns:adec="http://schemas.microsoft.com/office/drawing/2017/decorative" val="1"/>
              </a:ext>
            </a:extLst>
          </p:cNvPr>
          <p:cNvSpPr>
            <a:spLocks/>
          </p:cNvSpPr>
          <p:nvPr/>
        </p:nvSpPr>
        <p:spPr bwMode="auto">
          <a:xfrm>
            <a:off x="3701683" y="2742122"/>
            <a:ext cx="2395568" cy="3518978"/>
          </a:xfrm>
          <a:prstGeom prst="roundRect">
            <a:avLst>
              <a:gd name="adj" fmla="val 348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p:txBody>
      </p:sp>
      <p:sp>
        <p:nvSpPr>
          <p:cNvPr id="23" name="Freeform: Shape 22">
            <a:extLst>
              <a:ext uri="{FF2B5EF4-FFF2-40B4-BE49-F238E27FC236}">
                <a16:creationId xmlns:a16="http://schemas.microsoft.com/office/drawing/2014/main" id="{37AB2DCA-1093-7213-F114-2889752369B1}"/>
              </a:ext>
              <a:ext uri="{C183D7F6-B498-43B3-948B-1728B52AA6E4}">
                <adec:decorative xmlns:adec="http://schemas.microsoft.com/office/drawing/2017/decorative" val="1"/>
              </a:ext>
            </a:extLst>
          </p:cNvPr>
          <p:cNvSpPr>
            <a:spLocks/>
          </p:cNvSpPr>
          <p:nvPr/>
        </p:nvSpPr>
        <p:spPr bwMode="auto">
          <a:xfrm>
            <a:off x="4512298" y="2363579"/>
            <a:ext cx="774338" cy="774338"/>
          </a:xfrm>
          <a:custGeom>
            <a:avLst/>
            <a:gdLst>
              <a:gd name="connsiteX0" fmla="*/ 338078 w 676156"/>
              <a:gd name="connsiteY0" fmla="*/ 0 h 677960"/>
              <a:gd name="connsiteX1" fmla="*/ 676156 w 676156"/>
              <a:gd name="connsiteY1" fmla="*/ 338980 h 677960"/>
              <a:gd name="connsiteX2" fmla="*/ 338078 w 676156"/>
              <a:gd name="connsiteY2" fmla="*/ 677960 h 677960"/>
              <a:gd name="connsiteX3" fmla="*/ 0 w 676156"/>
              <a:gd name="connsiteY3" fmla="*/ 338980 h 677960"/>
              <a:gd name="connsiteX4" fmla="*/ 338078 w 676156"/>
              <a:gd name="connsiteY4" fmla="*/ 0 h 67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56" h="677960">
                <a:moveTo>
                  <a:pt x="338078" y="0"/>
                </a:moveTo>
                <a:cubicBezTo>
                  <a:pt x="524794" y="0"/>
                  <a:pt x="676156" y="151766"/>
                  <a:pt x="676156" y="338980"/>
                </a:cubicBezTo>
                <a:cubicBezTo>
                  <a:pt x="676156" y="526194"/>
                  <a:pt x="524794" y="677960"/>
                  <a:pt x="338078" y="677960"/>
                </a:cubicBezTo>
                <a:cubicBezTo>
                  <a:pt x="151362" y="677960"/>
                  <a:pt x="0" y="526194"/>
                  <a:pt x="0" y="338980"/>
                </a:cubicBezTo>
                <a:cubicBezTo>
                  <a:pt x="0" y="151766"/>
                  <a:pt x="151362" y="0"/>
                  <a:pt x="338078"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0" cap="none" spc="0" normalizeH="0" baseline="0" noProof="0">
              <a:ln w="3175">
                <a:noFill/>
              </a:ln>
              <a:solidFill>
                <a:srgbClr val="000000"/>
              </a:solidFill>
              <a:effectLst/>
              <a:uLnTx/>
              <a:uFillTx/>
              <a:latin typeface="Segoe Sans Display Semibold"/>
              <a:ea typeface="+mn-ea"/>
              <a:cs typeface="Segoe Sans Display Semibold" pitchFamily="2" charset="0"/>
            </a:endParaRPr>
          </a:p>
        </p:txBody>
      </p:sp>
      <p:sp>
        <p:nvSpPr>
          <p:cNvPr id="26" name="Graphic 9">
            <a:extLst>
              <a:ext uri="{FF2B5EF4-FFF2-40B4-BE49-F238E27FC236}">
                <a16:creationId xmlns:a16="http://schemas.microsoft.com/office/drawing/2014/main" id="{95BAAF4E-3666-3B2E-9AB2-8398085DE3F2}"/>
              </a:ext>
              <a:ext uri="{C183D7F6-B498-43B3-948B-1728B52AA6E4}">
                <adec:decorative xmlns:adec="http://schemas.microsoft.com/office/drawing/2017/decorative" val="1"/>
              </a:ext>
            </a:extLst>
          </p:cNvPr>
          <p:cNvSpPr>
            <a:spLocks/>
          </p:cNvSpPr>
          <p:nvPr/>
        </p:nvSpPr>
        <p:spPr>
          <a:xfrm>
            <a:off x="4683774" y="2535016"/>
            <a:ext cx="431386" cy="431463"/>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rgbClr val="FFFFFF"/>
          </a:solidFill>
          <a:ln w="15081"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Rectangle: Rounded Corners 40">
            <a:extLst>
              <a:ext uri="{FF2B5EF4-FFF2-40B4-BE49-F238E27FC236}">
                <a16:creationId xmlns:a16="http://schemas.microsoft.com/office/drawing/2014/main" id="{F7F1AD57-3182-3968-821E-61E5DA7C4CB5}"/>
              </a:ext>
              <a:ext uri="{C183D7F6-B498-43B3-948B-1728B52AA6E4}">
                <adec:decorative xmlns:adec="http://schemas.microsoft.com/office/drawing/2017/decorative" val="1"/>
              </a:ext>
            </a:extLst>
          </p:cNvPr>
          <p:cNvSpPr>
            <a:spLocks/>
          </p:cNvSpPr>
          <p:nvPr/>
        </p:nvSpPr>
        <p:spPr bwMode="auto">
          <a:xfrm>
            <a:off x="6453847" y="2751282"/>
            <a:ext cx="2395568" cy="3518978"/>
          </a:xfrm>
          <a:prstGeom prst="roundRect">
            <a:avLst>
              <a:gd name="adj" fmla="val 348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a:ea typeface="+mn-ea"/>
              <a:cs typeface="Segoe Sans Display" pitchFamily="2" charset="0"/>
            </a:endParaRPr>
          </a:p>
        </p:txBody>
      </p:sp>
      <p:sp>
        <p:nvSpPr>
          <p:cNvPr id="44" name="Freeform: Shape 43">
            <a:extLst>
              <a:ext uri="{FF2B5EF4-FFF2-40B4-BE49-F238E27FC236}">
                <a16:creationId xmlns:a16="http://schemas.microsoft.com/office/drawing/2014/main" id="{88A7216D-3B54-9FCA-B4BF-8B34E8189168}"/>
              </a:ext>
              <a:ext uri="{C183D7F6-B498-43B3-948B-1728B52AA6E4}">
                <adec:decorative xmlns:adec="http://schemas.microsoft.com/office/drawing/2017/decorative" val="1"/>
              </a:ext>
            </a:extLst>
          </p:cNvPr>
          <p:cNvSpPr>
            <a:spLocks/>
          </p:cNvSpPr>
          <p:nvPr/>
        </p:nvSpPr>
        <p:spPr bwMode="auto">
          <a:xfrm>
            <a:off x="7264462" y="2372739"/>
            <a:ext cx="774338" cy="774338"/>
          </a:xfrm>
          <a:custGeom>
            <a:avLst/>
            <a:gdLst>
              <a:gd name="connsiteX0" fmla="*/ 338078 w 676156"/>
              <a:gd name="connsiteY0" fmla="*/ 0 h 677960"/>
              <a:gd name="connsiteX1" fmla="*/ 676156 w 676156"/>
              <a:gd name="connsiteY1" fmla="*/ 338980 h 677960"/>
              <a:gd name="connsiteX2" fmla="*/ 338078 w 676156"/>
              <a:gd name="connsiteY2" fmla="*/ 677960 h 677960"/>
              <a:gd name="connsiteX3" fmla="*/ 0 w 676156"/>
              <a:gd name="connsiteY3" fmla="*/ 338980 h 677960"/>
              <a:gd name="connsiteX4" fmla="*/ 338078 w 676156"/>
              <a:gd name="connsiteY4" fmla="*/ 0 h 67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156" h="677960">
                <a:moveTo>
                  <a:pt x="338078" y="0"/>
                </a:moveTo>
                <a:cubicBezTo>
                  <a:pt x="524794" y="0"/>
                  <a:pt x="676156" y="151766"/>
                  <a:pt x="676156" y="338980"/>
                </a:cubicBezTo>
                <a:cubicBezTo>
                  <a:pt x="676156" y="526194"/>
                  <a:pt x="524794" y="677960"/>
                  <a:pt x="338078" y="677960"/>
                </a:cubicBezTo>
                <a:cubicBezTo>
                  <a:pt x="151362" y="677960"/>
                  <a:pt x="0" y="526194"/>
                  <a:pt x="0" y="338980"/>
                </a:cubicBezTo>
                <a:cubicBezTo>
                  <a:pt x="0" y="151766"/>
                  <a:pt x="151362" y="0"/>
                  <a:pt x="338078"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0" cap="none" spc="0" normalizeH="0" baseline="0" noProof="0">
              <a:ln w="3175">
                <a:noFill/>
              </a:ln>
              <a:solidFill>
                <a:srgbClr val="000000"/>
              </a:solidFill>
              <a:effectLst/>
              <a:uLnTx/>
              <a:uFillTx/>
              <a:latin typeface="Segoe Sans Display Semibold"/>
              <a:ea typeface="+mn-ea"/>
              <a:cs typeface="Segoe Sans Display Semibold" pitchFamily="2" charset="0"/>
            </a:endParaRPr>
          </a:p>
        </p:txBody>
      </p:sp>
      <p:sp>
        <p:nvSpPr>
          <p:cNvPr id="46" name="Graphic 34">
            <a:extLst>
              <a:ext uri="{FF2B5EF4-FFF2-40B4-BE49-F238E27FC236}">
                <a16:creationId xmlns:a16="http://schemas.microsoft.com/office/drawing/2014/main" id="{BC084E87-9F08-34B0-56B0-9B4F3645CA15}"/>
              </a:ext>
              <a:ext uri="{C183D7F6-B498-43B3-948B-1728B52AA6E4}">
                <adec:decorative xmlns:adec="http://schemas.microsoft.com/office/drawing/2017/decorative" val="1"/>
              </a:ext>
            </a:extLst>
          </p:cNvPr>
          <p:cNvSpPr>
            <a:spLocks/>
          </p:cNvSpPr>
          <p:nvPr/>
        </p:nvSpPr>
        <p:spPr>
          <a:xfrm>
            <a:off x="10220916" y="2567868"/>
            <a:ext cx="365760" cy="365760"/>
          </a:xfrm>
          <a:custGeom>
            <a:avLst/>
            <a:gdLst>
              <a:gd name="connsiteX0" fmla="*/ 164306 w 171450"/>
              <a:gd name="connsiteY0" fmla="*/ 28575 h 190501"/>
              <a:gd name="connsiteX1" fmla="*/ 90011 w 171450"/>
              <a:gd name="connsiteY1" fmla="*/ 1429 h 190501"/>
              <a:gd name="connsiteX2" fmla="*/ 81439 w 171450"/>
              <a:gd name="connsiteY2" fmla="*/ 1429 h 190501"/>
              <a:gd name="connsiteX3" fmla="*/ 7144 w 171450"/>
              <a:gd name="connsiteY3" fmla="*/ 28575 h 190501"/>
              <a:gd name="connsiteX4" fmla="*/ 0 w 171450"/>
              <a:gd name="connsiteY4" fmla="*/ 35719 h 190501"/>
              <a:gd name="connsiteX5" fmla="*/ 0 w 171450"/>
              <a:gd name="connsiteY5" fmla="*/ 85725 h 190501"/>
              <a:gd name="connsiteX6" fmla="*/ 83106 w 171450"/>
              <a:gd name="connsiteY6" fmla="*/ 190005 h 190501"/>
              <a:gd name="connsiteX7" fmla="*/ 88344 w 171450"/>
              <a:gd name="connsiteY7" fmla="*/ 190005 h 190501"/>
              <a:gd name="connsiteX8" fmla="*/ 171450 w 171450"/>
              <a:gd name="connsiteY8" fmla="*/ 85725 h 190501"/>
              <a:gd name="connsiteX9" fmla="*/ 171450 w 171450"/>
              <a:gd name="connsiteY9" fmla="*/ 35719 h 190501"/>
              <a:gd name="connsiteX10" fmla="*/ 164306 w 171450"/>
              <a:gd name="connsiteY10" fmla="*/ 28575 h 190501"/>
              <a:gd name="connsiteX11" fmla="*/ 131035 w 171450"/>
              <a:gd name="connsiteY11" fmla="*/ 69561 h 190501"/>
              <a:gd name="connsiteX12" fmla="*/ 73885 w 171450"/>
              <a:gd name="connsiteY12" fmla="*/ 121949 h 190501"/>
              <a:gd name="connsiteX13" fmla="*/ 64008 w 171450"/>
              <a:gd name="connsiteY13" fmla="*/ 121730 h 190501"/>
              <a:gd name="connsiteX14" fmla="*/ 40195 w 171450"/>
              <a:gd name="connsiteY14" fmla="*/ 97917 h 190501"/>
              <a:gd name="connsiteX15" fmla="*/ 39839 w 171450"/>
              <a:gd name="connsiteY15" fmla="*/ 87821 h 190501"/>
              <a:gd name="connsiteX16" fmla="*/ 49936 w 171450"/>
              <a:gd name="connsiteY16" fmla="*/ 87464 h 190501"/>
              <a:gd name="connsiteX17" fmla="*/ 50292 w 171450"/>
              <a:gd name="connsiteY17" fmla="*/ 87821 h 190501"/>
              <a:gd name="connsiteX18" fmla="*/ 69275 w 171450"/>
              <a:gd name="connsiteY18" fmla="*/ 106794 h 190501"/>
              <a:gd name="connsiteX19" fmla="*/ 121377 w 171450"/>
              <a:gd name="connsiteY19" fmla="*/ 59026 h 190501"/>
              <a:gd name="connsiteX20" fmla="*/ 131474 w 171450"/>
              <a:gd name="connsiteY20" fmla="*/ 59465 h 190501"/>
              <a:gd name="connsiteX21" fmla="*/ 131035 w 171450"/>
              <a:gd name="connsiteY21" fmla="*/ 6956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90501">
                <a:moveTo>
                  <a:pt x="164306" y="28575"/>
                </a:move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lose/>
                <a:moveTo>
                  <a:pt x="131035" y="69561"/>
                </a:moveTo>
                <a:lnTo>
                  <a:pt x="73885" y="121949"/>
                </a:lnTo>
                <a:cubicBezTo>
                  <a:pt x="71065" y="124531"/>
                  <a:pt x="66711" y="124435"/>
                  <a:pt x="64008" y="121730"/>
                </a:cubicBezTo>
                <a:lnTo>
                  <a:pt x="40195" y="97917"/>
                </a:lnTo>
                <a:cubicBezTo>
                  <a:pt x="37309" y="95227"/>
                  <a:pt x="37149" y="90707"/>
                  <a:pt x="39839" y="87821"/>
                </a:cubicBezTo>
                <a:cubicBezTo>
                  <a:pt x="42529" y="84934"/>
                  <a:pt x="47049" y="84774"/>
                  <a:pt x="49936" y="87464"/>
                </a:cubicBezTo>
                <a:cubicBezTo>
                  <a:pt x="50059" y="87579"/>
                  <a:pt x="50177" y="87698"/>
                  <a:pt x="50292" y="87821"/>
                </a:cubicBezTo>
                <a:lnTo>
                  <a:pt x="69275" y="106794"/>
                </a:lnTo>
                <a:lnTo>
                  <a:pt x="121377" y="59026"/>
                </a:lnTo>
                <a:cubicBezTo>
                  <a:pt x="124286" y="56359"/>
                  <a:pt x="128807" y="56556"/>
                  <a:pt x="131474" y="59465"/>
                </a:cubicBezTo>
                <a:cubicBezTo>
                  <a:pt x="134141" y="62374"/>
                  <a:pt x="133944" y="66894"/>
                  <a:pt x="131035" y="69561"/>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7" name="Graphic 29">
            <a:extLst>
              <a:ext uri="{FF2B5EF4-FFF2-40B4-BE49-F238E27FC236}">
                <a16:creationId xmlns:a16="http://schemas.microsoft.com/office/drawing/2014/main" id="{F14918F0-D216-CBE3-D403-A9A864459D76}"/>
              </a:ext>
              <a:ext uri="{C183D7F6-B498-43B3-948B-1728B52AA6E4}">
                <adec:decorative xmlns:adec="http://schemas.microsoft.com/office/drawing/2017/decorative" val="1"/>
              </a:ext>
            </a:extLst>
          </p:cNvPr>
          <p:cNvSpPr/>
          <p:nvPr/>
        </p:nvSpPr>
        <p:spPr>
          <a:xfrm>
            <a:off x="7468751" y="2577028"/>
            <a:ext cx="365760" cy="365760"/>
          </a:xfrm>
          <a:custGeom>
            <a:avLst/>
            <a:gdLst>
              <a:gd name="connsiteX0" fmla="*/ 213133 w 250772"/>
              <a:gd name="connsiteY0" fmla="*/ 0 h 250926"/>
              <a:gd name="connsiteX1" fmla="*/ 225680 w 250772"/>
              <a:gd name="connsiteY1" fmla="*/ 12546 h 250926"/>
              <a:gd name="connsiteX2" fmla="*/ 225680 w 250772"/>
              <a:gd name="connsiteY2" fmla="*/ 75278 h 250926"/>
              <a:gd name="connsiteX3" fmla="*/ 213133 w 250772"/>
              <a:gd name="connsiteY3" fmla="*/ 87824 h 250926"/>
              <a:gd name="connsiteX4" fmla="*/ 200587 w 250772"/>
              <a:gd name="connsiteY4" fmla="*/ 75278 h 250926"/>
              <a:gd name="connsiteX5" fmla="*/ 200587 w 250772"/>
              <a:gd name="connsiteY5" fmla="*/ 42833 h 250926"/>
              <a:gd name="connsiteX6" fmla="*/ 127906 w 250772"/>
              <a:gd name="connsiteY6" fmla="*/ 115514 h 250926"/>
              <a:gd name="connsiteX7" fmla="*/ 110166 w 250772"/>
              <a:gd name="connsiteY7" fmla="*/ 115514 h 250926"/>
              <a:gd name="connsiteX8" fmla="*/ 87670 w 250772"/>
              <a:gd name="connsiteY8" fmla="*/ 93019 h 250926"/>
              <a:gd name="connsiteX9" fmla="*/ 21262 w 250772"/>
              <a:gd name="connsiteY9" fmla="*/ 159426 h 250926"/>
              <a:gd name="connsiteX10" fmla="*/ 3522 w 250772"/>
              <a:gd name="connsiteY10" fmla="*/ 159118 h 250926"/>
              <a:gd name="connsiteX11" fmla="*/ 3522 w 250772"/>
              <a:gd name="connsiteY11" fmla="*/ 141686 h 250926"/>
              <a:gd name="connsiteX12" fmla="*/ 78800 w 250772"/>
              <a:gd name="connsiteY12" fmla="*/ 66408 h 250926"/>
              <a:gd name="connsiteX13" fmla="*/ 96540 w 250772"/>
              <a:gd name="connsiteY13" fmla="*/ 66408 h 250926"/>
              <a:gd name="connsiteX14" fmla="*/ 119036 w 250772"/>
              <a:gd name="connsiteY14" fmla="*/ 88903 h 250926"/>
              <a:gd name="connsiteX15" fmla="*/ 182847 w 250772"/>
              <a:gd name="connsiteY15" fmla="*/ 25093 h 250926"/>
              <a:gd name="connsiteX16" fmla="*/ 150402 w 250772"/>
              <a:gd name="connsiteY16" fmla="*/ 25093 h 250926"/>
              <a:gd name="connsiteX17" fmla="*/ 137855 w 250772"/>
              <a:gd name="connsiteY17" fmla="*/ 12546 h 250926"/>
              <a:gd name="connsiteX18" fmla="*/ 150402 w 250772"/>
              <a:gd name="connsiteY18" fmla="*/ 0 h 250926"/>
              <a:gd name="connsiteX19" fmla="*/ 213133 w 250772"/>
              <a:gd name="connsiteY19" fmla="*/ 0 h 250926"/>
              <a:gd name="connsiteX20" fmla="*/ 250772 w 250772"/>
              <a:gd name="connsiteY20" fmla="*/ 181922 h 250926"/>
              <a:gd name="connsiteX21" fmla="*/ 181768 w 250772"/>
              <a:gd name="connsiteY21" fmla="*/ 250927 h 250926"/>
              <a:gd name="connsiteX22" fmla="*/ 112763 w 250772"/>
              <a:gd name="connsiteY22" fmla="*/ 181922 h 250926"/>
              <a:gd name="connsiteX23" fmla="*/ 181768 w 250772"/>
              <a:gd name="connsiteY23" fmla="*/ 112917 h 250926"/>
              <a:gd name="connsiteX24" fmla="*/ 250772 w 250772"/>
              <a:gd name="connsiteY24" fmla="*/ 181922 h 250926"/>
              <a:gd name="connsiteX25" fmla="*/ 223848 w 250772"/>
              <a:gd name="connsiteY25" fmla="*/ 152388 h 250926"/>
              <a:gd name="connsiteX26" fmla="*/ 214977 w 250772"/>
              <a:gd name="connsiteY26" fmla="*/ 152376 h 250926"/>
              <a:gd name="connsiteX27" fmla="*/ 214965 w 250772"/>
              <a:gd name="connsiteY27" fmla="*/ 152388 h 250926"/>
              <a:gd name="connsiteX28" fmla="*/ 169221 w 250772"/>
              <a:gd name="connsiteY28" fmla="*/ 198144 h 250926"/>
              <a:gd name="connsiteX29" fmla="*/ 148570 w 250772"/>
              <a:gd name="connsiteY29" fmla="*/ 177480 h 250926"/>
              <a:gd name="connsiteX30" fmla="*/ 139687 w 250772"/>
              <a:gd name="connsiteY30" fmla="*/ 177480 h 250926"/>
              <a:gd name="connsiteX31" fmla="*/ 139687 w 250772"/>
              <a:gd name="connsiteY31" fmla="*/ 186363 h 250926"/>
              <a:gd name="connsiteX32" fmla="*/ 164780 w 250772"/>
              <a:gd name="connsiteY32" fmla="*/ 211456 h 250926"/>
              <a:gd name="connsiteX33" fmla="*/ 173651 w 250772"/>
              <a:gd name="connsiteY33" fmla="*/ 211467 h 250926"/>
              <a:gd name="connsiteX34" fmla="*/ 173663 w 250772"/>
              <a:gd name="connsiteY34" fmla="*/ 211456 h 250926"/>
              <a:gd name="connsiteX35" fmla="*/ 223848 w 250772"/>
              <a:gd name="connsiteY35" fmla="*/ 161271 h 250926"/>
              <a:gd name="connsiteX36" fmla="*/ 223859 w 250772"/>
              <a:gd name="connsiteY36" fmla="*/ 152399 h 250926"/>
              <a:gd name="connsiteX37" fmla="*/ 223848 w 250772"/>
              <a:gd name="connsiteY37" fmla="*/ 152388 h 2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0772" h="250926">
                <a:moveTo>
                  <a:pt x="213133" y="0"/>
                </a:moveTo>
                <a:cubicBezTo>
                  <a:pt x="220063" y="0"/>
                  <a:pt x="225680" y="5617"/>
                  <a:pt x="225680" y="12546"/>
                </a:cubicBezTo>
                <a:lnTo>
                  <a:pt x="225680" y="75278"/>
                </a:lnTo>
                <a:cubicBezTo>
                  <a:pt x="225680" y="82207"/>
                  <a:pt x="220063" y="87824"/>
                  <a:pt x="213133" y="87824"/>
                </a:cubicBezTo>
                <a:cubicBezTo>
                  <a:pt x="206204" y="87824"/>
                  <a:pt x="200587" y="82207"/>
                  <a:pt x="200587" y="75278"/>
                </a:cubicBezTo>
                <a:lnTo>
                  <a:pt x="200587" y="42833"/>
                </a:lnTo>
                <a:lnTo>
                  <a:pt x="127906" y="115514"/>
                </a:lnTo>
                <a:cubicBezTo>
                  <a:pt x="123007" y="120412"/>
                  <a:pt x="115065" y="120412"/>
                  <a:pt x="110166" y="115514"/>
                </a:cubicBezTo>
                <a:lnTo>
                  <a:pt x="87670" y="93019"/>
                </a:lnTo>
                <a:lnTo>
                  <a:pt x="21262" y="159426"/>
                </a:lnTo>
                <a:cubicBezTo>
                  <a:pt x="16278" y="164240"/>
                  <a:pt x="8336" y="164102"/>
                  <a:pt x="3522" y="159118"/>
                </a:cubicBezTo>
                <a:cubicBezTo>
                  <a:pt x="-1174" y="154256"/>
                  <a:pt x="-1174" y="146547"/>
                  <a:pt x="3522" y="141686"/>
                </a:cubicBezTo>
                <a:lnTo>
                  <a:pt x="78800" y="66408"/>
                </a:lnTo>
                <a:cubicBezTo>
                  <a:pt x="83699" y="61510"/>
                  <a:pt x="91641" y="61510"/>
                  <a:pt x="96540" y="66408"/>
                </a:cubicBezTo>
                <a:lnTo>
                  <a:pt x="119036" y="88903"/>
                </a:lnTo>
                <a:lnTo>
                  <a:pt x="182847" y="25093"/>
                </a:lnTo>
                <a:lnTo>
                  <a:pt x="150402" y="25093"/>
                </a:lnTo>
                <a:cubicBezTo>
                  <a:pt x="143472" y="25093"/>
                  <a:pt x="137855" y="19475"/>
                  <a:pt x="137855" y="12546"/>
                </a:cubicBezTo>
                <a:cubicBezTo>
                  <a:pt x="137855" y="5617"/>
                  <a:pt x="143472" y="0"/>
                  <a:pt x="150402" y="0"/>
                </a:cubicBezTo>
                <a:lnTo>
                  <a:pt x="213133" y="0"/>
                </a:lnTo>
                <a:close/>
                <a:moveTo>
                  <a:pt x="250772" y="181922"/>
                </a:moveTo>
                <a:cubicBezTo>
                  <a:pt x="250772" y="220033"/>
                  <a:pt x="219878" y="250927"/>
                  <a:pt x="181768" y="250927"/>
                </a:cubicBezTo>
                <a:cubicBezTo>
                  <a:pt x="143657" y="250927"/>
                  <a:pt x="112763" y="220033"/>
                  <a:pt x="112763" y="181922"/>
                </a:cubicBezTo>
                <a:cubicBezTo>
                  <a:pt x="112763" y="143811"/>
                  <a:pt x="143657" y="112917"/>
                  <a:pt x="181768" y="112917"/>
                </a:cubicBezTo>
                <a:cubicBezTo>
                  <a:pt x="219878" y="112917"/>
                  <a:pt x="250772" y="143811"/>
                  <a:pt x="250772" y="181922"/>
                </a:cubicBezTo>
                <a:close/>
                <a:moveTo>
                  <a:pt x="223848" y="152388"/>
                </a:moveTo>
                <a:cubicBezTo>
                  <a:pt x="221402" y="149935"/>
                  <a:pt x="217429" y="149930"/>
                  <a:pt x="214977" y="152376"/>
                </a:cubicBezTo>
                <a:cubicBezTo>
                  <a:pt x="214973" y="152380"/>
                  <a:pt x="214969" y="152384"/>
                  <a:pt x="214965" y="152388"/>
                </a:cubicBezTo>
                <a:lnTo>
                  <a:pt x="169221" y="198144"/>
                </a:lnTo>
                <a:lnTo>
                  <a:pt x="148570" y="177480"/>
                </a:lnTo>
                <a:cubicBezTo>
                  <a:pt x="146117" y="175028"/>
                  <a:pt x="142140" y="175028"/>
                  <a:pt x="139687" y="177480"/>
                </a:cubicBezTo>
                <a:cubicBezTo>
                  <a:pt x="137234" y="179933"/>
                  <a:pt x="137234" y="183910"/>
                  <a:pt x="139687" y="186363"/>
                </a:cubicBezTo>
                <a:lnTo>
                  <a:pt x="164780" y="211456"/>
                </a:lnTo>
                <a:cubicBezTo>
                  <a:pt x="167226" y="213909"/>
                  <a:pt x="171199" y="213914"/>
                  <a:pt x="173651" y="211467"/>
                </a:cubicBezTo>
                <a:cubicBezTo>
                  <a:pt x="173655" y="211463"/>
                  <a:pt x="173659" y="211460"/>
                  <a:pt x="173663" y="211456"/>
                </a:cubicBezTo>
                <a:lnTo>
                  <a:pt x="223848" y="161271"/>
                </a:lnTo>
                <a:cubicBezTo>
                  <a:pt x="226301" y="158824"/>
                  <a:pt x="226306" y="154852"/>
                  <a:pt x="223859" y="152399"/>
                </a:cubicBezTo>
                <a:cubicBezTo>
                  <a:pt x="223856" y="152395"/>
                  <a:pt x="223852" y="152392"/>
                  <a:pt x="223848" y="152388"/>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8">
            <a:extLst>
              <a:ext uri="{FF2B5EF4-FFF2-40B4-BE49-F238E27FC236}">
                <a16:creationId xmlns:a16="http://schemas.microsoft.com/office/drawing/2014/main" id="{2BA94DFD-FAF7-A40C-9EEC-70D1163E5C99}"/>
              </a:ext>
            </a:extLst>
          </p:cNvPr>
          <p:cNvSpPr>
            <a:spLocks noGrp="1"/>
          </p:cNvSpPr>
          <p:nvPr>
            <p:ph type="title"/>
          </p:nvPr>
        </p:nvSpPr>
        <p:spPr>
          <a:xfrm>
            <a:off x="333592" y="889000"/>
            <a:ext cx="2534350" cy="1661993"/>
          </a:xfrm>
        </p:spPr>
        <p:txBody>
          <a:bodyPr/>
          <a:lstStyle/>
          <a:p>
            <a:r>
              <a:rPr lang="en-US">
                <a:solidFill>
                  <a:schemeClr val="bg1"/>
                </a:solidFill>
                <a:latin typeface="Segoe UI Semibold (Headings)"/>
              </a:rPr>
              <a:t>Enrich employee experiences</a:t>
            </a:r>
          </a:p>
        </p:txBody>
      </p:sp>
      <p:sp>
        <p:nvSpPr>
          <p:cNvPr id="18" name="Title 27">
            <a:extLst>
              <a:ext uri="{FF2B5EF4-FFF2-40B4-BE49-F238E27FC236}">
                <a16:creationId xmlns:a16="http://schemas.microsoft.com/office/drawing/2014/main" id="{F95B0FBC-4FD0-7A65-B8FA-F83AB1DE4348}"/>
              </a:ext>
            </a:extLst>
          </p:cNvPr>
          <p:cNvSpPr txBox="1">
            <a:spLocks/>
          </p:cNvSpPr>
          <p:nvPr/>
        </p:nvSpPr>
        <p:spPr>
          <a:xfrm>
            <a:off x="333592" y="2766340"/>
            <a:ext cx="2543464" cy="153888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Body)"/>
                <a:ea typeface="+mn-ea"/>
                <a:cs typeface="Segoe Sans Text Semibold" pitchFamily="2" charset="0"/>
              </a:rPr>
              <a:t>Automate workflows and enhancing</a:t>
            </a:r>
            <a:br>
              <a:rPr kumimoji="0" lang="en-US" sz="2000" b="0" i="0" u="none" strike="noStrike" kern="1200" cap="none" spc="0" normalizeH="0" baseline="0" noProof="0">
                <a:ln w="3175">
                  <a:noFill/>
                </a:ln>
                <a:solidFill>
                  <a:srgbClr val="FFFFFF"/>
                </a:solidFill>
                <a:effectLst/>
                <a:uLnTx/>
                <a:uFillTx/>
                <a:latin typeface="Segoe UI (Body)"/>
                <a:ea typeface="+mn-ea"/>
                <a:cs typeface="Segoe Sans Text Semibold" pitchFamily="2" charset="0"/>
              </a:rPr>
            </a:br>
            <a:r>
              <a:rPr kumimoji="0" lang="en-US" sz="2000" b="0" i="0" u="none" strike="noStrike" kern="1200" cap="none" spc="0" normalizeH="0" baseline="0" noProof="0">
                <a:ln w="3175">
                  <a:noFill/>
                </a:ln>
                <a:solidFill>
                  <a:srgbClr val="FFFFFF"/>
                </a:solidFill>
                <a:effectLst/>
                <a:uLnTx/>
                <a:uFillTx/>
                <a:latin typeface="Segoe UI (Body)"/>
                <a:ea typeface="+mn-ea"/>
                <a:cs typeface="Segoe Sans Text Semibold" pitchFamily="2" charset="0"/>
              </a:rPr>
              <a:t>AI-driven learning, skilling, and collaboration</a:t>
            </a:r>
          </a:p>
        </p:txBody>
      </p:sp>
      <p:sp>
        <p:nvSpPr>
          <p:cNvPr id="28" name="TextBox 11">
            <a:extLst>
              <a:ext uri="{FF2B5EF4-FFF2-40B4-BE49-F238E27FC236}">
                <a16:creationId xmlns:a16="http://schemas.microsoft.com/office/drawing/2014/main" id="{3CAF9BE5-9A4A-D29F-E7AD-68BEA673516B}"/>
              </a:ext>
            </a:extLst>
          </p:cNvPr>
          <p:cNvSpPr txBox="1"/>
          <p:nvPr/>
        </p:nvSpPr>
        <p:spPr>
          <a:xfrm>
            <a:off x="4199062" y="1033841"/>
            <a:ext cx="6905140" cy="984885"/>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R="0" lvl="0" indent="0" algn="ctr" defTabSz="932742" fontAlgn="auto">
              <a:lnSpc>
                <a:spcPct val="100000"/>
              </a:lnSpc>
              <a:spcBef>
                <a:spcPct val="0"/>
              </a:spcBef>
              <a:spcAft>
                <a:spcPts val="0"/>
              </a:spcAft>
              <a:buClrTx/>
              <a:buSzTx/>
              <a:buFontTx/>
              <a:buNone/>
              <a:tabLst/>
              <a:defRPr sz="3200" b="0" cap="none" spc="0" baseline="0">
                <a:ln w="3175">
                  <a:noFill/>
                </a:ln>
                <a:effectLst/>
                <a:latin typeface="+mj-lt"/>
                <a:cs typeface="Segoe UI" pitchFamily="34" charset="0"/>
              </a:defRPr>
            </a:lvl1pPr>
            <a:lvl2pPr>
              <a:defRPr>
                <a:solidFill>
                  <a:srgbClr val="000000"/>
                </a:solidFill>
                <a:latin typeface="Segoe UI"/>
              </a:defRPr>
            </a:lvl2pPr>
            <a:lvl3pPr>
              <a:defRPr>
                <a:solidFill>
                  <a:srgbClr val="000000"/>
                </a:solidFill>
                <a:latin typeface="Segoe UI"/>
              </a:defRPr>
            </a:lvl3pPr>
            <a:lvl4pPr>
              <a:defRPr>
                <a:solidFill>
                  <a:srgbClr val="000000"/>
                </a:solidFill>
                <a:latin typeface="Segoe UI"/>
              </a:defRPr>
            </a:lvl4pPr>
            <a:lvl5pPr>
              <a:defRPr>
                <a:solidFill>
                  <a:srgbClr val="000000"/>
                </a:solidFill>
                <a:latin typeface="Segoe UI"/>
              </a:defRPr>
            </a:lvl5pPr>
            <a:lvl6pPr>
              <a:defRPr>
                <a:solidFill>
                  <a:srgbClr val="000000"/>
                </a:solidFill>
                <a:latin typeface="Segoe UI"/>
              </a:defRPr>
            </a:lvl6pPr>
            <a:lvl7pPr>
              <a:defRPr>
                <a:solidFill>
                  <a:srgbClr val="000000"/>
                </a:solidFill>
                <a:latin typeface="Segoe UI"/>
              </a:defRPr>
            </a:lvl7pPr>
            <a:lvl8pPr>
              <a:defRPr>
                <a:solidFill>
                  <a:srgbClr val="000000"/>
                </a:solidFill>
                <a:latin typeface="Segoe UI"/>
              </a:defRPr>
            </a:lvl8pPr>
            <a:lvl9pPr>
              <a:defRPr>
                <a:solidFill>
                  <a:srgbClr val="000000"/>
                </a:solidFill>
                <a:latin typeface="Segoe UI"/>
              </a:defRPr>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Sans Display Semibold"/>
                <a:ea typeface="+mn-ea"/>
                <a:cs typeface="Segoe UI" pitchFamily="34" charset="0"/>
              </a:rPr>
              <a:t>Empower an AI-first energy and resources workforce</a:t>
            </a:r>
          </a:p>
        </p:txBody>
      </p:sp>
      <p:sp>
        <p:nvSpPr>
          <p:cNvPr id="21" name="TextBox 20">
            <a:extLst>
              <a:ext uri="{FF2B5EF4-FFF2-40B4-BE49-F238E27FC236}">
                <a16:creationId xmlns:a16="http://schemas.microsoft.com/office/drawing/2014/main" id="{5DD46338-42F4-00ED-3B85-9E72BC68AD09}"/>
              </a:ext>
            </a:extLst>
          </p:cNvPr>
          <p:cNvSpPr txBox="1"/>
          <p:nvPr/>
        </p:nvSpPr>
        <p:spPr>
          <a:xfrm>
            <a:off x="3908879" y="3303366"/>
            <a:ext cx="1981177" cy="1938992"/>
          </a:xfrm>
          <a:prstGeom prst="rect">
            <a:avLst/>
          </a:prstGeom>
          <a:noFill/>
        </p:spPr>
        <p:txBody>
          <a:bodyPr wrap="square" lIns="0" tIns="0" rIns="0" bIns="0">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a:ea typeface="+mn-ea"/>
                <a:cs typeface="Segoe UI" pitchFamily="34" charset="0"/>
              </a:rPr>
              <a:t>AI copilots and agents for field workers summarize work orders, and generate inspection reports in real time</a:t>
            </a:r>
          </a:p>
        </p:txBody>
      </p:sp>
      <p:sp>
        <p:nvSpPr>
          <p:cNvPr id="42" name="TextBox 41">
            <a:extLst>
              <a:ext uri="{FF2B5EF4-FFF2-40B4-BE49-F238E27FC236}">
                <a16:creationId xmlns:a16="http://schemas.microsoft.com/office/drawing/2014/main" id="{C38CD0C8-CAAC-41D2-C367-BD6AC75CF66A}"/>
              </a:ext>
            </a:extLst>
          </p:cNvPr>
          <p:cNvSpPr txBox="1"/>
          <p:nvPr/>
        </p:nvSpPr>
        <p:spPr>
          <a:xfrm>
            <a:off x="6661043" y="3312526"/>
            <a:ext cx="1981177" cy="1384995"/>
          </a:xfrm>
          <a:prstGeom prst="rect">
            <a:avLst/>
          </a:prstGeom>
          <a:noFill/>
        </p:spPr>
        <p:txBody>
          <a:bodyPr wrap="square" lIns="0" tIns="0" rIns="0" bIns="0">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Sans Display"/>
                <a:ea typeface="+mn-ea"/>
                <a:cs typeface="Segoe UI" pitchFamily="34" charset="0"/>
              </a:rPr>
              <a:t>Improved training and upskilling increases productivity and efficiency</a:t>
            </a:r>
          </a:p>
        </p:txBody>
      </p:sp>
      <p:sp>
        <p:nvSpPr>
          <p:cNvPr id="6" name="TextBox 5">
            <a:extLst>
              <a:ext uri="{FF2B5EF4-FFF2-40B4-BE49-F238E27FC236}">
                <a16:creationId xmlns:a16="http://schemas.microsoft.com/office/drawing/2014/main" id="{C5D128A6-03C3-C82D-8D64-8D5DF3E337FE}"/>
              </a:ext>
            </a:extLst>
          </p:cNvPr>
          <p:cNvSpPr txBox="1"/>
          <p:nvPr/>
        </p:nvSpPr>
        <p:spPr>
          <a:xfrm>
            <a:off x="9413208" y="3303366"/>
            <a:ext cx="1981177" cy="1661993"/>
          </a:xfrm>
          <a:prstGeom prst="rect">
            <a:avLst/>
          </a:prstGeom>
          <a:noFill/>
        </p:spPr>
        <p:txBody>
          <a:bodyPr wrap="square" lIns="0" tIns="0" rIns="0" bIns="0">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Sans Display"/>
                <a:ea typeface="+mn-ea"/>
                <a:cs typeface="Segoe UI" pitchFamily="34" charset="0"/>
              </a:rPr>
              <a:t>AI-powered safety insights and immersive training simulations improve frontline worker safety</a:t>
            </a:r>
          </a:p>
        </p:txBody>
      </p:sp>
    </p:spTree>
    <p:extLst>
      <p:ext uri="{BB962C8B-B14F-4D97-AF65-F5344CB8AC3E}">
        <p14:creationId xmlns:p14="http://schemas.microsoft.com/office/powerpoint/2010/main" val="21548541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60065-C68E-4629-21C4-B59146EC7C70}"/>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1318130F-01B2-421F-E095-0CD0A3F75400}"/>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 name="Rectangle 2">
            <a:extLst>
              <a:ext uri="{FF2B5EF4-FFF2-40B4-BE49-F238E27FC236}">
                <a16:creationId xmlns:a16="http://schemas.microsoft.com/office/drawing/2014/main" id="{E6CFA29A-C4FA-7300-6C1B-9B5E3E8357A9}"/>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10" name="Graphic 35">
            <a:extLst>
              <a:ext uri="{FF2B5EF4-FFF2-40B4-BE49-F238E27FC236}">
                <a16:creationId xmlns:a16="http://schemas.microsoft.com/office/drawing/2014/main" id="{A3F1DF53-C02D-26A5-B084-BC6204340CC1}"/>
              </a:ext>
              <a:ext uri="{C183D7F6-B498-43B3-948B-1728B52AA6E4}">
                <adec:decorative xmlns:adec="http://schemas.microsoft.com/office/drawing/2017/decorative" val="1"/>
              </a:ext>
            </a:extLst>
          </p:cNvPr>
          <p:cNvSpPr>
            <a:spLocks/>
          </p:cNvSpPr>
          <p:nvPr/>
        </p:nvSpPr>
        <p:spPr>
          <a:xfrm>
            <a:off x="3130860" y="4919670"/>
            <a:ext cx="250024" cy="250024"/>
          </a:xfrm>
          <a:custGeom>
            <a:avLst/>
            <a:gdLst>
              <a:gd name="connsiteX0" fmla="*/ 863389 w 1726742"/>
              <a:gd name="connsiteY0" fmla="*/ 368 h 1727114"/>
              <a:gd name="connsiteX1" fmla="*/ 1726743 w 1726742"/>
              <a:gd name="connsiteY1" fmla="*/ 863760 h 1727114"/>
              <a:gd name="connsiteX2" fmla="*/ 863360 w 1726742"/>
              <a:gd name="connsiteY2" fmla="*/ 1727115 h 1727114"/>
              <a:gd name="connsiteX3" fmla="*/ 0 w 1726742"/>
              <a:gd name="connsiteY3" fmla="*/ 863722 h 1727114"/>
              <a:gd name="connsiteX4" fmla="*/ 3565 w 1726742"/>
              <a:gd name="connsiteY4" fmla="*/ 785366 h 1727114"/>
              <a:gd name="connsiteX5" fmla="*/ 107745 w 1726742"/>
              <a:gd name="connsiteY5" fmla="*/ 698453 h 1727114"/>
              <a:gd name="connsiteX6" fmla="*/ 194658 w 1726742"/>
              <a:gd name="connsiteY6" fmla="*/ 802634 h 1727114"/>
              <a:gd name="connsiteX7" fmla="*/ 388533 w 1726742"/>
              <a:gd name="connsiteY7" fmla="*/ 1338597 h 1727114"/>
              <a:gd name="connsiteX8" fmla="*/ 507679 w 1726742"/>
              <a:gd name="connsiteY8" fmla="*/ 1433376 h 1727114"/>
              <a:gd name="connsiteX9" fmla="*/ 1432908 w 1726742"/>
              <a:gd name="connsiteY9" fmla="*/ 1219355 h 1727114"/>
              <a:gd name="connsiteX10" fmla="*/ 1218888 w 1726742"/>
              <a:gd name="connsiteY10" fmla="*/ 294125 h 1727114"/>
              <a:gd name="connsiteX11" fmla="*/ 393138 w 1726742"/>
              <a:gd name="connsiteY11" fmla="*/ 384281 h 1727114"/>
              <a:gd name="connsiteX12" fmla="*/ 527441 w 1726742"/>
              <a:gd name="connsiteY12" fmla="*/ 384377 h 1727114"/>
              <a:gd name="connsiteX13" fmla="*/ 624024 w 1726742"/>
              <a:gd name="connsiteY13" fmla="*/ 479649 h 1727114"/>
              <a:gd name="connsiteX14" fmla="*/ 538569 w 1726742"/>
              <a:gd name="connsiteY14" fmla="*/ 575662 h 1727114"/>
              <a:gd name="connsiteX15" fmla="*/ 527441 w 1726742"/>
              <a:gd name="connsiteY15" fmla="*/ 576238 h 1727114"/>
              <a:gd name="connsiteX16" fmla="*/ 143527 w 1726742"/>
              <a:gd name="connsiteY16" fmla="*/ 576238 h 1727114"/>
              <a:gd name="connsiteX17" fmla="*/ 48268 w 1726742"/>
              <a:gd name="connsiteY17" fmla="*/ 491531 h 1727114"/>
              <a:gd name="connsiteX18" fmla="*/ 47597 w 1726742"/>
              <a:gd name="connsiteY18" fmla="*/ 480307 h 1727114"/>
              <a:gd name="connsiteX19" fmla="*/ 47597 w 1726742"/>
              <a:gd name="connsiteY19" fmla="*/ 96586 h 1727114"/>
              <a:gd name="connsiteX20" fmla="*/ 142869 w 1726742"/>
              <a:gd name="connsiteY20" fmla="*/ 2 h 1727114"/>
              <a:gd name="connsiteX21" fmla="*/ 238882 w 1726742"/>
              <a:gd name="connsiteY21" fmla="*/ 85458 h 1727114"/>
              <a:gd name="connsiteX22" fmla="*/ 239458 w 1726742"/>
              <a:gd name="connsiteY22" fmla="*/ 96682 h 1727114"/>
              <a:gd name="connsiteX23" fmla="*/ 239458 w 1726742"/>
              <a:gd name="connsiteY23" fmla="*/ 266862 h 1727114"/>
              <a:gd name="connsiteX24" fmla="*/ 863389 w 1726742"/>
              <a:gd name="connsiteY24" fmla="*/ 368 h 1727114"/>
              <a:gd name="connsiteX25" fmla="*/ 791441 w 1726742"/>
              <a:gd name="connsiteY25" fmla="*/ 384089 h 1727114"/>
              <a:gd name="connsiteX26" fmla="*/ 862717 w 1726742"/>
              <a:gd name="connsiteY26" fmla="*/ 446252 h 1727114"/>
              <a:gd name="connsiteX27" fmla="*/ 863389 w 1726742"/>
              <a:gd name="connsiteY27" fmla="*/ 456037 h 1727114"/>
              <a:gd name="connsiteX28" fmla="*/ 863389 w 1726742"/>
              <a:gd name="connsiteY28" fmla="*/ 863741 h 1727114"/>
              <a:gd name="connsiteX29" fmla="*/ 1079232 w 1726742"/>
              <a:gd name="connsiteY29" fmla="*/ 863741 h 1727114"/>
              <a:gd name="connsiteX30" fmla="*/ 1151161 w 1726742"/>
              <a:gd name="connsiteY30" fmla="*/ 935708 h 1727114"/>
              <a:gd name="connsiteX31" fmla="*/ 1089017 w 1726742"/>
              <a:gd name="connsiteY31" fmla="*/ 1006965 h 1727114"/>
              <a:gd name="connsiteX32" fmla="*/ 1079232 w 1726742"/>
              <a:gd name="connsiteY32" fmla="*/ 1007637 h 1727114"/>
              <a:gd name="connsiteX33" fmla="*/ 791441 w 1726742"/>
              <a:gd name="connsiteY33" fmla="*/ 1007637 h 1727114"/>
              <a:gd name="connsiteX34" fmla="*/ 720165 w 1726742"/>
              <a:gd name="connsiteY34" fmla="*/ 945474 h 1727114"/>
              <a:gd name="connsiteX35" fmla="*/ 719493 w 1726742"/>
              <a:gd name="connsiteY35" fmla="*/ 935689 h 1727114"/>
              <a:gd name="connsiteX36" fmla="*/ 719493 w 1726742"/>
              <a:gd name="connsiteY36" fmla="*/ 456037 h 1727114"/>
              <a:gd name="connsiteX37" fmla="*/ 791441 w 1726742"/>
              <a:gd name="connsiteY37" fmla="*/ 384089 h 172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26742" h="1727114">
                <a:moveTo>
                  <a:pt x="863389" y="368"/>
                </a:moveTo>
                <a:cubicBezTo>
                  <a:pt x="1340220" y="376"/>
                  <a:pt x="1726753" y="386929"/>
                  <a:pt x="1726743" y="863760"/>
                </a:cubicBezTo>
                <a:cubicBezTo>
                  <a:pt x="1726743" y="1340582"/>
                  <a:pt x="1340182" y="1727124"/>
                  <a:pt x="863360" y="1727115"/>
                </a:cubicBezTo>
                <a:cubicBezTo>
                  <a:pt x="386530" y="1727105"/>
                  <a:pt x="-9" y="1340554"/>
                  <a:pt x="0" y="863722"/>
                </a:cubicBezTo>
                <a:cubicBezTo>
                  <a:pt x="0" y="837562"/>
                  <a:pt x="1190" y="811421"/>
                  <a:pt x="3565" y="785366"/>
                </a:cubicBezTo>
                <a:cubicBezTo>
                  <a:pt x="8333" y="732595"/>
                  <a:pt x="54976" y="693685"/>
                  <a:pt x="107745" y="698453"/>
                </a:cubicBezTo>
                <a:cubicBezTo>
                  <a:pt x="160515" y="703221"/>
                  <a:pt x="199427" y="749862"/>
                  <a:pt x="194658" y="802634"/>
                </a:cubicBezTo>
                <a:cubicBezTo>
                  <a:pt x="175981" y="1001277"/>
                  <a:pt x="247095" y="1197867"/>
                  <a:pt x="388533" y="1338597"/>
                </a:cubicBezTo>
                <a:cubicBezTo>
                  <a:pt x="424507" y="1374571"/>
                  <a:pt x="464510" y="1406419"/>
                  <a:pt x="507679" y="1433376"/>
                </a:cubicBezTo>
                <a:cubicBezTo>
                  <a:pt x="822273" y="1629774"/>
                  <a:pt x="1236520" y="1533949"/>
                  <a:pt x="1432908" y="1219355"/>
                </a:cubicBezTo>
                <a:cubicBezTo>
                  <a:pt x="1629307" y="904761"/>
                  <a:pt x="1533491" y="490521"/>
                  <a:pt x="1218888" y="294125"/>
                </a:cubicBezTo>
                <a:cubicBezTo>
                  <a:pt x="955846" y="129907"/>
                  <a:pt x="614555" y="167170"/>
                  <a:pt x="393138" y="384281"/>
                </a:cubicBezTo>
                <a:lnTo>
                  <a:pt x="527441" y="384377"/>
                </a:lnTo>
                <a:cubicBezTo>
                  <a:pt x="580420" y="384015"/>
                  <a:pt x="623663" y="426670"/>
                  <a:pt x="624024" y="479649"/>
                </a:cubicBezTo>
                <a:cubicBezTo>
                  <a:pt x="624360" y="528827"/>
                  <a:pt x="587453" y="570294"/>
                  <a:pt x="538569" y="575662"/>
                </a:cubicBezTo>
                <a:lnTo>
                  <a:pt x="527441" y="576238"/>
                </a:lnTo>
                <a:lnTo>
                  <a:pt x="143527" y="576238"/>
                </a:lnTo>
                <a:cubicBezTo>
                  <a:pt x="94892" y="576231"/>
                  <a:pt x="53959" y="539831"/>
                  <a:pt x="48268" y="491531"/>
                </a:cubicBezTo>
                <a:lnTo>
                  <a:pt x="47597" y="480307"/>
                </a:lnTo>
                <a:lnTo>
                  <a:pt x="47597" y="96586"/>
                </a:lnTo>
                <a:cubicBezTo>
                  <a:pt x="47235" y="43606"/>
                  <a:pt x="89890" y="364"/>
                  <a:pt x="142869" y="2"/>
                </a:cubicBezTo>
                <a:cubicBezTo>
                  <a:pt x="192047" y="-333"/>
                  <a:pt x="233514" y="36574"/>
                  <a:pt x="238882" y="85458"/>
                </a:cubicBezTo>
                <a:lnTo>
                  <a:pt x="239458" y="96682"/>
                </a:lnTo>
                <a:lnTo>
                  <a:pt x="239458" y="266862"/>
                </a:lnTo>
                <a:cubicBezTo>
                  <a:pt x="402245" y="96453"/>
                  <a:pt x="627721" y="146"/>
                  <a:pt x="863389" y="368"/>
                </a:cubicBezTo>
                <a:close/>
                <a:moveTo>
                  <a:pt x="791441" y="384089"/>
                </a:moveTo>
                <a:cubicBezTo>
                  <a:pt x="827396" y="384091"/>
                  <a:pt x="857825" y="410633"/>
                  <a:pt x="862717" y="446252"/>
                </a:cubicBezTo>
                <a:lnTo>
                  <a:pt x="863389" y="456037"/>
                </a:lnTo>
                <a:lnTo>
                  <a:pt x="863389" y="863741"/>
                </a:lnTo>
                <a:lnTo>
                  <a:pt x="1079232" y="863741"/>
                </a:lnTo>
                <a:cubicBezTo>
                  <a:pt x="1118966" y="863751"/>
                  <a:pt x="1151170" y="895974"/>
                  <a:pt x="1151161" y="935708"/>
                </a:cubicBezTo>
                <a:cubicBezTo>
                  <a:pt x="1151151" y="971653"/>
                  <a:pt x="1124617" y="1002063"/>
                  <a:pt x="1089017" y="1006965"/>
                </a:cubicBezTo>
                <a:lnTo>
                  <a:pt x="1079232" y="1007637"/>
                </a:lnTo>
                <a:lnTo>
                  <a:pt x="791441" y="1007637"/>
                </a:lnTo>
                <a:cubicBezTo>
                  <a:pt x="755486" y="1007637"/>
                  <a:pt x="725057" y="981093"/>
                  <a:pt x="720165" y="945474"/>
                </a:cubicBezTo>
                <a:lnTo>
                  <a:pt x="719493" y="935689"/>
                </a:lnTo>
                <a:lnTo>
                  <a:pt x="719493" y="456037"/>
                </a:lnTo>
                <a:cubicBezTo>
                  <a:pt x="719493" y="416302"/>
                  <a:pt x="751707" y="384089"/>
                  <a:pt x="791441" y="384089"/>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solidFill>
                <a:srgbClr val="FFFFFF"/>
              </a:solidFill>
              <a:effectLst/>
              <a:uLnTx/>
              <a:uFillTx/>
              <a:latin typeface="Segoe UI Variable Display Semib" pitchFamily="2" charset="0"/>
              <a:ea typeface="+mn-ea"/>
              <a:cs typeface="Segoe Sans Display Semibold" pitchFamily="2" charset="0"/>
            </a:endParaRPr>
          </a:p>
        </p:txBody>
      </p:sp>
      <p:sp>
        <p:nvSpPr>
          <p:cNvPr id="11" name="Graphic 80">
            <a:extLst>
              <a:ext uri="{FF2B5EF4-FFF2-40B4-BE49-F238E27FC236}">
                <a16:creationId xmlns:a16="http://schemas.microsoft.com/office/drawing/2014/main" id="{483578E9-0BB5-A0B2-04A1-605E8A92F1FA}"/>
              </a:ext>
              <a:ext uri="{C183D7F6-B498-43B3-948B-1728B52AA6E4}">
                <adec:decorative xmlns:adec="http://schemas.microsoft.com/office/drawing/2017/decorative" val="1"/>
              </a:ext>
            </a:extLst>
          </p:cNvPr>
          <p:cNvSpPr>
            <a:spLocks/>
          </p:cNvSpPr>
          <p:nvPr/>
        </p:nvSpPr>
        <p:spPr>
          <a:xfrm>
            <a:off x="6102302" y="4903001"/>
            <a:ext cx="205452" cy="283362"/>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9" name="Freeform: Shape 40">
            <a:extLst>
              <a:ext uri="{FF2B5EF4-FFF2-40B4-BE49-F238E27FC236}">
                <a16:creationId xmlns:a16="http://schemas.microsoft.com/office/drawing/2014/main" id="{97073176-9F52-A43D-B6E0-77DAA6168CE9}"/>
              </a:ext>
              <a:ext uri="{C183D7F6-B498-43B3-948B-1728B52AA6E4}">
                <adec:decorative xmlns:adec="http://schemas.microsoft.com/office/drawing/2017/decorative" val="1"/>
              </a:ext>
            </a:extLst>
          </p:cNvPr>
          <p:cNvSpPr/>
          <p:nvPr/>
        </p:nvSpPr>
        <p:spPr>
          <a:xfrm>
            <a:off x="9073745" y="4921757"/>
            <a:ext cx="245850" cy="245850"/>
          </a:xfrm>
          <a:custGeom>
            <a:avLst/>
            <a:gdLst>
              <a:gd name="connsiteX0" fmla="*/ 71967 w 323850"/>
              <a:gd name="connsiteY0" fmla="*/ 53975 h 323850"/>
              <a:gd name="connsiteX1" fmla="*/ 81508 w 323850"/>
              <a:gd name="connsiteY1" fmla="*/ 57927 h 323850"/>
              <a:gd name="connsiteX2" fmla="*/ 139435 w 323850"/>
              <a:gd name="connsiteY2" fmla="*/ 115853 h 323850"/>
              <a:gd name="connsiteX3" fmla="*/ 174874 w 323850"/>
              <a:gd name="connsiteY3" fmla="*/ 80416 h 323850"/>
              <a:gd name="connsiteX4" fmla="*/ 193956 w 323850"/>
              <a:gd name="connsiteY4" fmla="*/ 80416 h 323850"/>
              <a:gd name="connsiteX5" fmla="*/ 287894 w 323850"/>
              <a:gd name="connsiteY5" fmla="*/ 174353 h 323850"/>
              <a:gd name="connsiteX6" fmla="*/ 287894 w 323850"/>
              <a:gd name="connsiteY6" fmla="*/ 116855 h 323850"/>
              <a:gd name="connsiteX7" fmla="*/ 301387 w 323850"/>
              <a:gd name="connsiteY7" fmla="*/ 103361 h 323850"/>
              <a:gd name="connsiteX8" fmla="*/ 314881 w 323850"/>
              <a:gd name="connsiteY8" fmla="*/ 116855 h 323850"/>
              <a:gd name="connsiteX9" fmla="*/ 314881 w 323850"/>
              <a:gd name="connsiteY9" fmla="*/ 206903 h 323850"/>
              <a:gd name="connsiteX10" fmla="*/ 301387 w 323850"/>
              <a:gd name="connsiteY10" fmla="*/ 220397 h 323850"/>
              <a:gd name="connsiteX11" fmla="*/ 211402 w 323850"/>
              <a:gd name="connsiteY11" fmla="*/ 220397 h 323850"/>
              <a:gd name="connsiteX12" fmla="*/ 197908 w 323850"/>
              <a:gd name="connsiteY12" fmla="*/ 206903 h 323850"/>
              <a:gd name="connsiteX13" fmla="*/ 211402 w 323850"/>
              <a:gd name="connsiteY13" fmla="*/ 193409 h 323850"/>
              <a:gd name="connsiteX14" fmla="*/ 268783 w 323850"/>
              <a:gd name="connsiteY14" fmla="*/ 193409 h 323850"/>
              <a:gd name="connsiteX15" fmla="*/ 184415 w 323850"/>
              <a:gd name="connsiteY15" fmla="*/ 109041 h 323850"/>
              <a:gd name="connsiteX16" fmla="*/ 148976 w 323850"/>
              <a:gd name="connsiteY16" fmla="*/ 144478 h 323850"/>
              <a:gd name="connsiteX17" fmla="*/ 129894 w 323850"/>
              <a:gd name="connsiteY17" fmla="*/ 144478 h 323850"/>
              <a:gd name="connsiteX18" fmla="*/ 62425 w 323850"/>
              <a:gd name="connsiteY18" fmla="*/ 77009 h 323850"/>
              <a:gd name="connsiteX19" fmla="*/ 62425 w 323850"/>
              <a:gd name="connsiteY19" fmla="*/ 57927 h 323850"/>
              <a:gd name="connsiteX20" fmla="*/ 71967 w 323850"/>
              <a:gd name="connsiteY20" fmla="*/ 53975 h 323850"/>
              <a:gd name="connsiteX21" fmla="*/ 13494 w 323850"/>
              <a:gd name="connsiteY21" fmla="*/ 0 h 323850"/>
              <a:gd name="connsiteX22" fmla="*/ 26988 w 323850"/>
              <a:gd name="connsiteY22" fmla="*/ 13494 h 323850"/>
              <a:gd name="connsiteX23" fmla="*/ 26988 w 323850"/>
              <a:gd name="connsiteY23" fmla="*/ 265377 h 323850"/>
              <a:gd name="connsiteX24" fmla="*/ 58473 w 323850"/>
              <a:gd name="connsiteY24" fmla="*/ 296863 h 323850"/>
              <a:gd name="connsiteX25" fmla="*/ 310356 w 323850"/>
              <a:gd name="connsiteY25" fmla="*/ 296863 h 323850"/>
              <a:gd name="connsiteX26" fmla="*/ 323850 w 323850"/>
              <a:gd name="connsiteY26" fmla="*/ 310356 h 323850"/>
              <a:gd name="connsiteX27" fmla="*/ 310356 w 323850"/>
              <a:gd name="connsiteY27" fmla="*/ 323850 h 323850"/>
              <a:gd name="connsiteX28" fmla="*/ 58473 w 323850"/>
              <a:gd name="connsiteY28" fmla="*/ 323850 h 323850"/>
              <a:gd name="connsiteX29" fmla="*/ 0 w 323850"/>
              <a:gd name="connsiteY29" fmla="*/ 265377 h 323850"/>
              <a:gd name="connsiteX30" fmla="*/ 0 w 323850"/>
              <a:gd name="connsiteY30" fmla="*/ 13494 h 323850"/>
              <a:gd name="connsiteX31" fmla="*/ 13494 w 323850"/>
              <a:gd name="connsiteY31"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23850">
                <a:moveTo>
                  <a:pt x="71967" y="53975"/>
                </a:moveTo>
                <a:cubicBezTo>
                  <a:pt x="75421" y="53975"/>
                  <a:pt x="78874" y="55292"/>
                  <a:pt x="81508" y="57927"/>
                </a:cubicBezTo>
                <a:lnTo>
                  <a:pt x="139435" y="115853"/>
                </a:lnTo>
                <a:lnTo>
                  <a:pt x="174874" y="80416"/>
                </a:lnTo>
                <a:cubicBezTo>
                  <a:pt x="180143" y="75147"/>
                  <a:pt x="188686" y="75147"/>
                  <a:pt x="193956" y="80416"/>
                </a:cubicBezTo>
                <a:lnTo>
                  <a:pt x="287894" y="174353"/>
                </a:lnTo>
                <a:lnTo>
                  <a:pt x="287894" y="116855"/>
                </a:lnTo>
                <a:cubicBezTo>
                  <a:pt x="287894" y="109403"/>
                  <a:pt x="293935" y="103361"/>
                  <a:pt x="301387" y="103361"/>
                </a:cubicBezTo>
                <a:cubicBezTo>
                  <a:pt x="308841" y="103361"/>
                  <a:pt x="314881" y="109403"/>
                  <a:pt x="314881" y="116855"/>
                </a:cubicBezTo>
                <a:lnTo>
                  <a:pt x="314881" y="206903"/>
                </a:lnTo>
                <a:cubicBezTo>
                  <a:pt x="314881" y="214356"/>
                  <a:pt x="308840" y="220397"/>
                  <a:pt x="301387" y="220397"/>
                </a:cubicBezTo>
                <a:lnTo>
                  <a:pt x="211402" y="220397"/>
                </a:lnTo>
                <a:cubicBezTo>
                  <a:pt x="203950" y="220397"/>
                  <a:pt x="197908" y="214356"/>
                  <a:pt x="197908" y="206903"/>
                </a:cubicBezTo>
                <a:cubicBezTo>
                  <a:pt x="197908" y="199451"/>
                  <a:pt x="203950" y="193409"/>
                  <a:pt x="211402" y="193409"/>
                </a:cubicBezTo>
                <a:lnTo>
                  <a:pt x="268783" y="193409"/>
                </a:lnTo>
                <a:lnTo>
                  <a:pt x="184415" y="109041"/>
                </a:lnTo>
                <a:lnTo>
                  <a:pt x="148976" y="144478"/>
                </a:lnTo>
                <a:cubicBezTo>
                  <a:pt x="143707" y="149748"/>
                  <a:pt x="135164" y="149748"/>
                  <a:pt x="129894" y="144478"/>
                </a:cubicBezTo>
                <a:lnTo>
                  <a:pt x="62425" y="77009"/>
                </a:lnTo>
                <a:cubicBezTo>
                  <a:pt x="57156" y="71739"/>
                  <a:pt x="57156" y="63197"/>
                  <a:pt x="62425" y="57927"/>
                </a:cubicBezTo>
                <a:cubicBezTo>
                  <a:pt x="65060" y="55292"/>
                  <a:pt x="68514" y="53975"/>
                  <a:pt x="71967" y="53975"/>
                </a:cubicBezTo>
                <a:close/>
                <a:moveTo>
                  <a:pt x="13494" y="0"/>
                </a:moveTo>
                <a:cubicBezTo>
                  <a:pt x="20946" y="0"/>
                  <a:pt x="26988" y="6041"/>
                  <a:pt x="26988" y="13494"/>
                </a:cubicBezTo>
                <a:lnTo>
                  <a:pt x="26988" y="265377"/>
                </a:lnTo>
                <a:cubicBezTo>
                  <a:pt x="26988" y="282766"/>
                  <a:pt x="41084" y="296863"/>
                  <a:pt x="58473" y="296863"/>
                </a:cubicBezTo>
                <a:lnTo>
                  <a:pt x="310356" y="296863"/>
                </a:lnTo>
                <a:cubicBezTo>
                  <a:pt x="317808" y="296863"/>
                  <a:pt x="323850" y="302904"/>
                  <a:pt x="323850" y="310356"/>
                </a:cubicBezTo>
                <a:cubicBezTo>
                  <a:pt x="323850" y="317808"/>
                  <a:pt x="317808" y="323850"/>
                  <a:pt x="310356" y="323850"/>
                </a:cubicBezTo>
                <a:lnTo>
                  <a:pt x="58473" y="323850"/>
                </a:lnTo>
                <a:cubicBezTo>
                  <a:pt x="26179" y="323850"/>
                  <a:pt x="0" y="297670"/>
                  <a:pt x="0" y="265377"/>
                </a:cubicBezTo>
                <a:lnTo>
                  <a:pt x="0" y="13494"/>
                </a:lnTo>
                <a:cubicBezTo>
                  <a:pt x="0" y="6041"/>
                  <a:pt x="6041" y="0"/>
                  <a:pt x="13494"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grpSp>
        <p:nvGrpSpPr>
          <p:cNvPr id="4" name="Group 3">
            <a:extLst>
              <a:ext uri="{FF2B5EF4-FFF2-40B4-BE49-F238E27FC236}">
                <a16:creationId xmlns:a16="http://schemas.microsoft.com/office/drawing/2014/main" id="{D1930754-9315-2FD6-8BF1-7772A3C01DD3}"/>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6" name="Straight Connector 5">
              <a:extLst>
                <a:ext uri="{FF2B5EF4-FFF2-40B4-BE49-F238E27FC236}">
                  <a16:creationId xmlns:a16="http://schemas.microsoft.com/office/drawing/2014/main" id="{38D90A44-3A79-6556-3C32-376BCBBC6393}"/>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1FF29AC-2A3D-C412-BD12-EEF3793FFFF0}"/>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 Placeholder 11">
            <a:extLst>
              <a:ext uri="{FF2B5EF4-FFF2-40B4-BE49-F238E27FC236}">
                <a16:creationId xmlns:a16="http://schemas.microsoft.com/office/drawing/2014/main" id="{EF3C94B5-D9AF-4523-5B12-8496DD7551F4}"/>
              </a:ext>
            </a:extLst>
          </p:cNvPr>
          <p:cNvSpPr txBox="1">
            <a:spLocks noGrp="1"/>
          </p:cNvSpPr>
          <p:nvPr>
            <p:ph type="title" idx="4294967295"/>
          </p:nvPr>
        </p:nvSpPr>
        <p:spPr>
          <a:xfrm>
            <a:off x="306028" y="2019300"/>
            <a:ext cx="2430463" cy="15382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b="0" kern="1200" cap="none" spc="0" baseline="0">
                <a:ln w="3175">
                  <a:noFill/>
                </a:ln>
                <a:solidFill>
                  <a:schemeClr val="tx1"/>
                </a:solidFill>
                <a:effectLst/>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latin typeface="+mj-lt"/>
                <a:ea typeface="+mj-ea"/>
                <a:cs typeface="+mj-cs"/>
              </a:rPr>
              <a:t>Real-time insights enhance worker safety while lowering operational costs at Chevron</a:t>
            </a:r>
          </a:p>
        </p:txBody>
      </p:sp>
      <p:pic>
        <p:nvPicPr>
          <p:cNvPr id="2" name="Picture 12" descr="Chevron logo">
            <a:extLst>
              <a:ext uri="{FF2B5EF4-FFF2-40B4-BE49-F238E27FC236}">
                <a16:creationId xmlns:a16="http://schemas.microsoft.com/office/drawing/2014/main" id="{80F3E3C6-79CB-C5D3-C17B-BCFA1122D124}"/>
              </a:ext>
              <a:ext uri="{C183D7F6-B498-43B3-948B-1728B52AA6E4}">
                <adec:decorative xmlns:adec="http://schemas.microsoft.com/office/drawing/2017/decorative" val="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323" r="6323"/>
          <a:stretch>
            <a:fillRect/>
          </a:stretch>
        </p:blipFill>
        <p:spPr bwMode="auto">
          <a:xfrm>
            <a:off x="306028" y="343681"/>
            <a:ext cx="995868" cy="1177376"/>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hlinkClick r:id="rId4"/>
            <a:extLst>
              <a:ext uri="{FF2B5EF4-FFF2-40B4-BE49-F238E27FC236}">
                <a16:creationId xmlns:a16="http://schemas.microsoft.com/office/drawing/2014/main" id="{BD7617AD-A598-0B6F-4A76-E817678B3962}"/>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7" name="Picture 6" descr="An industrial worker with a helmet">
            <a:extLst>
              <a:ext uri="{FF2B5EF4-FFF2-40B4-BE49-F238E27FC236}">
                <a16:creationId xmlns:a16="http://schemas.microsoft.com/office/drawing/2014/main" id="{8607397F-2F3E-742D-CF1A-378B9D48C415}"/>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30860" y="419480"/>
            <a:ext cx="8638575" cy="2611318"/>
          </a:xfrm>
          <a:prstGeom prst="roundRect">
            <a:avLst>
              <a:gd name="adj" fmla="val 4146"/>
            </a:avLst>
          </a:prstGeom>
        </p:spPr>
      </p:pic>
      <p:sp>
        <p:nvSpPr>
          <p:cNvPr id="12" name="Text Placeholder 9">
            <a:extLst>
              <a:ext uri="{FF2B5EF4-FFF2-40B4-BE49-F238E27FC236}">
                <a16:creationId xmlns:a16="http://schemas.microsoft.com/office/drawing/2014/main" id="{9824B7CB-49BB-1A0E-7970-56A62F7DABF4}"/>
              </a:ext>
            </a:extLst>
          </p:cNvPr>
          <p:cNvSpPr txBox="1">
            <a:spLocks/>
          </p:cNvSpPr>
          <p:nvPr/>
        </p:nvSpPr>
        <p:spPr>
          <a:xfrm>
            <a:off x="3133725" y="3207069"/>
            <a:ext cx="8635710" cy="9079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With Azure IoT Operations, we can dynamically monitor operations and make adjustments automatically to increase efficiency. More sophisticated operational oversight also enhances worker safety and productivity.”	</a:t>
            </a:r>
            <a:endParaRPr kumimoji="0" lang="en-US" sz="1400" b="0" i="0" u="none" strike="noStrike" kern="1200" cap="none" spc="0" normalizeH="0" baseline="0" noProof="0">
              <a:ln>
                <a:noFill/>
              </a:ln>
              <a:solidFill>
                <a:srgbClr val="2F2F2F"/>
              </a:solidFill>
              <a:effectLst/>
              <a:uLnTx/>
              <a:uFillTx/>
              <a:latin typeface="Segoe UI"/>
              <a:ea typeface="+mn-ea"/>
              <a:cs typeface="Segoe Sans Display" pitchFamily="2" charset="0"/>
            </a:endParaRP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Raymond Smelley,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GM of IT Foundation Platform, Chevron</a:t>
            </a:r>
          </a:p>
        </p:txBody>
      </p:sp>
      <p:sp>
        <p:nvSpPr>
          <p:cNvPr id="13" name="TextBox 24_1">
            <a:extLst>
              <a:ext uri="{FF2B5EF4-FFF2-40B4-BE49-F238E27FC236}">
                <a16:creationId xmlns:a16="http://schemas.microsoft.com/office/drawing/2014/main" id="{669329CE-6F84-EF65-2CD9-B1779EB6B892}"/>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15" name="TextBox 14">
            <a:extLst>
              <a:ext uri="{FF2B5EF4-FFF2-40B4-BE49-F238E27FC236}">
                <a16:creationId xmlns:a16="http://schemas.microsoft.com/office/drawing/2014/main" id="{923E26DA-424A-D08B-0AA0-ADC709ED2893}"/>
              </a:ext>
            </a:extLst>
          </p:cNvPr>
          <p:cNvSpPr txBox="1">
            <a:spLocks/>
          </p:cNvSpPr>
          <p:nvPr/>
        </p:nvSpPr>
        <p:spPr>
          <a:xfrm>
            <a:off x="3130860" y="5291424"/>
            <a:ext cx="2695690" cy="113877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Real-time insigh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al-time insights enhance worker safety while lowering operational costs, empowering staff to focus on complex, higher-value tasks rather than routine inspections</a:t>
            </a:r>
          </a:p>
        </p:txBody>
      </p:sp>
      <p:sp>
        <p:nvSpPr>
          <p:cNvPr id="17" name="TextBox 16">
            <a:extLst>
              <a:ext uri="{FF2B5EF4-FFF2-40B4-BE49-F238E27FC236}">
                <a16:creationId xmlns:a16="http://schemas.microsoft.com/office/drawing/2014/main" id="{5049C8ED-1B6F-7793-D876-76FE4974E5E3}"/>
              </a:ext>
            </a:extLst>
          </p:cNvPr>
          <p:cNvSpPr txBox="1">
            <a:spLocks/>
          </p:cNvSpPr>
          <p:nvPr/>
        </p:nvSpPr>
        <p:spPr>
          <a:xfrm>
            <a:off x="6102302" y="5291424"/>
            <a:ext cx="2695690"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Faster decision-making</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Unlocked access to connected data across a vast network of IoT devices—ultimately for greater speed to decisions. More sophisticated operational oversight also enhances worker safety and productivity</a:t>
            </a:r>
          </a:p>
        </p:txBody>
      </p:sp>
      <p:sp>
        <p:nvSpPr>
          <p:cNvPr id="19" name="TextBox 18">
            <a:extLst>
              <a:ext uri="{FF2B5EF4-FFF2-40B4-BE49-F238E27FC236}">
                <a16:creationId xmlns:a16="http://schemas.microsoft.com/office/drawing/2014/main" id="{6BDBBBCC-78AF-0B94-0C71-16672AD537D0}"/>
              </a:ext>
            </a:extLst>
          </p:cNvPr>
          <p:cNvSpPr txBox="1">
            <a:spLocks/>
          </p:cNvSpPr>
          <p:nvPr/>
        </p:nvSpPr>
        <p:spPr>
          <a:xfrm>
            <a:off x="9073745" y="5291424"/>
            <a:ext cx="2695690"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Minimized downtim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aptured data more effectively with analytics and AI to better predict anomalies, minimizing downtime and optimizing business outcomes by equipping employees with the right tools</a:t>
            </a:r>
          </a:p>
        </p:txBody>
      </p:sp>
    </p:spTree>
    <p:extLst>
      <p:ext uri="{BB962C8B-B14F-4D97-AF65-F5344CB8AC3E}">
        <p14:creationId xmlns:p14="http://schemas.microsoft.com/office/powerpoint/2010/main" val="311200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48BA4-08C5-8CD7-1D7F-14AD798435A9}"/>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309D5BBB-B022-951F-1814-F0DEE8E024F9}"/>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21" name="Rectangle: Rounded Corners 20">
            <a:extLst>
              <a:ext uri="{FF2B5EF4-FFF2-40B4-BE49-F238E27FC236}">
                <a16:creationId xmlns:a16="http://schemas.microsoft.com/office/drawing/2014/main" id="{E7F7D05F-8E6B-57B1-7DB9-3DB02F79245C}"/>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3" name="Group 2">
            <a:extLst>
              <a:ext uri="{FF2B5EF4-FFF2-40B4-BE49-F238E27FC236}">
                <a16:creationId xmlns:a16="http://schemas.microsoft.com/office/drawing/2014/main" id="{5D3E6EAA-DBDE-629C-2C43-35263AE2B26B}"/>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6" name="Straight Connector 5">
              <a:extLst>
                <a:ext uri="{FF2B5EF4-FFF2-40B4-BE49-F238E27FC236}">
                  <a16:creationId xmlns:a16="http://schemas.microsoft.com/office/drawing/2014/main" id="{6CFC0F23-3468-8107-D00A-CE8215D1C320}"/>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E4A6037-B0D2-C3AD-88DE-780E171D5405}"/>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Graphic 36">
            <a:extLst>
              <a:ext uri="{FF2B5EF4-FFF2-40B4-BE49-F238E27FC236}">
                <a16:creationId xmlns:a16="http://schemas.microsoft.com/office/drawing/2014/main" id="{975502A5-8B17-8E42-9DF9-5F24D3C99CBE}"/>
              </a:ext>
              <a:ext uri="{C183D7F6-B498-43B3-948B-1728B52AA6E4}">
                <adec:decorative xmlns:adec="http://schemas.microsoft.com/office/drawing/2017/decorative" val="1"/>
              </a:ext>
            </a:extLst>
          </p:cNvPr>
          <p:cNvSpPr>
            <a:spLocks/>
          </p:cNvSpPr>
          <p:nvPr/>
        </p:nvSpPr>
        <p:spPr>
          <a:xfrm>
            <a:off x="9073745" y="4901679"/>
            <a:ext cx="271712" cy="286006"/>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8" name="Graphic 31">
            <a:extLst>
              <a:ext uri="{FF2B5EF4-FFF2-40B4-BE49-F238E27FC236}">
                <a16:creationId xmlns:a16="http://schemas.microsoft.com/office/drawing/2014/main" id="{7EAE001E-B771-8968-D0D5-D8EAC4BB32CB}"/>
              </a:ext>
              <a:ext uri="{C183D7F6-B498-43B3-948B-1728B52AA6E4}">
                <adec:decorative xmlns:adec="http://schemas.microsoft.com/office/drawing/2017/decorative" val="1"/>
              </a:ext>
            </a:extLst>
          </p:cNvPr>
          <p:cNvSpPr>
            <a:spLocks/>
          </p:cNvSpPr>
          <p:nvPr/>
        </p:nvSpPr>
        <p:spPr>
          <a:xfrm>
            <a:off x="3118256" y="4938762"/>
            <a:ext cx="274080" cy="273836"/>
          </a:xfrm>
          <a:custGeom>
            <a:avLst/>
            <a:gdLst>
              <a:gd name="connsiteX0" fmla="*/ 65787 w 200041"/>
              <a:gd name="connsiteY0" fmla="*/ 138093 h 199832"/>
              <a:gd name="connsiteX1" fmla="*/ 95276 w 200041"/>
              <a:gd name="connsiteY1" fmla="*/ 138093 h 199832"/>
              <a:gd name="connsiteX2" fmla="*/ 95276 w 200041"/>
              <a:gd name="connsiteY2" fmla="*/ 142856 h 199832"/>
              <a:gd name="connsiteX3" fmla="*/ 108449 w 200041"/>
              <a:gd name="connsiteY3" fmla="*/ 181813 h 199832"/>
              <a:gd name="connsiteX4" fmla="*/ 95276 w 200041"/>
              <a:gd name="connsiteY4" fmla="*/ 190481 h 199832"/>
              <a:gd name="connsiteX5" fmla="*/ 66339 w 200041"/>
              <a:gd name="connsiteY5" fmla="*/ 140903 h 199832"/>
              <a:gd name="connsiteX6" fmla="*/ 65787 w 200041"/>
              <a:gd name="connsiteY6" fmla="*/ 138103 h 199832"/>
              <a:gd name="connsiteX7" fmla="*/ 63596 w 200041"/>
              <a:gd name="connsiteY7" fmla="*/ 123815 h 199832"/>
              <a:gd name="connsiteX8" fmla="*/ 95276 w 200041"/>
              <a:gd name="connsiteY8" fmla="*/ 123815 h 199832"/>
              <a:gd name="connsiteX9" fmla="*/ 95276 w 200041"/>
              <a:gd name="connsiteY9" fmla="*/ 109528 h 199832"/>
              <a:gd name="connsiteX10" fmla="*/ 108697 w 200041"/>
              <a:gd name="connsiteY10" fmla="*/ 95050 h 199832"/>
              <a:gd name="connsiteX11" fmla="*/ 128547 w 200041"/>
              <a:gd name="connsiteY11" fmla="*/ 88954 h 199832"/>
              <a:gd name="connsiteX12" fmla="*/ 127890 w 200041"/>
              <a:gd name="connsiteY12" fmla="*/ 76190 h 199832"/>
              <a:gd name="connsiteX13" fmla="*/ 62653 w 200041"/>
              <a:gd name="connsiteY13" fmla="*/ 76190 h 199832"/>
              <a:gd name="connsiteX14" fmla="*/ 62339 w 200041"/>
              <a:gd name="connsiteY14" fmla="*/ 80839 h 199832"/>
              <a:gd name="connsiteX15" fmla="*/ 63596 w 200041"/>
              <a:gd name="connsiteY15" fmla="*/ 123806 h 199832"/>
              <a:gd name="connsiteX16" fmla="*/ 188631 w 200041"/>
              <a:gd name="connsiteY16" fmla="*/ 76190 h 199832"/>
              <a:gd name="connsiteX17" fmla="*/ 190536 w 200041"/>
              <a:gd name="connsiteY17" fmla="*/ 94193 h 199832"/>
              <a:gd name="connsiteX18" fmla="*/ 162294 w 200041"/>
              <a:gd name="connsiteY18" fmla="*/ 79486 h 199832"/>
              <a:gd name="connsiteX19" fmla="*/ 155560 w 200041"/>
              <a:gd name="connsiteY19" fmla="*/ 76190 h 199832"/>
              <a:gd name="connsiteX20" fmla="*/ 188631 w 200041"/>
              <a:gd name="connsiteY20" fmla="*/ 76190 h 199832"/>
              <a:gd name="connsiteX21" fmla="*/ 10170 w 200041"/>
              <a:gd name="connsiteY21" fmla="*/ 138093 h 199832"/>
              <a:gd name="connsiteX22" fmla="*/ 51185 w 200041"/>
              <a:gd name="connsiteY22" fmla="*/ 138093 h 199832"/>
              <a:gd name="connsiteX23" fmla="*/ 68254 w 200041"/>
              <a:gd name="connsiteY23" fmla="*/ 186604 h 199832"/>
              <a:gd name="connsiteX24" fmla="*/ 11571 w 200041"/>
              <a:gd name="connsiteY24" fmla="*/ 140751 h 199832"/>
              <a:gd name="connsiteX25" fmla="*/ 10170 w 200041"/>
              <a:gd name="connsiteY25" fmla="*/ 138093 h 199832"/>
              <a:gd name="connsiteX26" fmla="*/ 1912 w 200041"/>
              <a:gd name="connsiteY26" fmla="*/ 76181 h 199832"/>
              <a:gd name="connsiteX27" fmla="*/ 48299 w 200041"/>
              <a:gd name="connsiteY27" fmla="*/ 76181 h 199832"/>
              <a:gd name="connsiteX28" fmla="*/ 48613 w 200041"/>
              <a:gd name="connsiteY28" fmla="*/ 118281 h 199832"/>
              <a:gd name="connsiteX29" fmla="*/ 49166 w 200041"/>
              <a:gd name="connsiteY29" fmla="*/ 123806 h 199832"/>
              <a:gd name="connsiteX30" fmla="*/ 4370 w 200041"/>
              <a:gd name="connsiteY30" fmla="*/ 123806 h 199832"/>
              <a:gd name="connsiteX31" fmla="*/ 1912 w 200041"/>
              <a:gd name="connsiteY31" fmla="*/ 76181 h 199832"/>
              <a:gd name="connsiteX32" fmla="*/ 123318 w 200041"/>
              <a:gd name="connsiteY32" fmla="*/ 5467 h 199832"/>
              <a:gd name="connsiteX33" fmla="*/ 122289 w 200041"/>
              <a:gd name="connsiteY33" fmla="*/ 3848 h 199832"/>
              <a:gd name="connsiteX34" fmla="*/ 184545 w 200041"/>
              <a:gd name="connsiteY34" fmla="*/ 61893 h 199832"/>
              <a:gd name="connsiteX35" fmla="*/ 140806 w 200041"/>
              <a:gd name="connsiteY35" fmla="*/ 61893 h 199832"/>
              <a:gd name="connsiteX36" fmla="*/ 123308 w 200041"/>
              <a:gd name="connsiteY36" fmla="*/ 5477 h 199832"/>
              <a:gd name="connsiteX37" fmla="*/ 67082 w 200041"/>
              <a:gd name="connsiteY37" fmla="*/ 4210 h 199832"/>
              <a:gd name="connsiteX38" fmla="*/ 68244 w 200041"/>
              <a:gd name="connsiteY38" fmla="*/ 3858 h 199832"/>
              <a:gd name="connsiteX39" fmla="*/ 50309 w 200041"/>
              <a:gd name="connsiteY39" fmla="*/ 57712 h 199832"/>
              <a:gd name="connsiteX40" fmla="*/ 49728 w 200041"/>
              <a:gd name="connsiteY40" fmla="*/ 61903 h 199832"/>
              <a:gd name="connsiteX41" fmla="*/ 6008 w 200041"/>
              <a:gd name="connsiteY41" fmla="*/ 61903 h 199832"/>
              <a:gd name="connsiteX42" fmla="*/ 67082 w 200041"/>
              <a:gd name="connsiteY42" fmla="*/ 4201 h 199832"/>
              <a:gd name="connsiteX43" fmla="*/ 95276 w 200041"/>
              <a:gd name="connsiteY43" fmla="*/ 0 h 199832"/>
              <a:gd name="connsiteX44" fmla="*/ 125890 w 200041"/>
              <a:gd name="connsiteY44" fmla="*/ 58893 h 199832"/>
              <a:gd name="connsiteX45" fmla="*/ 126328 w 200041"/>
              <a:gd name="connsiteY45" fmla="*/ 61893 h 199832"/>
              <a:gd name="connsiteX46" fmla="*/ 64225 w 200041"/>
              <a:gd name="connsiteY46" fmla="*/ 61893 h 199832"/>
              <a:gd name="connsiteX47" fmla="*/ 95276 w 200041"/>
              <a:gd name="connsiteY47" fmla="*/ 0 h 199832"/>
              <a:gd name="connsiteX48" fmla="*/ 195289 w 200041"/>
              <a:gd name="connsiteY48" fmla="*/ 104537 h 199832"/>
              <a:gd name="connsiteX49" fmla="*/ 156093 w 200041"/>
              <a:gd name="connsiteY49" fmla="*/ 86725 h 199832"/>
              <a:gd name="connsiteX50" fmla="*/ 148759 w 200041"/>
              <a:gd name="connsiteY50" fmla="*/ 86725 h 199832"/>
              <a:gd name="connsiteX51" fmla="*/ 109554 w 200041"/>
              <a:gd name="connsiteY51" fmla="*/ 104537 h 199832"/>
              <a:gd name="connsiteX52" fmla="*/ 104792 w 200041"/>
              <a:gd name="connsiteY52" fmla="*/ 109518 h 199832"/>
              <a:gd name="connsiteX53" fmla="*/ 104792 w 200041"/>
              <a:gd name="connsiteY53" fmla="*/ 142856 h 199832"/>
              <a:gd name="connsiteX54" fmla="*/ 151207 w 200041"/>
              <a:gd name="connsiteY54" fmla="*/ 199644 h 199832"/>
              <a:gd name="connsiteX55" fmla="*/ 153636 w 200041"/>
              <a:gd name="connsiteY55" fmla="*/ 199644 h 199832"/>
              <a:gd name="connsiteX56" fmla="*/ 200042 w 200041"/>
              <a:gd name="connsiteY56" fmla="*/ 142856 h 199832"/>
              <a:gd name="connsiteX57" fmla="*/ 200042 w 200041"/>
              <a:gd name="connsiteY57" fmla="*/ 109518 h 199832"/>
              <a:gd name="connsiteX58" fmla="*/ 195279 w 200041"/>
              <a:gd name="connsiteY58" fmla="*/ 104537 h 19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00041" h="199832">
                <a:moveTo>
                  <a:pt x="65787" y="138093"/>
                </a:moveTo>
                <a:lnTo>
                  <a:pt x="95276" y="138093"/>
                </a:lnTo>
                <a:lnTo>
                  <a:pt x="95276" y="142856"/>
                </a:lnTo>
                <a:cubicBezTo>
                  <a:pt x="95276" y="159315"/>
                  <a:pt x="100896" y="172117"/>
                  <a:pt x="108449" y="181813"/>
                </a:cubicBezTo>
                <a:cubicBezTo>
                  <a:pt x="104268" y="187376"/>
                  <a:pt x="99763" y="190481"/>
                  <a:pt x="95276" y="190481"/>
                </a:cubicBezTo>
                <a:cubicBezTo>
                  <a:pt x="83875" y="190481"/>
                  <a:pt x="72407" y="170526"/>
                  <a:pt x="66339" y="140903"/>
                </a:cubicBezTo>
                <a:lnTo>
                  <a:pt x="65787" y="138103"/>
                </a:lnTo>
                <a:close/>
                <a:moveTo>
                  <a:pt x="63596" y="123815"/>
                </a:moveTo>
                <a:lnTo>
                  <a:pt x="95276" y="123815"/>
                </a:lnTo>
                <a:lnTo>
                  <a:pt x="95276" y="109528"/>
                </a:lnTo>
                <a:cubicBezTo>
                  <a:pt x="95276" y="101432"/>
                  <a:pt x="101715" y="95688"/>
                  <a:pt x="108697" y="95050"/>
                </a:cubicBezTo>
                <a:cubicBezTo>
                  <a:pt x="116060" y="94383"/>
                  <a:pt x="122832" y="91907"/>
                  <a:pt x="128547" y="88954"/>
                </a:cubicBezTo>
                <a:cubicBezTo>
                  <a:pt x="128439" y="84694"/>
                  <a:pt x="128220" y="80439"/>
                  <a:pt x="127890" y="76190"/>
                </a:cubicBezTo>
                <a:lnTo>
                  <a:pt x="62653" y="76190"/>
                </a:lnTo>
                <a:lnTo>
                  <a:pt x="62339" y="80839"/>
                </a:lnTo>
                <a:cubicBezTo>
                  <a:pt x="61511" y="95170"/>
                  <a:pt x="61932" y="109547"/>
                  <a:pt x="63596" y="123806"/>
                </a:cubicBezTo>
                <a:close/>
                <a:moveTo>
                  <a:pt x="188631" y="76190"/>
                </a:moveTo>
                <a:cubicBezTo>
                  <a:pt x="189812" y="82010"/>
                  <a:pt x="190469" y="88030"/>
                  <a:pt x="190536" y="94193"/>
                </a:cubicBezTo>
                <a:cubicBezTo>
                  <a:pt x="177868" y="91459"/>
                  <a:pt x="167523" y="83972"/>
                  <a:pt x="162294" y="79486"/>
                </a:cubicBezTo>
                <a:cubicBezTo>
                  <a:pt x="160364" y="77835"/>
                  <a:pt x="158047" y="76702"/>
                  <a:pt x="155560" y="76190"/>
                </a:cubicBezTo>
                <a:lnTo>
                  <a:pt x="188631" y="76190"/>
                </a:lnTo>
                <a:close/>
                <a:moveTo>
                  <a:pt x="10170" y="138093"/>
                </a:moveTo>
                <a:lnTo>
                  <a:pt x="51185" y="138093"/>
                </a:lnTo>
                <a:cubicBezTo>
                  <a:pt x="54662" y="157925"/>
                  <a:pt x="60548" y="174803"/>
                  <a:pt x="68254" y="186604"/>
                </a:cubicBezTo>
                <a:cubicBezTo>
                  <a:pt x="44040" y="179416"/>
                  <a:pt x="23659" y="162929"/>
                  <a:pt x="11571" y="140751"/>
                </a:cubicBezTo>
                <a:lnTo>
                  <a:pt x="10170" y="138093"/>
                </a:lnTo>
                <a:close/>
                <a:moveTo>
                  <a:pt x="1912" y="76181"/>
                </a:moveTo>
                <a:lnTo>
                  <a:pt x="48299" y="76181"/>
                </a:lnTo>
                <a:cubicBezTo>
                  <a:pt x="47302" y="90201"/>
                  <a:pt x="47407" y="104278"/>
                  <a:pt x="48613" y="118281"/>
                </a:cubicBezTo>
                <a:lnTo>
                  <a:pt x="49166" y="123806"/>
                </a:lnTo>
                <a:lnTo>
                  <a:pt x="4370" y="123806"/>
                </a:lnTo>
                <a:cubicBezTo>
                  <a:pt x="-455" y="108393"/>
                  <a:pt x="-1300" y="92009"/>
                  <a:pt x="1912" y="76181"/>
                </a:cubicBezTo>
                <a:close/>
                <a:moveTo>
                  <a:pt x="123318" y="5467"/>
                </a:moveTo>
                <a:lnTo>
                  <a:pt x="122289" y="3848"/>
                </a:lnTo>
                <a:cubicBezTo>
                  <a:pt x="150992" y="12369"/>
                  <a:pt x="174039" y="33856"/>
                  <a:pt x="184545" y="61893"/>
                </a:cubicBezTo>
                <a:lnTo>
                  <a:pt x="140806" y="61893"/>
                </a:lnTo>
                <a:cubicBezTo>
                  <a:pt x="137796" y="38881"/>
                  <a:pt x="131690" y="19107"/>
                  <a:pt x="123308" y="5477"/>
                </a:cubicBezTo>
                <a:close/>
                <a:moveTo>
                  <a:pt x="67082" y="4210"/>
                </a:moveTo>
                <a:lnTo>
                  <a:pt x="68244" y="3858"/>
                </a:lnTo>
                <a:cubicBezTo>
                  <a:pt x="59862" y="16716"/>
                  <a:pt x="53623" y="35566"/>
                  <a:pt x="50309" y="57712"/>
                </a:cubicBezTo>
                <a:lnTo>
                  <a:pt x="49728" y="61903"/>
                </a:lnTo>
                <a:lnTo>
                  <a:pt x="6008" y="61903"/>
                </a:lnTo>
                <a:cubicBezTo>
                  <a:pt x="16359" y="34267"/>
                  <a:pt x="38903" y="12967"/>
                  <a:pt x="67082" y="4201"/>
                </a:cubicBezTo>
                <a:close/>
                <a:moveTo>
                  <a:pt x="95276" y="0"/>
                </a:moveTo>
                <a:cubicBezTo>
                  <a:pt x="107830" y="0"/>
                  <a:pt x="120470" y="24213"/>
                  <a:pt x="125890" y="58893"/>
                </a:cubicBezTo>
                <a:lnTo>
                  <a:pt x="126328" y="61893"/>
                </a:lnTo>
                <a:lnTo>
                  <a:pt x="64225" y="61893"/>
                </a:lnTo>
                <a:cubicBezTo>
                  <a:pt x="69368" y="25613"/>
                  <a:pt x="82360" y="0"/>
                  <a:pt x="95276" y="0"/>
                </a:cubicBezTo>
                <a:close/>
                <a:moveTo>
                  <a:pt x="195289" y="104537"/>
                </a:moveTo>
                <a:cubicBezTo>
                  <a:pt x="177125" y="102899"/>
                  <a:pt x="162580" y="92278"/>
                  <a:pt x="156093" y="86725"/>
                </a:cubicBezTo>
                <a:cubicBezTo>
                  <a:pt x="153969" y="84953"/>
                  <a:pt x="150883" y="84953"/>
                  <a:pt x="148759" y="86725"/>
                </a:cubicBezTo>
                <a:cubicBezTo>
                  <a:pt x="142263" y="92278"/>
                  <a:pt x="127709" y="102899"/>
                  <a:pt x="109554" y="104537"/>
                </a:cubicBezTo>
                <a:cubicBezTo>
                  <a:pt x="106921" y="104723"/>
                  <a:pt x="104858" y="106879"/>
                  <a:pt x="104792" y="109518"/>
                </a:cubicBezTo>
                <a:lnTo>
                  <a:pt x="104792" y="142856"/>
                </a:lnTo>
                <a:cubicBezTo>
                  <a:pt x="104792" y="183080"/>
                  <a:pt x="143787" y="197301"/>
                  <a:pt x="151207" y="199644"/>
                </a:cubicBezTo>
                <a:cubicBezTo>
                  <a:pt x="151997" y="199895"/>
                  <a:pt x="152846" y="199895"/>
                  <a:pt x="153636" y="199644"/>
                </a:cubicBezTo>
                <a:cubicBezTo>
                  <a:pt x="161065" y="197301"/>
                  <a:pt x="200042" y="183071"/>
                  <a:pt x="200042" y="142856"/>
                </a:cubicBezTo>
                <a:lnTo>
                  <a:pt x="200042" y="109518"/>
                </a:lnTo>
                <a:cubicBezTo>
                  <a:pt x="199975" y="106879"/>
                  <a:pt x="197913" y="104723"/>
                  <a:pt x="195279" y="104537"/>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9" name="Graphic 38">
            <a:extLst>
              <a:ext uri="{FF2B5EF4-FFF2-40B4-BE49-F238E27FC236}">
                <a16:creationId xmlns:a16="http://schemas.microsoft.com/office/drawing/2014/main" id="{BC35810F-7C8D-458D-D781-9281077DC29A}"/>
              </a:ext>
              <a:ext uri="{C183D7F6-B498-43B3-948B-1728B52AA6E4}">
                <adec:decorative xmlns:adec="http://schemas.microsoft.com/office/drawing/2017/decorative" val="1"/>
              </a:ext>
            </a:extLst>
          </p:cNvPr>
          <p:cNvSpPr>
            <a:spLocks noChangeAspect="1"/>
          </p:cNvSpPr>
          <p:nvPr/>
        </p:nvSpPr>
        <p:spPr>
          <a:xfrm>
            <a:off x="6102302" y="4905841"/>
            <a:ext cx="281654" cy="277682"/>
          </a:xfrm>
          <a:custGeom>
            <a:avLst/>
            <a:gdLst>
              <a:gd name="connsiteX0" fmla="*/ 66675 w 160490"/>
              <a:gd name="connsiteY0" fmla="*/ 0 h 158227"/>
              <a:gd name="connsiteX1" fmla="*/ 28575 w 160490"/>
              <a:gd name="connsiteY1" fmla="*/ 38100 h 158227"/>
              <a:gd name="connsiteX2" fmla="*/ 66675 w 160490"/>
              <a:gd name="connsiteY2" fmla="*/ 76200 h 158227"/>
              <a:gd name="connsiteX3" fmla="*/ 104775 w 160490"/>
              <a:gd name="connsiteY3" fmla="*/ 38100 h 158227"/>
              <a:gd name="connsiteX4" fmla="*/ 66675 w 160490"/>
              <a:gd name="connsiteY4" fmla="*/ 0 h 158227"/>
              <a:gd name="connsiteX5" fmla="*/ 19133 w 160490"/>
              <a:gd name="connsiteY5" fmla="*/ 85725 h 158227"/>
              <a:gd name="connsiteX6" fmla="*/ 0 w 160490"/>
              <a:gd name="connsiteY6" fmla="*/ 104775 h 158227"/>
              <a:gd name="connsiteX7" fmla="*/ 20336 w 160490"/>
              <a:gd name="connsiteY7" fmla="*/ 140938 h 158227"/>
              <a:gd name="connsiteX8" fmla="*/ 66675 w 160490"/>
              <a:gd name="connsiteY8" fmla="*/ 152400 h 158227"/>
              <a:gd name="connsiteX9" fmla="*/ 78205 w 160490"/>
              <a:gd name="connsiteY9" fmla="*/ 151854 h 158227"/>
              <a:gd name="connsiteX10" fmla="*/ 66675 w 160490"/>
              <a:gd name="connsiteY10" fmla="*/ 119063 h 158227"/>
              <a:gd name="connsiteX11" fmla="*/ 78650 w 160490"/>
              <a:gd name="connsiteY11" fmla="*/ 85725 h 158227"/>
              <a:gd name="connsiteX12" fmla="*/ 19133 w 160490"/>
              <a:gd name="connsiteY12" fmla="*/ 85725 h 158227"/>
              <a:gd name="connsiteX13" fmla="*/ 82249 w 160490"/>
              <a:gd name="connsiteY13" fmla="*/ 113537 h 158227"/>
              <a:gd name="connsiteX14" fmla="*/ 95876 w 160490"/>
              <a:gd name="connsiteY14" fmla="*/ 89935 h 158227"/>
              <a:gd name="connsiteX15" fmla="*/ 94388 w 160490"/>
              <a:gd name="connsiteY15" fmla="*/ 84632 h 158227"/>
              <a:gd name="connsiteX16" fmla="*/ 102217 w 160490"/>
              <a:gd name="connsiteY16" fmla="*/ 79893 h 158227"/>
              <a:gd name="connsiteX17" fmla="*/ 105430 w 160490"/>
              <a:gd name="connsiteY17" fmla="*/ 83303 h 158227"/>
              <a:gd name="connsiteX18" fmla="*/ 133143 w 160490"/>
              <a:gd name="connsiteY18" fmla="*/ 83317 h 158227"/>
              <a:gd name="connsiteX19" fmla="*/ 136236 w 160490"/>
              <a:gd name="connsiteY19" fmla="*/ 80042 h 158227"/>
              <a:gd name="connsiteX20" fmla="*/ 144188 w 160490"/>
              <a:gd name="connsiteY20" fmla="*/ 84977 h 158227"/>
              <a:gd name="connsiteX21" fmla="*/ 142986 w 160490"/>
              <a:gd name="connsiteY21" fmla="*/ 89000 h 158227"/>
              <a:gd name="connsiteX22" fmla="*/ 156855 w 160490"/>
              <a:gd name="connsiteY22" fmla="*/ 112992 h 158227"/>
              <a:gd name="connsiteX23" fmla="*/ 160179 w 160490"/>
              <a:gd name="connsiteY23" fmla="*/ 113778 h 158227"/>
              <a:gd name="connsiteX24" fmla="*/ 160491 w 160490"/>
              <a:gd name="connsiteY24" fmla="*/ 119062 h 158227"/>
              <a:gd name="connsiteX25" fmla="*/ 160275 w 160490"/>
              <a:gd name="connsiteY25" fmla="*/ 123462 h 158227"/>
              <a:gd name="connsiteX26" fmla="*/ 155888 w 160490"/>
              <a:gd name="connsiteY26" fmla="*/ 124582 h 158227"/>
              <a:gd name="connsiteX27" fmla="*/ 142262 w 160490"/>
              <a:gd name="connsiteY27" fmla="*/ 148185 h 158227"/>
              <a:gd name="connsiteX28" fmla="*/ 143748 w 160490"/>
              <a:gd name="connsiteY28" fmla="*/ 153488 h 158227"/>
              <a:gd name="connsiteX29" fmla="*/ 135920 w 160490"/>
              <a:gd name="connsiteY29" fmla="*/ 158227 h 158227"/>
              <a:gd name="connsiteX30" fmla="*/ 132707 w 160490"/>
              <a:gd name="connsiteY30" fmla="*/ 154817 h 158227"/>
              <a:gd name="connsiteX31" fmla="*/ 104994 w 160490"/>
              <a:gd name="connsiteY31" fmla="*/ 154803 h 158227"/>
              <a:gd name="connsiteX32" fmla="*/ 101898 w 160490"/>
              <a:gd name="connsiteY32" fmla="*/ 158081 h 158227"/>
              <a:gd name="connsiteX33" fmla="*/ 93948 w 160490"/>
              <a:gd name="connsiteY33" fmla="*/ 153148 h 158227"/>
              <a:gd name="connsiteX34" fmla="*/ 95152 w 160490"/>
              <a:gd name="connsiteY34" fmla="*/ 149121 h 158227"/>
              <a:gd name="connsiteX35" fmla="*/ 81283 w 160490"/>
              <a:gd name="connsiteY35" fmla="*/ 125128 h 158227"/>
              <a:gd name="connsiteX36" fmla="*/ 77953 w 160490"/>
              <a:gd name="connsiteY36" fmla="*/ 124340 h 158227"/>
              <a:gd name="connsiteX37" fmla="*/ 77642 w 160490"/>
              <a:gd name="connsiteY37" fmla="*/ 119062 h 158227"/>
              <a:gd name="connsiteX38" fmla="*/ 77857 w 160490"/>
              <a:gd name="connsiteY38" fmla="*/ 114659 h 158227"/>
              <a:gd name="connsiteX39" fmla="*/ 82249 w 160490"/>
              <a:gd name="connsiteY39" fmla="*/ 113537 h 158227"/>
              <a:gd name="connsiteX40" fmla="*/ 128591 w 160490"/>
              <a:gd name="connsiteY40" fmla="*/ 119062 h 158227"/>
              <a:gd name="connsiteX41" fmla="*/ 119066 w 160490"/>
              <a:gd name="connsiteY41" fmla="*/ 109537 h 158227"/>
              <a:gd name="connsiteX42" fmla="*/ 109541 w 160490"/>
              <a:gd name="connsiteY42" fmla="*/ 119062 h 158227"/>
              <a:gd name="connsiteX43" fmla="*/ 119066 w 160490"/>
              <a:gd name="connsiteY43" fmla="*/ 128587 h 158227"/>
              <a:gd name="connsiteX44" fmla="*/ 128591 w 160490"/>
              <a:gd name="connsiteY44" fmla="*/ 119062 h 15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0490" h="158227">
                <a:moveTo>
                  <a:pt x="66675" y="0"/>
                </a:moveTo>
                <a:cubicBezTo>
                  <a:pt x="45633" y="0"/>
                  <a:pt x="28575" y="17058"/>
                  <a:pt x="28575" y="38100"/>
                </a:cubicBezTo>
                <a:cubicBezTo>
                  <a:pt x="28575" y="59142"/>
                  <a:pt x="45633" y="76200"/>
                  <a:pt x="66675" y="76200"/>
                </a:cubicBezTo>
                <a:cubicBezTo>
                  <a:pt x="87717" y="76200"/>
                  <a:pt x="104775" y="59142"/>
                  <a:pt x="104775" y="38100"/>
                </a:cubicBezTo>
                <a:cubicBezTo>
                  <a:pt x="104775" y="17058"/>
                  <a:pt x="87717" y="0"/>
                  <a:pt x="66675" y="0"/>
                </a:cubicBezTo>
                <a:close/>
                <a:moveTo>
                  <a:pt x="19133" y="85725"/>
                </a:moveTo>
                <a:cubicBezTo>
                  <a:pt x="8603" y="85725"/>
                  <a:pt x="0" y="94173"/>
                  <a:pt x="0" y="104775"/>
                </a:cubicBezTo>
                <a:cubicBezTo>
                  <a:pt x="0" y="120884"/>
                  <a:pt x="7933" y="133029"/>
                  <a:pt x="20336" y="140938"/>
                </a:cubicBezTo>
                <a:cubicBezTo>
                  <a:pt x="32547" y="148723"/>
                  <a:pt x="49009" y="152400"/>
                  <a:pt x="66675" y="152400"/>
                </a:cubicBezTo>
                <a:cubicBezTo>
                  <a:pt x="70588" y="152400"/>
                  <a:pt x="74443" y="152220"/>
                  <a:pt x="78205" y="151854"/>
                </a:cubicBezTo>
                <a:cubicBezTo>
                  <a:pt x="70991" y="142878"/>
                  <a:pt x="66675" y="131475"/>
                  <a:pt x="66675" y="119063"/>
                </a:cubicBezTo>
                <a:cubicBezTo>
                  <a:pt x="66675" y="106398"/>
                  <a:pt x="71169" y="94782"/>
                  <a:pt x="78650" y="85725"/>
                </a:cubicBezTo>
                <a:lnTo>
                  <a:pt x="19133" y="85725"/>
                </a:lnTo>
                <a:close/>
                <a:moveTo>
                  <a:pt x="82249" y="113537"/>
                </a:moveTo>
                <a:cubicBezTo>
                  <a:pt x="92612" y="110890"/>
                  <a:pt x="98765" y="100233"/>
                  <a:pt x="95876" y="89935"/>
                </a:cubicBezTo>
                <a:lnTo>
                  <a:pt x="94388" y="84632"/>
                </a:lnTo>
                <a:cubicBezTo>
                  <a:pt x="96808" y="82771"/>
                  <a:pt x="99431" y="81178"/>
                  <a:pt x="102217" y="79893"/>
                </a:cubicBezTo>
                <a:lnTo>
                  <a:pt x="105430" y="83303"/>
                </a:lnTo>
                <a:cubicBezTo>
                  <a:pt x="112945" y="91276"/>
                  <a:pt x="125620" y="91283"/>
                  <a:pt x="133143" y="83317"/>
                </a:cubicBezTo>
                <a:lnTo>
                  <a:pt x="136236" y="80042"/>
                </a:lnTo>
                <a:cubicBezTo>
                  <a:pt x="139073" y="81381"/>
                  <a:pt x="141738" y="83041"/>
                  <a:pt x="144188" y="84977"/>
                </a:cubicBezTo>
                <a:lnTo>
                  <a:pt x="142986" y="89000"/>
                </a:lnTo>
                <a:cubicBezTo>
                  <a:pt x="139849" y="99497"/>
                  <a:pt x="146193" y="110471"/>
                  <a:pt x="156855" y="112992"/>
                </a:cubicBezTo>
                <a:lnTo>
                  <a:pt x="160179" y="113778"/>
                </a:lnTo>
                <a:cubicBezTo>
                  <a:pt x="160385" y="115510"/>
                  <a:pt x="160491" y="117273"/>
                  <a:pt x="160491" y="119062"/>
                </a:cubicBezTo>
                <a:cubicBezTo>
                  <a:pt x="160491" y="120547"/>
                  <a:pt x="160417" y="122015"/>
                  <a:pt x="160275" y="123462"/>
                </a:cubicBezTo>
                <a:lnTo>
                  <a:pt x="155888" y="124582"/>
                </a:lnTo>
                <a:cubicBezTo>
                  <a:pt x="145526" y="127230"/>
                  <a:pt x="139373" y="137888"/>
                  <a:pt x="142262" y="148185"/>
                </a:cubicBezTo>
                <a:lnTo>
                  <a:pt x="143748" y="153488"/>
                </a:lnTo>
                <a:cubicBezTo>
                  <a:pt x="141328" y="155348"/>
                  <a:pt x="138706" y="156942"/>
                  <a:pt x="135920" y="158227"/>
                </a:cubicBezTo>
                <a:lnTo>
                  <a:pt x="132707" y="154817"/>
                </a:lnTo>
                <a:cubicBezTo>
                  <a:pt x="125193" y="146844"/>
                  <a:pt x="112517" y="146837"/>
                  <a:pt x="104994" y="154803"/>
                </a:cubicBezTo>
                <a:lnTo>
                  <a:pt x="101898" y="158081"/>
                </a:lnTo>
                <a:cubicBezTo>
                  <a:pt x="99062" y="156742"/>
                  <a:pt x="96398" y="155083"/>
                  <a:pt x="93948" y="153148"/>
                </a:cubicBezTo>
                <a:lnTo>
                  <a:pt x="95152" y="149121"/>
                </a:lnTo>
                <a:cubicBezTo>
                  <a:pt x="98288" y="138623"/>
                  <a:pt x="91945" y="127648"/>
                  <a:pt x="81283" y="125128"/>
                </a:cubicBezTo>
                <a:lnTo>
                  <a:pt x="77953" y="124340"/>
                </a:lnTo>
                <a:cubicBezTo>
                  <a:pt x="77748" y="122611"/>
                  <a:pt x="77642" y="120848"/>
                  <a:pt x="77642" y="119062"/>
                </a:cubicBezTo>
                <a:cubicBezTo>
                  <a:pt x="77642" y="117575"/>
                  <a:pt x="77714" y="116106"/>
                  <a:pt x="77857" y="114659"/>
                </a:cubicBezTo>
                <a:lnTo>
                  <a:pt x="82249" y="113537"/>
                </a:lnTo>
                <a:close/>
                <a:moveTo>
                  <a:pt x="128591" y="119062"/>
                </a:moveTo>
                <a:cubicBezTo>
                  <a:pt x="128591" y="113801"/>
                  <a:pt x="124327" y="109537"/>
                  <a:pt x="119066" y="109537"/>
                </a:cubicBezTo>
                <a:cubicBezTo>
                  <a:pt x="113806" y="109537"/>
                  <a:pt x="109541" y="113801"/>
                  <a:pt x="109541" y="119062"/>
                </a:cubicBezTo>
                <a:cubicBezTo>
                  <a:pt x="109541" y="124321"/>
                  <a:pt x="113806" y="128587"/>
                  <a:pt x="119066" y="128587"/>
                </a:cubicBezTo>
                <a:cubicBezTo>
                  <a:pt x="124327" y="128587"/>
                  <a:pt x="128591" y="124321"/>
                  <a:pt x="128591" y="119062"/>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4" name="Text Placeholder 11">
            <a:extLst>
              <a:ext uri="{FF2B5EF4-FFF2-40B4-BE49-F238E27FC236}">
                <a16:creationId xmlns:a16="http://schemas.microsoft.com/office/drawing/2014/main" id="{68DC5CDC-9429-642C-E968-66C7B47A96D3}"/>
              </a:ext>
            </a:extLst>
          </p:cNvPr>
          <p:cNvSpPr txBox="1">
            <a:spLocks noGrp="1"/>
          </p:cNvSpPr>
          <p:nvPr>
            <p:ph type="title" idx="4294967295"/>
          </p:nvPr>
        </p:nvSpPr>
        <p:spPr>
          <a:xfrm>
            <a:off x="292100" y="2019300"/>
            <a:ext cx="2425700" cy="15382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South32 links people, tech, and trust in data with Microsoft Purview Unified Catalog</a:t>
            </a:r>
          </a:p>
        </p:txBody>
      </p:sp>
      <p:pic>
        <p:nvPicPr>
          <p:cNvPr id="17" name="Picture 16" descr="South32 logo">
            <a:extLst>
              <a:ext uri="{FF2B5EF4-FFF2-40B4-BE49-F238E27FC236}">
                <a16:creationId xmlns:a16="http://schemas.microsoft.com/office/drawing/2014/main" id="{380310E6-81A3-428A-4422-156C60EB1A8B}"/>
              </a:ext>
            </a:extLst>
          </p:cNvPr>
          <p:cNvPicPr>
            <a:picLocks noChangeAspect="1"/>
          </p:cNvPicPr>
          <p:nvPr/>
        </p:nvPicPr>
        <p:blipFill>
          <a:blip r:embed="rId3"/>
          <a:srcRect l="28856" r="28380"/>
          <a:stretch>
            <a:fillRect/>
          </a:stretch>
        </p:blipFill>
        <p:spPr>
          <a:xfrm>
            <a:off x="292100" y="323292"/>
            <a:ext cx="946467" cy="1106626"/>
          </a:xfrm>
          <a:prstGeom prst="rect">
            <a:avLst/>
          </a:prstGeom>
        </p:spPr>
      </p:pic>
      <p:sp>
        <p:nvSpPr>
          <p:cNvPr id="36" name="Rectangle: Rounded Corners 35">
            <a:hlinkClick r:id="rId4"/>
            <a:extLst>
              <a:ext uri="{FF2B5EF4-FFF2-40B4-BE49-F238E27FC236}">
                <a16:creationId xmlns:a16="http://schemas.microsoft.com/office/drawing/2014/main" id="{F8B756DA-ECE0-3EC2-9F54-D566EB5247B5}"/>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7" name="Picture 6">
            <a:extLst>
              <a:ext uri="{FF2B5EF4-FFF2-40B4-BE49-F238E27FC236}">
                <a16:creationId xmlns:a16="http://schemas.microsoft.com/office/drawing/2014/main" id="{DD3DF771-0276-B09C-5194-69ECECCCB661}"/>
              </a:ext>
              <a:ext uri="{C183D7F6-B498-43B3-948B-1728B52AA6E4}">
                <adec:decorative xmlns:adec="http://schemas.microsoft.com/office/drawing/2017/decorative" val="1"/>
              </a:ext>
            </a:extLst>
          </p:cNvPr>
          <p:cNvPicPr>
            <a:picLocks/>
          </p:cNvPicPr>
          <p:nvPr/>
        </p:nvPicPr>
        <p:blipFill rotWithShape="1">
          <a:blip r:embed="rId5"/>
          <a:srcRect t="14660" b="14660"/>
          <a:stretch/>
        </p:blipFill>
        <p:spPr>
          <a:xfrm>
            <a:off x="3130860" y="419480"/>
            <a:ext cx="8638575" cy="2611318"/>
          </a:xfrm>
          <a:prstGeom prst="roundRect">
            <a:avLst>
              <a:gd name="adj" fmla="val 4146"/>
            </a:avLst>
          </a:prstGeom>
        </p:spPr>
      </p:pic>
      <p:sp>
        <p:nvSpPr>
          <p:cNvPr id="12" name="Text Placeholder 9">
            <a:extLst>
              <a:ext uri="{FF2B5EF4-FFF2-40B4-BE49-F238E27FC236}">
                <a16:creationId xmlns:a16="http://schemas.microsoft.com/office/drawing/2014/main" id="{EE0F088D-7CC3-4441-85AD-E9B5BEFC7A45}"/>
              </a:ext>
            </a:extLst>
          </p:cNvPr>
          <p:cNvSpPr txBox="1">
            <a:spLocks/>
          </p:cNvSpPr>
          <p:nvPr/>
        </p:nvSpPr>
        <p:spPr>
          <a:xfrm>
            <a:off x="3133725" y="3207069"/>
            <a:ext cx="8635710" cy="9079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Each mine site used to do things a little differently. Now we have a standard way of defining and documenting critical metrics in Purview, which means we’re all speaking the same language.”</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Hari Krishna </a:t>
            </a:r>
            <a:r>
              <a:rPr kumimoji="0" lang="en-US" sz="1400" b="0" i="0" u="none" strike="noStrike" kern="1200" cap="none" spc="0" normalizeH="0" baseline="0" noProof="0" err="1">
                <a:ln>
                  <a:noFill/>
                </a:ln>
                <a:solidFill>
                  <a:srgbClr val="0078D4"/>
                </a:solidFill>
                <a:effectLst/>
                <a:uLnTx/>
                <a:uFillTx/>
                <a:latin typeface="Segoe UI Semibold"/>
                <a:ea typeface="+mn-ea"/>
                <a:cs typeface="Segoe Sans Display" pitchFamily="2" charset="0"/>
              </a:rPr>
              <a:t>Cheeti</a:t>
            </a: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a:t>
            </a:r>
            <a:b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b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Data Governance Lead, South32</a:t>
            </a:r>
            <a:endParaRPr kumimoji="0" lang="en-US" sz="1400" b="0" i="0" u="none" strike="noStrike" kern="1200" cap="none" spc="0" normalizeH="0" baseline="0" noProof="0">
              <a:ln>
                <a:noFill/>
              </a:ln>
              <a:solidFill>
                <a:srgbClr val="000000"/>
              </a:solidFill>
              <a:effectLst/>
              <a:uLnTx/>
              <a:uFillTx/>
              <a:latin typeface="Segoe UI Semibold"/>
              <a:ea typeface="+mn-ea"/>
              <a:cs typeface="Segoe Sans Display" pitchFamily="2" charset="0"/>
            </a:endParaRPr>
          </a:p>
        </p:txBody>
      </p:sp>
      <p:sp>
        <p:nvSpPr>
          <p:cNvPr id="4" name="TextBox 24_1">
            <a:extLst>
              <a:ext uri="{FF2B5EF4-FFF2-40B4-BE49-F238E27FC236}">
                <a16:creationId xmlns:a16="http://schemas.microsoft.com/office/drawing/2014/main" id="{07A9FBA5-7ED1-C96D-0508-88507C3B6C33}"/>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5" name="TextBox 4">
            <a:extLst>
              <a:ext uri="{FF2B5EF4-FFF2-40B4-BE49-F238E27FC236}">
                <a16:creationId xmlns:a16="http://schemas.microsoft.com/office/drawing/2014/main" id="{83D6D73C-116A-0CDE-77D9-2F37371001FA}"/>
              </a:ext>
            </a:extLst>
          </p:cNvPr>
          <p:cNvSpPr txBox="1">
            <a:spLocks/>
          </p:cNvSpPr>
          <p:nvPr/>
        </p:nvSpPr>
        <p:spPr>
          <a:xfrm>
            <a:off x="3130860" y="5291424"/>
            <a:ext cx="2695690" cy="11644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Unified data</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dopted Microsoft Purview Unified Catalog to make data more trusted, accessible,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nd reusable, helping teams work more consistently across the business</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09C75A0-36CD-62BF-4FFA-993BCAAFD052}"/>
              </a:ext>
            </a:extLst>
          </p:cNvPr>
          <p:cNvSpPr txBox="1">
            <a:spLocks/>
          </p:cNvSpPr>
          <p:nvPr/>
        </p:nvSpPr>
        <p:spPr>
          <a:xfrm>
            <a:off x="6102302" y="5291424"/>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Support for critical workflow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ade trusted data available across teams, supporting critical workflows like risk and safety analytics, operational planning, and dashboard creation in tools like Power BI</a:t>
            </a:r>
          </a:p>
        </p:txBody>
      </p:sp>
      <p:sp>
        <p:nvSpPr>
          <p:cNvPr id="9" name="TextBox 8">
            <a:extLst>
              <a:ext uri="{FF2B5EF4-FFF2-40B4-BE49-F238E27FC236}">
                <a16:creationId xmlns:a16="http://schemas.microsoft.com/office/drawing/2014/main" id="{50D47FC4-09E1-142A-3C4C-56D7EAE99C6D}"/>
              </a:ext>
            </a:extLst>
          </p:cNvPr>
          <p:cNvSpPr txBox="1">
            <a:spLocks/>
          </p:cNvSpPr>
          <p:nvPr/>
        </p:nvSpPr>
        <p:spPr>
          <a:xfrm>
            <a:off x="9073745" y="5291424"/>
            <a:ext cx="2695690"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mproved trust in data</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nboarded 15 critical data domains into Purview and cataloged 30 to 50 high-priority data products across the business, including safety analytics, G360 tracking, and fleet downtime metrics</a:t>
            </a:r>
          </a:p>
        </p:txBody>
      </p:sp>
    </p:spTree>
    <p:extLst>
      <p:ext uri="{BB962C8B-B14F-4D97-AF65-F5344CB8AC3E}">
        <p14:creationId xmlns:p14="http://schemas.microsoft.com/office/powerpoint/2010/main" val="39039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B8BEC-7141-DB06-D251-34E69B234BDC}"/>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BAA0CC7-FB0C-BE48-7813-292FF19CBB12}"/>
              </a:ext>
              <a:ext uri="{C183D7F6-B498-43B3-948B-1728B52AA6E4}">
                <adec:decorative xmlns:adec="http://schemas.microsoft.com/office/drawing/2017/decorative" val="1"/>
              </a:ext>
            </a:extLst>
          </p:cNvPr>
          <p:cNvSpPr/>
          <p:nvPr/>
        </p:nvSpPr>
        <p:spPr bwMode="auto">
          <a:xfrm>
            <a:off x="749115" y="676912"/>
            <a:ext cx="10693771" cy="5504176"/>
          </a:xfrm>
          <a:prstGeom prst="roundRect">
            <a:avLst>
              <a:gd name="adj" fmla="val 6028"/>
            </a:avLst>
          </a:prstGeom>
          <a:solidFill>
            <a:srgbClr val="194449">
              <a:alpha val="10000"/>
            </a:srgbClr>
          </a:solidFill>
        </p:spPr>
        <p:txBody>
          <a:bodyPr wrap="square" lIns="0" tIns="0" rIns="0" bIns="45720" rtlCol="0" anchor="ctr" anchorCtr="0">
            <a:noAutofit/>
          </a:body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err="1">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pic>
        <p:nvPicPr>
          <p:cNvPr id="6" name="Picture 5">
            <a:extLst>
              <a:ext uri="{FF2B5EF4-FFF2-40B4-BE49-F238E27FC236}">
                <a16:creationId xmlns:a16="http://schemas.microsoft.com/office/drawing/2014/main" id="{F58FE96A-7039-4C4A-2D08-771120A26E02}"/>
              </a:ext>
              <a:ext uri="{C183D7F6-B498-43B3-948B-1728B52AA6E4}">
                <adec:decorative xmlns:adec="http://schemas.microsoft.com/office/drawing/2017/decorative" val="1"/>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24000"/>
                    </a14:imgEffect>
                  </a14:imgLayer>
                </a14:imgProps>
              </a:ext>
              <a:ext uri="{28A0092B-C50C-407E-A947-70E740481C1C}">
                <a14:useLocalDpi xmlns:a14="http://schemas.microsoft.com/office/drawing/2010/main"/>
              </a:ext>
            </a:extLst>
          </a:blip>
          <a:srcRect/>
          <a:stretch>
            <a:fillRect/>
          </a:stretch>
        </p:blipFill>
        <p:spPr>
          <a:xfrm>
            <a:off x="1130917" y="1022550"/>
            <a:ext cx="3300874" cy="4809744"/>
          </a:xfrm>
          <a:prstGeom prst="roundRect">
            <a:avLst>
              <a:gd name="adj" fmla="val 7315"/>
            </a:avLst>
          </a:prstGeom>
          <a:ln>
            <a:noFill/>
          </a:ln>
        </p:spPr>
      </p:pic>
      <p:sp>
        <p:nvSpPr>
          <p:cNvPr id="2" name="Title 1">
            <a:extLst>
              <a:ext uri="{FF2B5EF4-FFF2-40B4-BE49-F238E27FC236}">
                <a16:creationId xmlns:a16="http://schemas.microsoft.com/office/drawing/2014/main" id="{1D977281-E032-DF66-B4E0-04050CE4EEFE}"/>
              </a:ext>
            </a:extLst>
          </p:cNvPr>
          <p:cNvSpPr txBox="1">
            <a:spLocks noGrp="1"/>
          </p:cNvSpPr>
          <p:nvPr>
            <p:ph type="title" idx="4294967295"/>
          </p:nvPr>
        </p:nvSpPr>
        <p:spPr>
          <a:xfrm>
            <a:off x="4857276" y="1986296"/>
            <a:ext cx="4834657" cy="288540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defTabSz="914400">
              <a:lnSpc>
                <a:spcPts val="7500"/>
              </a:lnSpc>
              <a:spcBef>
                <a:spcPts val="0"/>
              </a:spcBef>
              <a:defRPr/>
            </a:pPr>
            <a:r>
              <a:rPr lang="en-US" sz="6600" spc="0">
                <a:ln>
                  <a:noFill/>
                </a:ln>
                <a:latin typeface="+mn-lt"/>
                <a:cs typeface="+mn-cs"/>
              </a:rPr>
              <a:t>Reinvent</a:t>
            </a:r>
            <a:br>
              <a:rPr lang="en-US" sz="6600" spc="0">
                <a:ln>
                  <a:noFill/>
                </a:ln>
                <a:latin typeface="+mn-lt"/>
                <a:cs typeface="+mn-cs"/>
              </a:rPr>
            </a:br>
            <a:r>
              <a:rPr lang="en-US" sz="6600" spc="0">
                <a:ln>
                  <a:noFill/>
                </a:ln>
                <a:latin typeface="+mn-lt"/>
                <a:cs typeface="+mn-cs"/>
              </a:rPr>
              <a:t>customer</a:t>
            </a:r>
            <a:br>
              <a:rPr lang="en-US" sz="6600" spc="0">
                <a:ln>
                  <a:noFill/>
                </a:ln>
                <a:latin typeface="+mn-lt"/>
                <a:cs typeface="+mn-cs"/>
              </a:rPr>
            </a:br>
            <a:r>
              <a:rPr lang="en-US" sz="6600" spc="0">
                <a:ln>
                  <a:noFill/>
                </a:ln>
                <a:latin typeface="+mn-lt"/>
                <a:cs typeface="+mn-cs"/>
              </a:rPr>
              <a:t>engagement</a:t>
            </a:r>
            <a:endParaRPr kumimoji="0" lang="en-US" sz="6600" b="0" i="0" u="none" strike="noStrike" kern="1200" cap="none" spc="0" normalizeH="0" baseline="0" noProof="0">
              <a:ln>
                <a:noFill/>
              </a:ln>
              <a:effectLst/>
              <a:uLnTx/>
              <a:uFillTx/>
              <a:latin typeface="+mn-lt"/>
              <a:cs typeface="+mn-cs"/>
            </a:endParaRPr>
          </a:p>
        </p:txBody>
      </p:sp>
    </p:spTree>
    <p:extLst>
      <p:ext uri="{BB962C8B-B14F-4D97-AF65-F5344CB8AC3E}">
        <p14:creationId xmlns:p14="http://schemas.microsoft.com/office/powerpoint/2010/main" val="78149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3B286-5ACE-CF9C-4C9A-8FC2BF48C755}"/>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914A69CA-06D2-CADB-3EC5-B0F14588EF3C}"/>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8" name="Rectangle: Rounded Corners 7">
            <a:extLst>
              <a:ext uri="{FF2B5EF4-FFF2-40B4-BE49-F238E27FC236}">
                <a16:creationId xmlns:a16="http://schemas.microsoft.com/office/drawing/2014/main" id="{681B6B1F-6022-F460-2926-807873955599}"/>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3" name="Graphic 148">
            <a:extLst>
              <a:ext uri="{FF2B5EF4-FFF2-40B4-BE49-F238E27FC236}">
                <a16:creationId xmlns:a16="http://schemas.microsoft.com/office/drawing/2014/main" id="{95CC9B55-7D89-F4E9-8C1F-F638AFC00EA6}"/>
              </a:ext>
              <a:ext uri="{C183D7F6-B498-43B3-948B-1728B52AA6E4}">
                <adec:decorative xmlns:adec="http://schemas.microsoft.com/office/drawing/2017/decorative" val="1"/>
              </a:ext>
            </a:extLst>
          </p:cNvPr>
          <p:cNvSpPr>
            <a:spLocks/>
          </p:cNvSpPr>
          <p:nvPr/>
        </p:nvSpPr>
        <p:spPr>
          <a:xfrm>
            <a:off x="6102302" y="4919671"/>
            <a:ext cx="262526" cy="250024"/>
          </a:xfrm>
          <a:custGeom>
            <a:avLst/>
            <a:gdLst>
              <a:gd name="connsiteX0" fmla="*/ 213768 w 266701"/>
              <a:gd name="connsiteY0" fmla="*/ 5651 h 254000"/>
              <a:gd name="connsiteX1" fmla="*/ 203202 w 266701"/>
              <a:gd name="connsiteY1" fmla="*/ 0 h 254000"/>
              <a:gd name="connsiteX2" fmla="*/ 50802 w 266701"/>
              <a:gd name="connsiteY2" fmla="*/ 0 h 254000"/>
              <a:gd name="connsiteX3" fmla="*/ 49214 w 266701"/>
              <a:gd name="connsiteY3" fmla="*/ 102 h 254000"/>
              <a:gd name="connsiteX4" fmla="*/ 39435 w 266701"/>
              <a:gd name="connsiteY4" fmla="*/ 7023 h 254000"/>
              <a:gd name="connsiteX5" fmla="*/ 1335 w 266701"/>
              <a:gd name="connsiteY5" fmla="*/ 83223 h 254000"/>
              <a:gd name="connsiteX6" fmla="*/ 675 w 266701"/>
              <a:gd name="connsiteY6" fmla="*/ 84811 h 254000"/>
              <a:gd name="connsiteX7" fmla="*/ 3266 w 266701"/>
              <a:gd name="connsiteY7" fmla="*/ 97396 h 254000"/>
              <a:gd name="connsiteX8" fmla="*/ 117337 w 266701"/>
              <a:gd name="connsiteY8" fmla="*/ 224180 h 254000"/>
              <a:gd name="connsiteX9" fmla="*/ 124093 w 266701"/>
              <a:gd name="connsiteY9" fmla="*/ 228270 h 254000"/>
              <a:gd name="connsiteX10" fmla="*/ 125516 w 266701"/>
              <a:gd name="connsiteY10" fmla="*/ 228524 h 254000"/>
              <a:gd name="connsiteX11" fmla="*/ 132577 w 266701"/>
              <a:gd name="connsiteY11" fmla="*/ 227343 h 254000"/>
              <a:gd name="connsiteX12" fmla="*/ 127002 w 266701"/>
              <a:gd name="connsiteY12" fmla="*/ 203200 h 254000"/>
              <a:gd name="connsiteX13" fmla="*/ 127002 w 266701"/>
              <a:gd name="connsiteY13" fmla="*/ 196850 h 254000"/>
              <a:gd name="connsiteX14" fmla="*/ 158752 w 266701"/>
              <a:gd name="connsiteY14" fmla="*/ 165100 h 254000"/>
              <a:gd name="connsiteX15" fmla="*/ 170817 w 266701"/>
              <a:gd name="connsiteY15" fmla="*/ 165100 h 254000"/>
              <a:gd name="connsiteX16" fmla="*/ 168328 w 266701"/>
              <a:gd name="connsiteY16" fmla="*/ 97794 h 254000"/>
              <a:gd name="connsiteX17" fmla="*/ 235634 w 266701"/>
              <a:gd name="connsiteY17" fmla="*/ 95306 h 254000"/>
              <a:gd name="connsiteX18" fmla="*/ 243740 w 266701"/>
              <a:gd name="connsiteY18" fmla="*/ 105169 h 254000"/>
              <a:gd name="connsiteX19" fmla="*/ 250738 w 266701"/>
              <a:gd name="connsiteY19" fmla="*/ 97396 h 254000"/>
              <a:gd name="connsiteX20" fmla="*/ 251805 w 266701"/>
              <a:gd name="connsiteY20" fmla="*/ 96037 h 254000"/>
              <a:gd name="connsiteX21" fmla="*/ 252656 w 266701"/>
              <a:gd name="connsiteY21" fmla="*/ 83210 h 254000"/>
              <a:gd name="connsiteX22" fmla="*/ 214556 w 266701"/>
              <a:gd name="connsiteY22" fmla="*/ 7010 h 254000"/>
              <a:gd name="connsiteX23" fmla="*/ 213768 w 266701"/>
              <a:gd name="connsiteY23" fmla="*/ 5651 h 254000"/>
              <a:gd name="connsiteX24" fmla="*/ 94274 w 266701"/>
              <a:gd name="connsiteY24" fmla="*/ 101600 h 254000"/>
              <a:gd name="connsiteX25" fmla="*/ 159717 w 266701"/>
              <a:gd name="connsiteY25" fmla="*/ 101600 h 254000"/>
              <a:gd name="connsiteX26" fmla="*/ 127002 w 266701"/>
              <a:gd name="connsiteY26" fmla="*/ 182143 h 254000"/>
              <a:gd name="connsiteX27" fmla="*/ 94274 w 266701"/>
              <a:gd name="connsiteY27" fmla="*/ 101600 h 254000"/>
              <a:gd name="connsiteX28" fmla="*/ 41226 w 266701"/>
              <a:gd name="connsiteY28" fmla="*/ 101600 h 254000"/>
              <a:gd name="connsiteX29" fmla="*/ 66855 w 266701"/>
              <a:gd name="connsiteY29" fmla="*/ 101600 h 254000"/>
              <a:gd name="connsiteX30" fmla="*/ 87937 w 266701"/>
              <a:gd name="connsiteY30" fmla="*/ 153505 h 254000"/>
              <a:gd name="connsiteX31" fmla="*/ 41226 w 266701"/>
              <a:gd name="connsiteY31" fmla="*/ 101600 h 254000"/>
              <a:gd name="connsiteX32" fmla="*/ 58650 w 266701"/>
              <a:gd name="connsiteY32" fmla="*/ 25400 h 254000"/>
              <a:gd name="connsiteX33" fmla="*/ 84101 w 266701"/>
              <a:gd name="connsiteY33" fmla="*/ 25400 h 254000"/>
              <a:gd name="connsiteX34" fmla="*/ 67591 w 266701"/>
              <a:gd name="connsiteY34" fmla="*/ 76200 h 254000"/>
              <a:gd name="connsiteX35" fmla="*/ 33250 w 266701"/>
              <a:gd name="connsiteY35" fmla="*/ 76200 h 254000"/>
              <a:gd name="connsiteX36" fmla="*/ 58650 w 266701"/>
              <a:gd name="connsiteY36" fmla="*/ 25400 h 254000"/>
              <a:gd name="connsiteX37" fmla="*/ 110822 w 266701"/>
              <a:gd name="connsiteY37" fmla="*/ 25400 h 254000"/>
              <a:gd name="connsiteX38" fmla="*/ 143169 w 266701"/>
              <a:gd name="connsiteY38" fmla="*/ 25400 h 254000"/>
              <a:gd name="connsiteX39" fmla="*/ 159666 w 266701"/>
              <a:gd name="connsiteY39" fmla="*/ 76200 h 254000"/>
              <a:gd name="connsiteX40" fmla="*/ 94325 w 266701"/>
              <a:gd name="connsiteY40" fmla="*/ 76200 h 254000"/>
              <a:gd name="connsiteX41" fmla="*/ 110822 w 266701"/>
              <a:gd name="connsiteY41" fmla="*/ 25400 h 254000"/>
              <a:gd name="connsiteX42" fmla="*/ 169890 w 266701"/>
              <a:gd name="connsiteY42" fmla="*/ 25400 h 254000"/>
              <a:gd name="connsiteX43" fmla="*/ 195340 w 266701"/>
              <a:gd name="connsiteY43" fmla="*/ 25400 h 254000"/>
              <a:gd name="connsiteX44" fmla="*/ 220740 w 266701"/>
              <a:gd name="connsiteY44" fmla="*/ 76200 h 254000"/>
              <a:gd name="connsiteX45" fmla="*/ 186400 w 266701"/>
              <a:gd name="connsiteY45" fmla="*/ 76200 h 254000"/>
              <a:gd name="connsiteX46" fmla="*/ 169890 w 266701"/>
              <a:gd name="connsiteY46" fmla="*/ 25400 h 254000"/>
              <a:gd name="connsiteX47" fmla="*/ 247652 w 266701"/>
              <a:gd name="connsiteY47" fmla="*/ 177800 h 254000"/>
              <a:gd name="connsiteX48" fmla="*/ 266702 w 266701"/>
              <a:gd name="connsiteY48" fmla="*/ 196850 h 254000"/>
              <a:gd name="connsiteX49" fmla="*/ 266702 w 266701"/>
              <a:gd name="connsiteY49" fmla="*/ 203200 h 254000"/>
              <a:gd name="connsiteX50" fmla="*/ 203202 w 266701"/>
              <a:gd name="connsiteY50" fmla="*/ 254000 h 254000"/>
              <a:gd name="connsiteX51" fmla="*/ 139702 w 266701"/>
              <a:gd name="connsiteY51" fmla="*/ 203200 h 254000"/>
              <a:gd name="connsiteX52" fmla="*/ 139702 w 266701"/>
              <a:gd name="connsiteY52" fmla="*/ 196850 h 254000"/>
              <a:gd name="connsiteX53" fmla="*/ 158752 w 266701"/>
              <a:gd name="connsiteY53" fmla="*/ 177800 h 254000"/>
              <a:gd name="connsiteX54" fmla="*/ 247652 w 266701"/>
              <a:gd name="connsiteY54" fmla="*/ 177800 h 254000"/>
              <a:gd name="connsiteX55" fmla="*/ 203202 w 266701"/>
              <a:gd name="connsiteY55" fmla="*/ 95250 h 254000"/>
              <a:gd name="connsiteX56" fmla="*/ 238127 w 266701"/>
              <a:gd name="connsiteY56" fmla="*/ 130175 h 254000"/>
              <a:gd name="connsiteX57" fmla="*/ 203202 w 266701"/>
              <a:gd name="connsiteY57" fmla="*/ 165100 h 254000"/>
              <a:gd name="connsiteX58" fmla="*/ 168277 w 266701"/>
              <a:gd name="connsiteY58" fmla="*/ 130175 h 254000"/>
              <a:gd name="connsiteX59" fmla="*/ 203202 w 266701"/>
              <a:gd name="connsiteY59" fmla="*/ 9525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66701" h="254000">
                <a:moveTo>
                  <a:pt x="213768" y="5651"/>
                </a:moveTo>
                <a:cubicBezTo>
                  <a:pt x="211412" y="2120"/>
                  <a:pt x="207447" y="-1"/>
                  <a:pt x="203202" y="0"/>
                </a:cubicBezTo>
                <a:lnTo>
                  <a:pt x="50802" y="0"/>
                </a:lnTo>
                <a:lnTo>
                  <a:pt x="49214" y="102"/>
                </a:lnTo>
                <a:cubicBezTo>
                  <a:pt x="45003" y="630"/>
                  <a:pt x="41333" y="3227"/>
                  <a:pt x="39435" y="7023"/>
                </a:cubicBezTo>
                <a:lnTo>
                  <a:pt x="1335" y="83223"/>
                </a:lnTo>
                <a:lnTo>
                  <a:pt x="675" y="84811"/>
                </a:lnTo>
                <a:cubicBezTo>
                  <a:pt x="-804" y="89165"/>
                  <a:pt x="187" y="93980"/>
                  <a:pt x="3266" y="97396"/>
                </a:cubicBezTo>
                <a:lnTo>
                  <a:pt x="117337" y="224180"/>
                </a:lnTo>
                <a:cubicBezTo>
                  <a:pt x="119083" y="226244"/>
                  <a:pt x="121456" y="227680"/>
                  <a:pt x="124093" y="228270"/>
                </a:cubicBezTo>
                <a:lnTo>
                  <a:pt x="125516" y="228524"/>
                </a:lnTo>
                <a:cubicBezTo>
                  <a:pt x="127934" y="228809"/>
                  <a:pt x="130383" y="228399"/>
                  <a:pt x="132577" y="227343"/>
                </a:cubicBezTo>
                <a:cubicBezTo>
                  <a:pt x="128925" y="219817"/>
                  <a:pt x="127020" y="211565"/>
                  <a:pt x="127002" y="203200"/>
                </a:cubicBezTo>
                <a:lnTo>
                  <a:pt x="127002" y="196850"/>
                </a:lnTo>
                <a:cubicBezTo>
                  <a:pt x="127002" y="179315"/>
                  <a:pt x="141217" y="165100"/>
                  <a:pt x="158752" y="165100"/>
                </a:cubicBezTo>
                <a:lnTo>
                  <a:pt x="170817" y="165100"/>
                </a:lnTo>
                <a:cubicBezTo>
                  <a:pt x="151544" y="147201"/>
                  <a:pt x="150430" y="117067"/>
                  <a:pt x="168328" y="97794"/>
                </a:cubicBezTo>
                <a:cubicBezTo>
                  <a:pt x="186227" y="78521"/>
                  <a:pt x="216361" y="77407"/>
                  <a:pt x="235634" y="95306"/>
                </a:cubicBezTo>
                <a:cubicBezTo>
                  <a:pt x="238767" y="98215"/>
                  <a:pt x="241493" y="101532"/>
                  <a:pt x="243740" y="105169"/>
                </a:cubicBezTo>
                <a:lnTo>
                  <a:pt x="250738" y="97396"/>
                </a:lnTo>
                <a:lnTo>
                  <a:pt x="251805" y="96037"/>
                </a:lnTo>
                <a:cubicBezTo>
                  <a:pt x="254391" y="92232"/>
                  <a:pt x="254717" y="87324"/>
                  <a:pt x="252656" y="83210"/>
                </a:cubicBezTo>
                <a:lnTo>
                  <a:pt x="214556" y="7010"/>
                </a:lnTo>
                <a:lnTo>
                  <a:pt x="213768" y="5651"/>
                </a:lnTo>
                <a:close/>
                <a:moveTo>
                  <a:pt x="94274" y="101600"/>
                </a:moveTo>
                <a:lnTo>
                  <a:pt x="159717" y="101600"/>
                </a:lnTo>
                <a:lnTo>
                  <a:pt x="127002" y="182143"/>
                </a:lnTo>
                <a:lnTo>
                  <a:pt x="94274" y="101600"/>
                </a:lnTo>
                <a:close/>
                <a:moveTo>
                  <a:pt x="41226" y="101600"/>
                </a:moveTo>
                <a:lnTo>
                  <a:pt x="66855" y="101600"/>
                </a:lnTo>
                <a:lnTo>
                  <a:pt x="87937" y="153505"/>
                </a:lnTo>
                <a:lnTo>
                  <a:pt x="41226" y="101600"/>
                </a:lnTo>
                <a:close/>
                <a:moveTo>
                  <a:pt x="58650" y="25400"/>
                </a:moveTo>
                <a:lnTo>
                  <a:pt x="84101" y="25400"/>
                </a:lnTo>
                <a:lnTo>
                  <a:pt x="67591" y="76200"/>
                </a:lnTo>
                <a:lnTo>
                  <a:pt x="33250" y="76200"/>
                </a:lnTo>
                <a:lnTo>
                  <a:pt x="58650" y="25400"/>
                </a:lnTo>
                <a:close/>
                <a:moveTo>
                  <a:pt x="110822" y="25400"/>
                </a:moveTo>
                <a:lnTo>
                  <a:pt x="143169" y="25400"/>
                </a:lnTo>
                <a:lnTo>
                  <a:pt x="159666" y="76200"/>
                </a:lnTo>
                <a:lnTo>
                  <a:pt x="94325" y="76200"/>
                </a:lnTo>
                <a:lnTo>
                  <a:pt x="110822" y="25400"/>
                </a:lnTo>
                <a:close/>
                <a:moveTo>
                  <a:pt x="169890" y="25400"/>
                </a:moveTo>
                <a:lnTo>
                  <a:pt x="195340" y="25400"/>
                </a:lnTo>
                <a:lnTo>
                  <a:pt x="220740" y="76200"/>
                </a:lnTo>
                <a:lnTo>
                  <a:pt x="186400" y="76200"/>
                </a:lnTo>
                <a:lnTo>
                  <a:pt x="169890" y="25400"/>
                </a:lnTo>
                <a:close/>
                <a:moveTo>
                  <a:pt x="247652" y="177800"/>
                </a:moveTo>
                <a:cubicBezTo>
                  <a:pt x="258173" y="177800"/>
                  <a:pt x="266702" y="186329"/>
                  <a:pt x="266702" y="196850"/>
                </a:cubicBezTo>
                <a:lnTo>
                  <a:pt x="266702" y="203200"/>
                </a:lnTo>
                <a:cubicBezTo>
                  <a:pt x="266702" y="228232"/>
                  <a:pt x="243080" y="254000"/>
                  <a:pt x="203202" y="254000"/>
                </a:cubicBezTo>
                <a:cubicBezTo>
                  <a:pt x="163324" y="254000"/>
                  <a:pt x="139702" y="228232"/>
                  <a:pt x="139702" y="203200"/>
                </a:cubicBezTo>
                <a:lnTo>
                  <a:pt x="139702" y="196850"/>
                </a:lnTo>
                <a:cubicBezTo>
                  <a:pt x="139702" y="186329"/>
                  <a:pt x="148231" y="177800"/>
                  <a:pt x="158752" y="177800"/>
                </a:cubicBezTo>
                <a:lnTo>
                  <a:pt x="247652" y="177800"/>
                </a:lnTo>
                <a:close/>
                <a:moveTo>
                  <a:pt x="203202" y="95250"/>
                </a:moveTo>
                <a:cubicBezTo>
                  <a:pt x="222490" y="95250"/>
                  <a:pt x="238127" y="110886"/>
                  <a:pt x="238127" y="130175"/>
                </a:cubicBezTo>
                <a:cubicBezTo>
                  <a:pt x="238127" y="149464"/>
                  <a:pt x="222490" y="165100"/>
                  <a:pt x="203202" y="165100"/>
                </a:cubicBezTo>
                <a:cubicBezTo>
                  <a:pt x="183913" y="165100"/>
                  <a:pt x="168277" y="149464"/>
                  <a:pt x="168277" y="130175"/>
                </a:cubicBezTo>
                <a:cubicBezTo>
                  <a:pt x="168277" y="110886"/>
                  <a:pt x="183913" y="95250"/>
                  <a:pt x="203202" y="9525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4" name="Graphic 9">
            <a:extLst>
              <a:ext uri="{FF2B5EF4-FFF2-40B4-BE49-F238E27FC236}">
                <a16:creationId xmlns:a16="http://schemas.microsoft.com/office/drawing/2014/main" id="{DCC7BFA3-2793-AA85-A524-4FB1663C7977}"/>
              </a:ext>
              <a:ext uri="{C183D7F6-B498-43B3-948B-1728B52AA6E4}">
                <adec:decorative xmlns:adec="http://schemas.microsoft.com/office/drawing/2017/decorative" val="1"/>
              </a:ext>
            </a:extLst>
          </p:cNvPr>
          <p:cNvSpPr>
            <a:spLocks/>
          </p:cNvSpPr>
          <p:nvPr/>
        </p:nvSpPr>
        <p:spPr>
          <a:xfrm>
            <a:off x="3130860" y="4916171"/>
            <a:ext cx="256980" cy="257024"/>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6" name="Graphic 23">
            <a:extLst>
              <a:ext uri="{FF2B5EF4-FFF2-40B4-BE49-F238E27FC236}">
                <a16:creationId xmlns:a16="http://schemas.microsoft.com/office/drawing/2014/main" id="{EBE668A6-E7D2-4317-C7FB-C1EAC47D318B}"/>
              </a:ext>
              <a:ext uri="{C183D7F6-B498-43B3-948B-1728B52AA6E4}">
                <adec:decorative xmlns:adec="http://schemas.microsoft.com/office/drawing/2017/decorative" val="1"/>
              </a:ext>
            </a:extLst>
          </p:cNvPr>
          <p:cNvSpPr>
            <a:spLocks/>
          </p:cNvSpPr>
          <p:nvPr/>
        </p:nvSpPr>
        <p:spPr>
          <a:xfrm>
            <a:off x="9073745" y="4927384"/>
            <a:ext cx="246326" cy="234596"/>
          </a:xfrm>
          <a:custGeom>
            <a:avLst/>
            <a:gdLst>
              <a:gd name="connsiteX0" fmla="*/ 57150 w 200025"/>
              <a:gd name="connsiteY0" fmla="*/ 76200 h 190500"/>
              <a:gd name="connsiteX1" fmla="*/ 95250 w 200025"/>
              <a:gd name="connsiteY1" fmla="*/ 38100 h 190500"/>
              <a:gd name="connsiteX2" fmla="*/ 57150 w 200025"/>
              <a:gd name="connsiteY2" fmla="*/ 0 h 190500"/>
              <a:gd name="connsiteX3" fmla="*/ 19050 w 200025"/>
              <a:gd name="connsiteY3" fmla="*/ 38100 h 190500"/>
              <a:gd name="connsiteX4" fmla="*/ 57150 w 200025"/>
              <a:gd name="connsiteY4" fmla="*/ 76200 h 190500"/>
              <a:gd name="connsiteX5" fmla="*/ 142875 w 200025"/>
              <a:gd name="connsiteY5" fmla="*/ 76200 h 190500"/>
              <a:gd name="connsiteX6" fmla="*/ 171450 w 200025"/>
              <a:gd name="connsiteY6" fmla="*/ 47625 h 190500"/>
              <a:gd name="connsiteX7" fmla="*/ 142875 w 200025"/>
              <a:gd name="connsiteY7" fmla="*/ 19050 h 190500"/>
              <a:gd name="connsiteX8" fmla="*/ 114300 w 200025"/>
              <a:gd name="connsiteY8" fmla="*/ 47625 h 190500"/>
              <a:gd name="connsiteX9" fmla="*/ 142875 w 200025"/>
              <a:gd name="connsiteY9" fmla="*/ 76200 h 190500"/>
              <a:gd name="connsiteX10" fmla="*/ 21431 w 200025"/>
              <a:gd name="connsiteY10" fmla="*/ 95250 h 190500"/>
              <a:gd name="connsiteX11" fmla="*/ 0 w 200025"/>
              <a:gd name="connsiteY11" fmla="*/ 116681 h 190500"/>
              <a:gd name="connsiteX12" fmla="*/ 0 w 200025"/>
              <a:gd name="connsiteY12" fmla="*/ 119063 h 190500"/>
              <a:gd name="connsiteX13" fmla="*/ 57150 w 200025"/>
              <a:gd name="connsiteY13" fmla="*/ 161925 h 190500"/>
              <a:gd name="connsiteX14" fmla="*/ 88376 w 200025"/>
              <a:gd name="connsiteY14" fmla="*/ 156091 h 190500"/>
              <a:gd name="connsiteX15" fmla="*/ 85725 w 200025"/>
              <a:gd name="connsiteY15" fmla="*/ 138113 h 190500"/>
              <a:gd name="connsiteX16" fmla="*/ 101351 w 200025"/>
              <a:gd name="connsiteY16" fmla="*/ 96994 h 190500"/>
              <a:gd name="connsiteX17" fmla="*/ 92869 w 200025"/>
              <a:gd name="connsiteY17" fmla="*/ 95250 h 190500"/>
              <a:gd name="connsiteX18" fmla="*/ 21431 w 200025"/>
              <a:gd name="connsiteY18" fmla="*/ 95250 h 190500"/>
              <a:gd name="connsiteX19" fmla="*/ 200025 w 200025"/>
              <a:gd name="connsiteY19" fmla="*/ 138113 h 190500"/>
              <a:gd name="connsiteX20" fmla="*/ 147638 w 200025"/>
              <a:gd name="connsiteY20" fmla="*/ 190500 h 190500"/>
              <a:gd name="connsiteX21" fmla="*/ 95250 w 200025"/>
              <a:gd name="connsiteY21" fmla="*/ 138113 h 190500"/>
              <a:gd name="connsiteX22" fmla="*/ 147638 w 200025"/>
              <a:gd name="connsiteY22" fmla="*/ 85725 h 190500"/>
              <a:gd name="connsiteX23" fmla="*/ 200025 w 200025"/>
              <a:gd name="connsiteY23" fmla="*/ 138113 h 190500"/>
              <a:gd name="connsiteX24" fmla="*/ 152928 w 200025"/>
              <a:gd name="connsiteY24" fmla="*/ 108781 h 190500"/>
              <a:gd name="connsiteX25" fmla="*/ 142347 w 200025"/>
              <a:gd name="connsiteY25" fmla="*/ 108781 h 190500"/>
              <a:gd name="connsiteX26" fmla="*/ 137042 w 200025"/>
              <a:gd name="connsiteY26" fmla="*/ 125803 h 190500"/>
              <a:gd name="connsiteX27" fmla="*/ 119873 w 200025"/>
              <a:gd name="connsiteY27" fmla="*/ 125803 h 190500"/>
              <a:gd name="connsiteX28" fmla="*/ 116603 w 200025"/>
              <a:gd name="connsiteY28" fmla="*/ 136292 h 190500"/>
              <a:gd name="connsiteX29" fmla="*/ 130493 w 200025"/>
              <a:gd name="connsiteY29" fmla="*/ 146813 h 190500"/>
              <a:gd name="connsiteX30" fmla="*/ 125188 w 200025"/>
              <a:gd name="connsiteY30" fmla="*/ 163834 h 190500"/>
              <a:gd name="connsiteX31" fmla="*/ 133747 w 200025"/>
              <a:gd name="connsiteY31" fmla="*/ 170317 h 190500"/>
              <a:gd name="connsiteX32" fmla="*/ 147638 w 200025"/>
              <a:gd name="connsiteY32" fmla="*/ 159797 h 190500"/>
              <a:gd name="connsiteX33" fmla="*/ 161528 w 200025"/>
              <a:gd name="connsiteY33" fmla="*/ 170317 h 190500"/>
              <a:gd name="connsiteX34" fmla="*/ 170087 w 200025"/>
              <a:gd name="connsiteY34" fmla="*/ 163834 h 190500"/>
              <a:gd name="connsiteX35" fmla="*/ 164782 w 200025"/>
              <a:gd name="connsiteY35" fmla="*/ 146813 h 190500"/>
              <a:gd name="connsiteX36" fmla="*/ 178672 w 200025"/>
              <a:gd name="connsiteY36" fmla="*/ 136292 h 190500"/>
              <a:gd name="connsiteX37" fmla="*/ 175402 w 200025"/>
              <a:gd name="connsiteY37" fmla="*/ 125803 h 190500"/>
              <a:gd name="connsiteX38" fmla="*/ 158233 w 200025"/>
              <a:gd name="connsiteY38" fmla="*/ 125803 h 190500"/>
              <a:gd name="connsiteX39" fmla="*/ 152928 w 200025"/>
              <a:gd name="connsiteY39" fmla="*/ 10878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0025" h="190500">
                <a:moveTo>
                  <a:pt x="57150" y="76200"/>
                </a:moveTo>
                <a:cubicBezTo>
                  <a:pt x="78192" y="76200"/>
                  <a:pt x="95250" y="59142"/>
                  <a:pt x="95250" y="38100"/>
                </a:cubicBezTo>
                <a:cubicBezTo>
                  <a:pt x="95250" y="17058"/>
                  <a:pt x="78192" y="0"/>
                  <a:pt x="57150" y="0"/>
                </a:cubicBezTo>
                <a:cubicBezTo>
                  <a:pt x="36108" y="0"/>
                  <a:pt x="19050" y="17058"/>
                  <a:pt x="19050" y="38100"/>
                </a:cubicBezTo>
                <a:cubicBezTo>
                  <a:pt x="19050" y="59142"/>
                  <a:pt x="36108" y="76200"/>
                  <a:pt x="57150" y="76200"/>
                </a:cubicBezTo>
                <a:close/>
                <a:moveTo>
                  <a:pt x="142875" y="76200"/>
                </a:moveTo>
                <a:cubicBezTo>
                  <a:pt x="158657" y="76200"/>
                  <a:pt x="171450" y="63406"/>
                  <a:pt x="171450" y="47625"/>
                </a:cubicBezTo>
                <a:cubicBezTo>
                  <a:pt x="171450" y="31844"/>
                  <a:pt x="158657" y="19050"/>
                  <a:pt x="142875" y="19050"/>
                </a:cubicBezTo>
                <a:cubicBezTo>
                  <a:pt x="127093" y="19050"/>
                  <a:pt x="114300" y="31844"/>
                  <a:pt x="114300" y="47625"/>
                </a:cubicBezTo>
                <a:cubicBezTo>
                  <a:pt x="114300" y="63406"/>
                  <a:pt x="127093" y="76200"/>
                  <a:pt x="142875" y="76200"/>
                </a:cubicBezTo>
                <a:close/>
                <a:moveTo>
                  <a:pt x="21431" y="95250"/>
                </a:moveTo>
                <a:cubicBezTo>
                  <a:pt x="9595" y="95250"/>
                  <a:pt x="0" y="104845"/>
                  <a:pt x="0" y="116681"/>
                </a:cubicBezTo>
                <a:lnTo>
                  <a:pt x="0" y="119063"/>
                </a:lnTo>
                <a:cubicBezTo>
                  <a:pt x="0" y="119063"/>
                  <a:pt x="0" y="161925"/>
                  <a:pt x="57150" y="161925"/>
                </a:cubicBezTo>
                <a:cubicBezTo>
                  <a:pt x="70388" y="161925"/>
                  <a:pt x="80561" y="159625"/>
                  <a:pt x="88376" y="156091"/>
                </a:cubicBezTo>
                <a:cubicBezTo>
                  <a:pt x="86652" y="150401"/>
                  <a:pt x="85725" y="144365"/>
                  <a:pt x="85725" y="138113"/>
                </a:cubicBezTo>
                <a:cubicBezTo>
                  <a:pt x="85725" y="122331"/>
                  <a:pt x="91630" y="107929"/>
                  <a:pt x="101351" y="96994"/>
                </a:cubicBezTo>
                <a:cubicBezTo>
                  <a:pt x="98749" y="95872"/>
                  <a:pt x="95882" y="95250"/>
                  <a:pt x="92869" y="95250"/>
                </a:cubicBezTo>
                <a:lnTo>
                  <a:pt x="21431" y="95250"/>
                </a:lnTo>
                <a:close/>
                <a:moveTo>
                  <a:pt x="200025" y="138113"/>
                </a:moveTo>
                <a:cubicBezTo>
                  <a:pt x="200025" y="167046"/>
                  <a:pt x="176571" y="190500"/>
                  <a:pt x="147638" y="190500"/>
                </a:cubicBezTo>
                <a:cubicBezTo>
                  <a:pt x="118704" y="190500"/>
                  <a:pt x="95250" y="167046"/>
                  <a:pt x="95250" y="138113"/>
                </a:cubicBezTo>
                <a:cubicBezTo>
                  <a:pt x="95250" y="109179"/>
                  <a:pt x="118704" y="85725"/>
                  <a:pt x="147638" y="85725"/>
                </a:cubicBezTo>
                <a:cubicBezTo>
                  <a:pt x="176571" y="85725"/>
                  <a:pt x="200025" y="109179"/>
                  <a:pt x="200025" y="138113"/>
                </a:cubicBezTo>
                <a:close/>
                <a:moveTo>
                  <a:pt x="152928" y="108781"/>
                </a:moveTo>
                <a:cubicBezTo>
                  <a:pt x="151263" y="103440"/>
                  <a:pt x="144012" y="103440"/>
                  <a:pt x="142347" y="108781"/>
                </a:cubicBezTo>
                <a:lnTo>
                  <a:pt x="137042" y="125803"/>
                </a:lnTo>
                <a:lnTo>
                  <a:pt x="119873" y="125803"/>
                </a:lnTo>
                <a:cubicBezTo>
                  <a:pt x="114485" y="125803"/>
                  <a:pt x="112245" y="132991"/>
                  <a:pt x="116603" y="136292"/>
                </a:cubicBezTo>
                <a:lnTo>
                  <a:pt x="130493" y="146813"/>
                </a:lnTo>
                <a:lnTo>
                  <a:pt x="125188" y="163834"/>
                </a:lnTo>
                <a:cubicBezTo>
                  <a:pt x="123523" y="169175"/>
                  <a:pt x="129388" y="173618"/>
                  <a:pt x="133747" y="170317"/>
                </a:cubicBezTo>
                <a:lnTo>
                  <a:pt x="147638" y="159797"/>
                </a:lnTo>
                <a:lnTo>
                  <a:pt x="161528" y="170317"/>
                </a:lnTo>
                <a:cubicBezTo>
                  <a:pt x="165887" y="173618"/>
                  <a:pt x="171752" y="169175"/>
                  <a:pt x="170087" y="163834"/>
                </a:cubicBezTo>
                <a:lnTo>
                  <a:pt x="164782" y="146813"/>
                </a:lnTo>
                <a:lnTo>
                  <a:pt x="178672" y="136292"/>
                </a:lnTo>
                <a:cubicBezTo>
                  <a:pt x="183030" y="132991"/>
                  <a:pt x="180790" y="125803"/>
                  <a:pt x="175402" y="125803"/>
                </a:cubicBezTo>
                <a:lnTo>
                  <a:pt x="158233" y="125803"/>
                </a:lnTo>
                <a:lnTo>
                  <a:pt x="152928" y="108781"/>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grpSp>
        <p:nvGrpSpPr>
          <p:cNvPr id="19" name="Group 18">
            <a:extLst>
              <a:ext uri="{FF2B5EF4-FFF2-40B4-BE49-F238E27FC236}">
                <a16:creationId xmlns:a16="http://schemas.microsoft.com/office/drawing/2014/main" id="{6AB9F8BF-9E61-3372-D15E-F270E21601BB}"/>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20" name="Straight Connector 19">
              <a:extLst>
                <a:ext uri="{FF2B5EF4-FFF2-40B4-BE49-F238E27FC236}">
                  <a16:creationId xmlns:a16="http://schemas.microsoft.com/office/drawing/2014/main" id="{3C00EE74-F09A-07E1-D998-36948A322094}"/>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CF4FF78-D641-71E0-06C7-5B545259D54C}"/>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3" name="Text Placeholder 11">
            <a:extLst>
              <a:ext uri="{FF2B5EF4-FFF2-40B4-BE49-F238E27FC236}">
                <a16:creationId xmlns:a16="http://schemas.microsoft.com/office/drawing/2014/main" id="{34AFBF26-E0AA-E823-BB3C-8FD99347688A}"/>
              </a:ext>
            </a:extLst>
          </p:cNvPr>
          <p:cNvSpPr txBox="1">
            <a:spLocks noGrp="1"/>
          </p:cNvSpPr>
          <p:nvPr>
            <p:ph type="title" idx="4294967295"/>
          </p:nvPr>
        </p:nvSpPr>
        <p:spPr>
          <a:xfrm>
            <a:off x="306028" y="2019300"/>
            <a:ext cx="2551113"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Eneco moves to Microsoft Copilot Studio to better support over </a:t>
            </a:r>
            <a:br>
              <a:rPr kumimoji="0" lang="en-US" sz="2000" i="0" u="none" strike="noStrike" kern="1200" cap="none" spc="0" normalizeH="0" baseline="0" noProof="0">
                <a:ln>
                  <a:noFill/>
                </a:ln>
                <a:effectLst/>
                <a:uLnTx/>
                <a:uFillTx/>
                <a:latin typeface="+mj-lt"/>
                <a:ea typeface="+mj-ea"/>
                <a:cs typeface="+mj-cs"/>
              </a:rPr>
            </a:br>
            <a:r>
              <a:rPr kumimoji="0" lang="en-US" sz="2000" i="0" u="none" strike="noStrike" kern="1200" cap="none" spc="0" normalizeH="0" baseline="0" noProof="0">
                <a:ln>
                  <a:noFill/>
                </a:ln>
                <a:effectLst/>
                <a:uLnTx/>
                <a:uFillTx/>
                <a:latin typeface="+mj-lt"/>
                <a:ea typeface="+mj-ea"/>
                <a:cs typeface="+mj-cs"/>
              </a:rPr>
              <a:t>1.5 Million customers</a:t>
            </a:r>
          </a:p>
        </p:txBody>
      </p:sp>
      <p:pic>
        <p:nvPicPr>
          <p:cNvPr id="38" name="Picture 37" descr="Eneco logo">
            <a:extLst>
              <a:ext uri="{FF2B5EF4-FFF2-40B4-BE49-F238E27FC236}">
                <a16:creationId xmlns:a16="http://schemas.microsoft.com/office/drawing/2014/main" id="{FA12EC0C-80BF-14E6-C8EB-682AC6D6EA69}"/>
              </a:ext>
            </a:extLst>
          </p:cNvPr>
          <p:cNvPicPr>
            <a:picLocks noChangeAspect="1"/>
          </p:cNvPicPr>
          <p:nvPr/>
        </p:nvPicPr>
        <p:blipFill>
          <a:blip r:embed="rId3"/>
          <a:stretch>
            <a:fillRect/>
          </a:stretch>
        </p:blipFill>
        <p:spPr>
          <a:xfrm>
            <a:off x="306028" y="486989"/>
            <a:ext cx="2039911" cy="890761"/>
          </a:xfrm>
          <a:prstGeom prst="rect">
            <a:avLst/>
          </a:prstGeom>
        </p:spPr>
      </p:pic>
      <p:sp>
        <p:nvSpPr>
          <p:cNvPr id="35" name="Rectangle: Rounded Corners 34">
            <a:hlinkClick r:id="rId4"/>
            <a:extLst>
              <a:ext uri="{FF2B5EF4-FFF2-40B4-BE49-F238E27FC236}">
                <a16:creationId xmlns:a16="http://schemas.microsoft.com/office/drawing/2014/main" id="{64208CCB-3FD6-7D99-12A4-A79DDFE48163}"/>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39" name="Picture 38" descr="A person on top of a Eneco wind turbine">
            <a:extLst>
              <a:ext uri="{FF2B5EF4-FFF2-40B4-BE49-F238E27FC236}">
                <a16:creationId xmlns:a16="http://schemas.microsoft.com/office/drawing/2014/main" id="{9C022429-66C3-53A1-F73A-6F2D621C9DE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33725" y="419480"/>
            <a:ext cx="8638575" cy="2611318"/>
          </a:xfrm>
          <a:prstGeom prst="roundRect">
            <a:avLst>
              <a:gd name="adj" fmla="val 4146"/>
            </a:avLst>
          </a:prstGeom>
        </p:spPr>
      </p:pic>
      <p:sp>
        <p:nvSpPr>
          <p:cNvPr id="9" name="Text Placeholder 9">
            <a:extLst>
              <a:ext uri="{FF2B5EF4-FFF2-40B4-BE49-F238E27FC236}">
                <a16:creationId xmlns:a16="http://schemas.microsoft.com/office/drawing/2014/main" id="{8F445A89-1D4F-A102-D3B0-780F3BC793C5}"/>
              </a:ext>
            </a:extLst>
          </p:cNvPr>
          <p:cNvSpPr txBox="1">
            <a:spLocks/>
          </p:cNvSpPr>
          <p:nvPr/>
        </p:nvSpPr>
        <p:spPr>
          <a:xfrm>
            <a:off x="3132293" y="3207069"/>
            <a:ext cx="8638575" cy="9079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Microsoft Copilot Studio has provided us with dramatically better guard railing than our previous chatbot and also enables better intent recognition and control of responses to customer questions.”</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Ellen Van </a:t>
            </a:r>
            <a:r>
              <a:rPr kumimoji="0" lang="en-US" sz="1400" b="0" i="0" u="none" strike="noStrike" kern="1200" cap="none" spc="0" normalizeH="0" baseline="0" noProof="0" err="1">
                <a:ln>
                  <a:noFill/>
                </a:ln>
                <a:solidFill>
                  <a:srgbClr val="0078D4"/>
                </a:solidFill>
                <a:effectLst/>
                <a:uLnTx/>
                <a:uFillTx/>
                <a:latin typeface="Segoe UI Semibold"/>
                <a:ea typeface="+mn-ea"/>
                <a:cs typeface="Segoe Sans Display" pitchFamily="2" charset="0"/>
              </a:rPr>
              <a:t>Caillie</a:t>
            </a: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Head of conversational AI, Eneco</a:t>
            </a:r>
          </a:p>
        </p:txBody>
      </p:sp>
      <p:sp>
        <p:nvSpPr>
          <p:cNvPr id="2" name="TextBox 24_1">
            <a:extLst>
              <a:ext uri="{FF2B5EF4-FFF2-40B4-BE49-F238E27FC236}">
                <a16:creationId xmlns:a16="http://schemas.microsoft.com/office/drawing/2014/main" id="{B38E726B-2687-C2D3-CC9D-A47E2177C477}"/>
              </a:ext>
            </a:extLst>
          </p:cNvPr>
          <p:cNvSpPr txBox="1">
            <a:spLocks/>
          </p:cNvSpPr>
          <p:nvPr/>
        </p:nvSpPr>
        <p:spPr>
          <a:xfrm>
            <a:off x="3132293"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3" name="TextBox 2">
            <a:extLst>
              <a:ext uri="{FF2B5EF4-FFF2-40B4-BE49-F238E27FC236}">
                <a16:creationId xmlns:a16="http://schemas.microsoft.com/office/drawing/2014/main" id="{36542B86-5234-77AE-8E43-0C4727705F84}"/>
              </a:ext>
            </a:extLst>
          </p:cNvPr>
          <p:cNvSpPr txBox="1">
            <a:spLocks/>
          </p:cNvSpPr>
          <p:nvPr/>
        </p:nvSpPr>
        <p:spPr>
          <a:xfrm>
            <a:off x="3130860" y="5299213"/>
            <a:ext cx="2695690" cy="77457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ntelligent automation</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veloped a new, AI-driven customer service agent using Copilot Studio. The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I agent handles 24,000 chats per month</a:t>
            </a:r>
          </a:p>
        </p:txBody>
      </p:sp>
      <p:sp>
        <p:nvSpPr>
          <p:cNvPr id="4" name="TextBox 3">
            <a:extLst>
              <a:ext uri="{FF2B5EF4-FFF2-40B4-BE49-F238E27FC236}">
                <a16:creationId xmlns:a16="http://schemas.microsoft.com/office/drawing/2014/main" id="{F62348E2-E8D9-D3D4-03AD-A538B00070EF}"/>
              </a:ext>
            </a:extLst>
          </p:cNvPr>
          <p:cNvSpPr txBox="1">
            <a:spLocks/>
          </p:cNvSpPr>
          <p:nvPr/>
        </p:nvSpPr>
        <p:spPr>
          <a:xfrm>
            <a:off x="6102302" y="5299213"/>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ncreased effectivenes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mpared to the previous chatbot, the new AI agent is now able to handle 70% more customer conversations without requiring hand-off to a live representative</a:t>
            </a:r>
          </a:p>
        </p:txBody>
      </p:sp>
      <p:sp>
        <p:nvSpPr>
          <p:cNvPr id="6" name="TextBox 5">
            <a:extLst>
              <a:ext uri="{FF2B5EF4-FFF2-40B4-BE49-F238E27FC236}">
                <a16:creationId xmlns:a16="http://schemas.microsoft.com/office/drawing/2014/main" id="{93FF018D-0307-BA49-9E60-16CADDA8B548}"/>
              </a:ext>
            </a:extLst>
          </p:cNvPr>
          <p:cNvSpPr txBox="1">
            <a:spLocks/>
          </p:cNvSpPr>
          <p:nvPr/>
        </p:nvSpPr>
        <p:spPr>
          <a:xfrm>
            <a:off x="9073745" y="5299213"/>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mproved customer servic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 total of 67% of customer conversations can be managed satisfactorily by the AI agent without requiring hand-off to a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live agent</a:t>
            </a:r>
          </a:p>
        </p:txBody>
      </p:sp>
    </p:spTree>
    <p:extLst>
      <p:ext uri="{BB962C8B-B14F-4D97-AF65-F5344CB8AC3E}">
        <p14:creationId xmlns:p14="http://schemas.microsoft.com/office/powerpoint/2010/main" val="393416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2FE6F-C9EC-14C5-9884-7280F6B545A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7E26C8A-EC50-8DDB-DC01-0B9743AC9951}"/>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3" name="Rectangle: Rounded Corners 2">
            <a:extLst>
              <a:ext uri="{FF2B5EF4-FFF2-40B4-BE49-F238E27FC236}">
                <a16:creationId xmlns:a16="http://schemas.microsoft.com/office/drawing/2014/main" id="{55646162-1362-697E-443F-A37F99A89B28}"/>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1" name="Freeform: Shape 20">
            <a:extLst>
              <a:ext uri="{FF2B5EF4-FFF2-40B4-BE49-F238E27FC236}">
                <a16:creationId xmlns:a16="http://schemas.microsoft.com/office/drawing/2014/main" id="{8E3E996B-E24E-8A9E-5B9B-C44A3F2056D7}"/>
              </a:ext>
              <a:ext uri="{C183D7F6-B498-43B3-948B-1728B52AA6E4}">
                <adec:decorative xmlns:adec="http://schemas.microsoft.com/office/drawing/2017/decorative" val="1"/>
              </a:ext>
            </a:extLst>
          </p:cNvPr>
          <p:cNvSpPr>
            <a:spLocks/>
          </p:cNvSpPr>
          <p:nvPr/>
        </p:nvSpPr>
        <p:spPr>
          <a:xfrm>
            <a:off x="3152196" y="4921770"/>
            <a:ext cx="269648" cy="260714"/>
          </a:xfrm>
          <a:custGeom>
            <a:avLst/>
            <a:gdLst>
              <a:gd name="connsiteX0" fmla="*/ 823365 w 2744551"/>
              <a:gd name="connsiteY0" fmla="*/ 869833 h 2653791"/>
              <a:gd name="connsiteX1" fmla="*/ 686138 w 2744551"/>
              <a:gd name="connsiteY1" fmla="*/ 1007061 h 2653791"/>
              <a:gd name="connsiteX2" fmla="*/ 823365 w 2744551"/>
              <a:gd name="connsiteY2" fmla="*/ 1144288 h 2653791"/>
              <a:gd name="connsiteX3" fmla="*/ 960593 w 2744551"/>
              <a:gd name="connsiteY3" fmla="*/ 1007061 h 2653791"/>
              <a:gd name="connsiteX4" fmla="*/ 823365 w 2744551"/>
              <a:gd name="connsiteY4" fmla="*/ 869833 h 2653791"/>
              <a:gd name="connsiteX5" fmla="*/ 1880838 w 2744551"/>
              <a:gd name="connsiteY5" fmla="*/ 48739 h 2653791"/>
              <a:gd name="connsiteX6" fmla="*/ 1991981 w 2744551"/>
              <a:gd name="connsiteY6" fmla="*/ 51937 h 2653791"/>
              <a:gd name="connsiteX7" fmla="*/ 2465567 w 2744551"/>
              <a:gd name="connsiteY7" fmla="*/ 667011 h 2653791"/>
              <a:gd name="connsiteX8" fmla="*/ 2231183 w 2744551"/>
              <a:gd name="connsiteY8" fmla="*/ 1048504 h 2653791"/>
              <a:gd name="connsiteX9" fmla="*/ 2026302 w 2744551"/>
              <a:gd name="connsiteY9" fmla="*/ 1058933 h 2653791"/>
              <a:gd name="connsiteX10" fmla="*/ 1519109 w 2744551"/>
              <a:gd name="connsiteY10" fmla="*/ 848975 h 2653791"/>
              <a:gd name="connsiteX11" fmla="*/ 1424147 w 2744551"/>
              <a:gd name="connsiteY11" fmla="*/ 782419 h 2653791"/>
              <a:gd name="connsiteX12" fmla="*/ 1399446 w 2744551"/>
              <a:gd name="connsiteY12" fmla="*/ 746740 h 2653791"/>
              <a:gd name="connsiteX13" fmla="*/ 1381607 w 2744551"/>
              <a:gd name="connsiteY13" fmla="*/ 696789 h 2653791"/>
              <a:gd name="connsiteX14" fmla="*/ 1376900 w 2744551"/>
              <a:gd name="connsiteY14" fmla="*/ 525528 h 2653791"/>
              <a:gd name="connsiteX15" fmla="*/ 1880838 w 2744551"/>
              <a:gd name="connsiteY15" fmla="*/ 48739 h 2653791"/>
              <a:gd name="connsiteX16" fmla="*/ 812578 w 2744551"/>
              <a:gd name="connsiteY16" fmla="*/ 699 h 2653791"/>
              <a:gd name="connsiteX17" fmla="*/ 924914 w 2744551"/>
              <a:gd name="connsiteY17" fmla="*/ 40156 h 2653791"/>
              <a:gd name="connsiteX18" fmla="*/ 1108936 w 2744551"/>
              <a:gd name="connsiteY18" fmla="*/ 195772 h 2653791"/>
              <a:gd name="connsiteX19" fmla="*/ 1308465 w 2744551"/>
              <a:gd name="connsiteY19" fmla="*/ 286342 h 2653791"/>
              <a:gd name="connsiteX20" fmla="*/ 1246712 w 2744551"/>
              <a:gd name="connsiteY20" fmla="*/ 722039 h 2653791"/>
              <a:gd name="connsiteX21" fmla="*/ 1466551 w 2744551"/>
              <a:gd name="connsiteY21" fmla="*/ 975636 h 2653791"/>
              <a:gd name="connsiteX22" fmla="*/ 1973744 w 2744551"/>
              <a:gd name="connsiteY22" fmla="*/ 1185594 h 2653791"/>
              <a:gd name="connsiteX23" fmla="*/ 2308579 w 2744551"/>
              <a:gd name="connsiteY23" fmla="*/ 1161716 h 2653791"/>
              <a:gd name="connsiteX24" fmla="*/ 2308579 w 2744551"/>
              <a:gd name="connsiteY24" fmla="*/ 1161854 h 2653791"/>
              <a:gd name="connsiteX25" fmla="*/ 2578368 w 2744551"/>
              <a:gd name="connsiteY25" fmla="*/ 792574 h 2653791"/>
              <a:gd name="connsiteX26" fmla="*/ 2617066 w 2744551"/>
              <a:gd name="connsiteY26" fmla="*/ 850621 h 2653791"/>
              <a:gd name="connsiteX27" fmla="*/ 2744551 w 2744551"/>
              <a:gd name="connsiteY27" fmla="*/ 1350130 h 2653791"/>
              <a:gd name="connsiteX28" fmla="*/ 2514009 w 2744551"/>
              <a:gd name="connsiteY28" fmla="*/ 2000314 h 2653791"/>
              <a:gd name="connsiteX29" fmla="*/ 2332868 w 2744551"/>
              <a:gd name="connsiteY29" fmla="*/ 2162654 h 2653791"/>
              <a:gd name="connsiteX30" fmla="*/ 2332868 w 2744551"/>
              <a:gd name="connsiteY30" fmla="*/ 2413780 h 2653791"/>
              <a:gd name="connsiteX31" fmla="*/ 2092720 w 2744551"/>
              <a:gd name="connsiteY31" fmla="*/ 2653791 h 2653791"/>
              <a:gd name="connsiteX32" fmla="*/ 1921186 w 2744551"/>
              <a:gd name="connsiteY32" fmla="*/ 2653791 h 2653791"/>
              <a:gd name="connsiteX33" fmla="*/ 1715344 w 2744551"/>
              <a:gd name="connsiteY33" fmla="*/ 2447950 h 2653791"/>
              <a:gd name="connsiteX34" fmla="*/ 1440889 w 2744551"/>
              <a:gd name="connsiteY34" fmla="*/ 2447950 h 2653791"/>
              <a:gd name="connsiteX35" fmla="*/ 1235048 w 2744551"/>
              <a:gd name="connsiteY35" fmla="*/ 2653791 h 2653791"/>
              <a:gd name="connsiteX36" fmla="*/ 1063514 w 2744551"/>
              <a:gd name="connsiteY36" fmla="*/ 2653791 h 2653791"/>
              <a:gd name="connsiteX37" fmla="*/ 823365 w 2744551"/>
              <a:gd name="connsiteY37" fmla="*/ 2413643 h 2653791"/>
              <a:gd name="connsiteX38" fmla="*/ 823365 w 2744551"/>
              <a:gd name="connsiteY38" fmla="*/ 2319780 h 2653791"/>
              <a:gd name="connsiteX39" fmla="*/ 759692 w 2744551"/>
              <a:gd name="connsiteY39" fmla="*/ 2295765 h 2653791"/>
              <a:gd name="connsiteX40" fmla="*/ 476180 w 2744551"/>
              <a:gd name="connsiteY40" fmla="*/ 2108998 h 2653791"/>
              <a:gd name="connsiteX41" fmla="*/ 255929 w 2744551"/>
              <a:gd name="connsiteY41" fmla="*/ 1816703 h 2653791"/>
              <a:gd name="connsiteX42" fmla="*/ 210782 w 2744551"/>
              <a:gd name="connsiteY42" fmla="*/ 1781161 h 2653791"/>
              <a:gd name="connsiteX43" fmla="*/ 0 w 2744551"/>
              <a:gd name="connsiteY43" fmla="*/ 1532368 h 2653791"/>
              <a:gd name="connsiteX44" fmla="*/ 0 w 2744551"/>
              <a:gd name="connsiteY44" fmla="*/ 1291808 h 2653791"/>
              <a:gd name="connsiteX45" fmla="*/ 197608 w 2744551"/>
              <a:gd name="connsiteY45" fmla="*/ 1058521 h 2653791"/>
              <a:gd name="connsiteX46" fmla="*/ 235620 w 2744551"/>
              <a:gd name="connsiteY46" fmla="*/ 1019548 h 2653791"/>
              <a:gd name="connsiteX47" fmla="*/ 407566 w 2744551"/>
              <a:gd name="connsiteY47" fmla="*/ 728489 h 2653791"/>
              <a:gd name="connsiteX48" fmla="*/ 635089 w 2744551"/>
              <a:gd name="connsiteY48" fmla="*/ 557503 h 2653791"/>
              <a:gd name="connsiteX49" fmla="*/ 686138 w 2744551"/>
              <a:gd name="connsiteY49" fmla="*/ 529921 h 2653791"/>
              <a:gd name="connsiteX50" fmla="*/ 686138 w 2744551"/>
              <a:gd name="connsiteY50" fmla="*/ 138410 h 2653791"/>
              <a:gd name="connsiteX51" fmla="*/ 812578 w 2744551"/>
              <a:gd name="connsiteY51" fmla="*/ 699 h 265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44551" h="2653791">
                <a:moveTo>
                  <a:pt x="823365" y="869833"/>
                </a:moveTo>
                <a:cubicBezTo>
                  <a:pt x="747577" y="869833"/>
                  <a:pt x="686138" y="931271"/>
                  <a:pt x="686138" y="1007061"/>
                </a:cubicBezTo>
                <a:cubicBezTo>
                  <a:pt x="686138" y="1082852"/>
                  <a:pt x="747577" y="1144288"/>
                  <a:pt x="823365" y="1144288"/>
                </a:cubicBezTo>
                <a:cubicBezTo>
                  <a:pt x="899155" y="1144288"/>
                  <a:pt x="960593" y="1082852"/>
                  <a:pt x="960593" y="1007061"/>
                </a:cubicBezTo>
                <a:cubicBezTo>
                  <a:pt x="960593" y="931271"/>
                  <a:pt x="899155" y="869833"/>
                  <a:pt x="823365" y="869833"/>
                </a:cubicBezTo>
                <a:close/>
                <a:moveTo>
                  <a:pt x="1880838" y="48739"/>
                </a:moveTo>
                <a:cubicBezTo>
                  <a:pt x="1917216" y="46093"/>
                  <a:pt x="1954401" y="47054"/>
                  <a:pt x="1991981" y="51937"/>
                </a:cubicBezTo>
                <a:cubicBezTo>
                  <a:pt x="2292606" y="91007"/>
                  <a:pt x="2504636" y="366384"/>
                  <a:pt x="2465567" y="667011"/>
                </a:cubicBezTo>
                <a:cubicBezTo>
                  <a:pt x="2445107" y="821672"/>
                  <a:pt x="2359902" y="960358"/>
                  <a:pt x="2231183" y="1048504"/>
                </a:cubicBezTo>
                <a:cubicBezTo>
                  <a:pt x="2171077" y="1089535"/>
                  <a:pt x="2093543" y="1086927"/>
                  <a:pt x="2026302" y="1058933"/>
                </a:cubicBezTo>
                <a:lnTo>
                  <a:pt x="1519109" y="848975"/>
                </a:lnTo>
                <a:cubicBezTo>
                  <a:pt x="1482606" y="833880"/>
                  <a:pt x="1449123" y="811237"/>
                  <a:pt x="1424147" y="782419"/>
                </a:cubicBezTo>
                <a:cubicBezTo>
                  <a:pt x="1414541" y="771441"/>
                  <a:pt x="1406308" y="759640"/>
                  <a:pt x="1399446" y="746740"/>
                </a:cubicBezTo>
                <a:cubicBezTo>
                  <a:pt x="1391076" y="731371"/>
                  <a:pt x="1385038" y="714629"/>
                  <a:pt x="1381607" y="696789"/>
                </a:cubicBezTo>
                <a:cubicBezTo>
                  <a:pt x="1371081" y="640300"/>
                  <a:pt x="1369503" y="582509"/>
                  <a:pt x="1376900" y="525528"/>
                </a:cubicBezTo>
                <a:cubicBezTo>
                  <a:pt x="1411086" y="262480"/>
                  <a:pt x="1626192" y="67261"/>
                  <a:pt x="1880838" y="48739"/>
                </a:cubicBezTo>
                <a:close/>
                <a:moveTo>
                  <a:pt x="812578" y="699"/>
                </a:moveTo>
                <a:cubicBezTo>
                  <a:pt x="852098" y="-3174"/>
                  <a:pt x="893523" y="8919"/>
                  <a:pt x="924914" y="40156"/>
                </a:cubicBezTo>
                <a:cubicBezTo>
                  <a:pt x="970199" y="85303"/>
                  <a:pt x="1036068" y="145546"/>
                  <a:pt x="1108936" y="195772"/>
                </a:cubicBezTo>
                <a:cubicBezTo>
                  <a:pt x="1181666" y="245997"/>
                  <a:pt x="1251241" y="279069"/>
                  <a:pt x="1308465" y="286342"/>
                </a:cubicBezTo>
                <a:cubicBezTo>
                  <a:pt x="1240606" y="420855"/>
                  <a:pt x="1218896" y="573965"/>
                  <a:pt x="1246712" y="722039"/>
                </a:cubicBezTo>
                <a:cubicBezTo>
                  <a:pt x="1271550" y="853503"/>
                  <a:pt x="1372138" y="936526"/>
                  <a:pt x="1466551" y="975636"/>
                </a:cubicBezTo>
                <a:lnTo>
                  <a:pt x="1973744" y="1185594"/>
                </a:lnTo>
                <a:cubicBezTo>
                  <a:pt x="2068294" y="1224841"/>
                  <a:pt x="2197974" y="1237191"/>
                  <a:pt x="2308579" y="1161716"/>
                </a:cubicBezTo>
                <a:lnTo>
                  <a:pt x="2308579" y="1161854"/>
                </a:lnTo>
                <a:cubicBezTo>
                  <a:pt x="2438081" y="1073232"/>
                  <a:pt x="2533303" y="942893"/>
                  <a:pt x="2578368" y="792574"/>
                </a:cubicBezTo>
                <a:cubicBezTo>
                  <a:pt x="2592091" y="811100"/>
                  <a:pt x="2604991" y="830449"/>
                  <a:pt x="2617066" y="850621"/>
                </a:cubicBezTo>
                <a:cubicBezTo>
                  <a:pt x="2699952" y="987574"/>
                  <a:pt x="2744551" y="1152934"/>
                  <a:pt x="2744551" y="1350130"/>
                </a:cubicBezTo>
                <a:cubicBezTo>
                  <a:pt x="2744551" y="1652854"/>
                  <a:pt x="2630240" y="1864733"/>
                  <a:pt x="2514009" y="2000314"/>
                </a:cubicBezTo>
                <a:cubicBezTo>
                  <a:pt x="2461039" y="2062162"/>
                  <a:pt x="2400137" y="2116751"/>
                  <a:pt x="2332868" y="2162654"/>
                </a:cubicBezTo>
                <a:lnTo>
                  <a:pt x="2332868" y="2413780"/>
                </a:lnTo>
                <a:cubicBezTo>
                  <a:pt x="2332786" y="2546356"/>
                  <a:pt x="2225296" y="2653791"/>
                  <a:pt x="2092720" y="2653791"/>
                </a:cubicBezTo>
                <a:lnTo>
                  <a:pt x="1921186" y="2653791"/>
                </a:lnTo>
                <a:cubicBezTo>
                  <a:pt x="1807506" y="2653791"/>
                  <a:pt x="1715344" y="2561629"/>
                  <a:pt x="1715344" y="2447950"/>
                </a:cubicBezTo>
                <a:lnTo>
                  <a:pt x="1440889" y="2447950"/>
                </a:lnTo>
                <a:cubicBezTo>
                  <a:pt x="1440889" y="2561629"/>
                  <a:pt x="1348727" y="2653791"/>
                  <a:pt x="1235048" y="2653791"/>
                </a:cubicBezTo>
                <a:lnTo>
                  <a:pt x="1063514" y="2653791"/>
                </a:lnTo>
                <a:cubicBezTo>
                  <a:pt x="930883" y="2653791"/>
                  <a:pt x="823365" y="2546274"/>
                  <a:pt x="823365" y="2413643"/>
                </a:cubicBezTo>
                <a:lnTo>
                  <a:pt x="823365" y="2319780"/>
                </a:lnTo>
                <a:cubicBezTo>
                  <a:pt x="801863" y="2312534"/>
                  <a:pt x="780626" y="2304520"/>
                  <a:pt x="759692" y="2295765"/>
                </a:cubicBezTo>
                <a:cubicBezTo>
                  <a:pt x="654033" y="2252360"/>
                  <a:pt x="557763" y="2188947"/>
                  <a:pt x="476180" y="2108998"/>
                </a:cubicBezTo>
                <a:cubicBezTo>
                  <a:pt x="389868" y="2021982"/>
                  <a:pt x="315774" y="1923658"/>
                  <a:pt x="255929" y="1816703"/>
                </a:cubicBezTo>
                <a:cubicBezTo>
                  <a:pt x="246955" y="1798699"/>
                  <a:pt x="230390" y="1785663"/>
                  <a:pt x="210782" y="1781161"/>
                </a:cubicBezTo>
                <a:cubicBezTo>
                  <a:pt x="89153" y="1760907"/>
                  <a:pt x="1" y="1655667"/>
                  <a:pt x="0" y="1532368"/>
                </a:cubicBezTo>
                <a:lnTo>
                  <a:pt x="0" y="1291808"/>
                </a:lnTo>
                <a:cubicBezTo>
                  <a:pt x="0" y="1176125"/>
                  <a:pt x="83709" y="1077459"/>
                  <a:pt x="197608" y="1058521"/>
                </a:cubicBezTo>
                <a:cubicBezTo>
                  <a:pt x="209546" y="1056463"/>
                  <a:pt x="227249" y="1044661"/>
                  <a:pt x="235620" y="1019548"/>
                </a:cubicBezTo>
                <a:cubicBezTo>
                  <a:pt x="261967" y="940505"/>
                  <a:pt x="313153" y="822764"/>
                  <a:pt x="407566" y="728489"/>
                </a:cubicBezTo>
                <a:cubicBezTo>
                  <a:pt x="475609" y="661796"/>
                  <a:pt x="552102" y="604310"/>
                  <a:pt x="635089" y="557503"/>
                </a:cubicBezTo>
                <a:cubicBezTo>
                  <a:pt x="653752" y="546800"/>
                  <a:pt x="671043" y="537605"/>
                  <a:pt x="686138" y="529921"/>
                </a:cubicBezTo>
                <a:lnTo>
                  <a:pt x="686138" y="138410"/>
                </a:lnTo>
                <a:cubicBezTo>
                  <a:pt x="686138" y="57961"/>
                  <a:pt x="746711" y="7154"/>
                  <a:pt x="812578" y="699"/>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Graphic 59">
            <a:extLst>
              <a:ext uri="{FF2B5EF4-FFF2-40B4-BE49-F238E27FC236}">
                <a16:creationId xmlns:a16="http://schemas.microsoft.com/office/drawing/2014/main" id="{D0FC0E22-0BBA-FB2B-8BA3-08601496E8D3}"/>
              </a:ext>
              <a:ext uri="{C183D7F6-B498-43B3-948B-1728B52AA6E4}">
                <adec:decorative xmlns:adec="http://schemas.microsoft.com/office/drawing/2017/decorative" val="1"/>
              </a:ext>
            </a:extLst>
          </p:cNvPr>
          <p:cNvSpPr>
            <a:spLocks/>
          </p:cNvSpPr>
          <p:nvPr/>
        </p:nvSpPr>
        <p:spPr>
          <a:xfrm>
            <a:off x="6122652" y="4909865"/>
            <a:ext cx="269650" cy="269636"/>
          </a:xfrm>
          <a:custGeom>
            <a:avLst/>
            <a:gdLst>
              <a:gd name="connsiteX0" fmla="*/ 1101019 w 1765390"/>
              <a:gd name="connsiteY0" fmla="*/ 1218630 h 1763642"/>
              <a:gd name="connsiteX1" fmla="*/ 1080678 w 1765390"/>
              <a:gd name="connsiteY1" fmla="*/ 1311259 h 1763642"/>
              <a:gd name="connsiteX2" fmla="*/ 1008895 w 1765390"/>
              <a:gd name="connsiteY2" fmla="*/ 1469450 h 1763642"/>
              <a:gd name="connsiteX3" fmla="*/ 1011165 w 1765390"/>
              <a:gd name="connsiteY3" fmla="*/ 1512318 h 1763642"/>
              <a:gd name="connsiteX4" fmla="*/ 840785 w 1765390"/>
              <a:gd name="connsiteY4" fmla="*/ 1680933 h 1763642"/>
              <a:gd name="connsiteX5" fmla="*/ 585426 w 1765390"/>
              <a:gd name="connsiteY5" fmla="*/ 1243510 h 1763642"/>
              <a:gd name="connsiteX6" fmla="*/ 580551 w 1765390"/>
              <a:gd name="connsiteY6" fmla="*/ 1218798 h 1763642"/>
              <a:gd name="connsiteX7" fmla="*/ 1101019 w 1765390"/>
              <a:gd name="connsiteY7" fmla="*/ 1218798 h 1763642"/>
              <a:gd name="connsiteX8" fmla="*/ 1115309 w 1765390"/>
              <a:gd name="connsiteY8" fmla="*/ 1584606 h 1763642"/>
              <a:gd name="connsiteX9" fmla="*/ 1092950 w 1765390"/>
              <a:gd name="connsiteY9" fmla="*/ 1469450 h 1763642"/>
              <a:gd name="connsiteX10" fmla="*/ 1219033 w 1765390"/>
              <a:gd name="connsiteY10" fmla="*/ 1343368 h 1763642"/>
              <a:gd name="connsiteX11" fmla="*/ 1639308 w 1765390"/>
              <a:gd name="connsiteY11" fmla="*/ 1343368 h 1763642"/>
              <a:gd name="connsiteX12" fmla="*/ 1765390 w 1765390"/>
              <a:gd name="connsiteY12" fmla="*/ 1469450 h 1763642"/>
              <a:gd name="connsiteX13" fmla="*/ 1663516 w 1765390"/>
              <a:gd name="connsiteY13" fmla="*/ 1689170 h 1763642"/>
              <a:gd name="connsiteX14" fmla="*/ 1429170 w 1765390"/>
              <a:gd name="connsiteY14" fmla="*/ 1763643 h 1763642"/>
              <a:gd name="connsiteX15" fmla="*/ 1194825 w 1765390"/>
              <a:gd name="connsiteY15" fmla="*/ 1689170 h 1763642"/>
              <a:gd name="connsiteX16" fmla="*/ 1138004 w 1765390"/>
              <a:gd name="connsiteY16" fmla="*/ 1627053 h 1763642"/>
              <a:gd name="connsiteX17" fmla="*/ 1115309 w 1765390"/>
              <a:gd name="connsiteY17" fmla="*/ 1584606 h 1763642"/>
              <a:gd name="connsiteX18" fmla="*/ 1681504 w 1765390"/>
              <a:gd name="connsiteY18" fmla="*/ 840382 h 1763642"/>
              <a:gd name="connsiteX19" fmla="*/ 1665701 w 1765390"/>
              <a:gd name="connsiteY19" fmla="*/ 1003449 h 1763642"/>
              <a:gd name="connsiteX20" fmla="*/ 1341459 w 1765390"/>
              <a:gd name="connsiteY20" fmla="*/ 854697 h 1763642"/>
              <a:gd name="connsiteX21" fmla="*/ 1260388 w 1765390"/>
              <a:gd name="connsiteY21" fmla="*/ 903760 h 1763642"/>
              <a:gd name="connsiteX22" fmla="*/ 1258538 w 1765390"/>
              <a:gd name="connsiteY22" fmla="*/ 727412 h 1763642"/>
              <a:gd name="connsiteX23" fmla="*/ 1255344 w 1765390"/>
              <a:gd name="connsiteY23" fmla="*/ 672272 h 1763642"/>
              <a:gd name="connsiteX24" fmla="*/ 1664693 w 1765390"/>
              <a:gd name="connsiteY24" fmla="*/ 672272 h 1763642"/>
              <a:gd name="connsiteX25" fmla="*/ 1681504 w 1765390"/>
              <a:gd name="connsiteY25" fmla="*/ 840382 h 1763642"/>
              <a:gd name="connsiteX26" fmla="*/ 1261060 w 1765390"/>
              <a:gd name="connsiteY26" fmla="*/ 1092547 h 1763642"/>
              <a:gd name="connsiteX27" fmla="*/ 1261060 w 1765390"/>
              <a:gd name="connsiteY27" fmla="*/ 1091119 h 1763642"/>
              <a:gd name="connsiteX28" fmla="*/ 1429170 w 1765390"/>
              <a:gd name="connsiteY28" fmla="*/ 923008 h 1763642"/>
              <a:gd name="connsiteX29" fmla="*/ 1597280 w 1765390"/>
              <a:gd name="connsiteY29" fmla="*/ 1091119 h 1763642"/>
              <a:gd name="connsiteX30" fmla="*/ 1597280 w 1765390"/>
              <a:gd name="connsiteY30" fmla="*/ 1092547 h 1763642"/>
              <a:gd name="connsiteX31" fmla="*/ 1429170 w 1765390"/>
              <a:gd name="connsiteY31" fmla="*/ 1259229 h 1763642"/>
              <a:gd name="connsiteX32" fmla="*/ 1319647 w 1765390"/>
              <a:gd name="connsiteY32" fmla="*/ 1218630 h 1763642"/>
              <a:gd name="connsiteX33" fmla="*/ 1261060 w 1765390"/>
              <a:gd name="connsiteY33" fmla="*/ 1092547 h 1763642"/>
              <a:gd name="connsiteX34" fmla="*/ 1241223 w 1765390"/>
              <a:gd name="connsiteY34" fmla="*/ 1259229 h 1763642"/>
              <a:gd name="connsiteX35" fmla="*/ 1225841 w 1765390"/>
              <a:gd name="connsiteY35" fmla="*/ 1240232 h 1763642"/>
              <a:gd name="connsiteX36" fmla="*/ 1223404 w 1765390"/>
              <a:gd name="connsiteY36" fmla="*/ 1253261 h 1763642"/>
              <a:gd name="connsiteX37" fmla="*/ 1222227 w 1765390"/>
              <a:gd name="connsiteY37" fmla="*/ 1259145 h 1763642"/>
              <a:gd name="connsiteX38" fmla="*/ 1241223 w 1765390"/>
              <a:gd name="connsiteY38" fmla="*/ 1259145 h 1763642"/>
              <a:gd name="connsiteX39" fmla="*/ 89837 w 1765390"/>
              <a:gd name="connsiteY39" fmla="*/ 1218630 h 1763642"/>
              <a:gd name="connsiteX40" fmla="*/ 451778 w 1765390"/>
              <a:gd name="connsiteY40" fmla="*/ 1218630 h 1763642"/>
              <a:gd name="connsiteX41" fmla="*/ 602405 w 1765390"/>
              <a:gd name="connsiteY41" fmla="*/ 1646722 h 1763642"/>
              <a:gd name="connsiteX42" fmla="*/ 102109 w 1765390"/>
              <a:gd name="connsiteY42" fmla="*/ 1242081 h 1763642"/>
              <a:gd name="connsiteX43" fmla="*/ 89837 w 1765390"/>
              <a:gd name="connsiteY43" fmla="*/ 1218630 h 1763642"/>
              <a:gd name="connsiteX44" fmla="*/ 16961 w 1765390"/>
              <a:gd name="connsiteY44" fmla="*/ 672272 h 1763642"/>
              <a:gd name="connsiteX45" fmla="*/ 426310 w 1765390"/>
              <a:gd name="connsiteY45" fmla="*/ 672272 h 1763642"/>
              <a:gd name="connsiteX46" fmla="*/ 429083 w 1765390"/>
              <a:gd name="connsiteY46" fmla="*/ 1043796 h 1763642"/>
              <a:gd name="connsiteX47" fmla="*/ 433874 w 1765390"/>
              <a:gd name="connsiteY47" fmla="*/ 1092547 h 1763642"/>
              <a:gd name="connsiteX48" fmla="*/ 38564 w 1765390"/>
              <a:gd name="connsiteY48" fmla="*/ 1092547 h 1763642"/>
              <a:gd name="connsiteX49" fmla="*/ 16877 w 1765390"/>
              <a:gd name="connsiteY49" fmla="*/ 672272 h 1763642"/>
              <a:gd name="connsiteX50" fmla="*/ 1128674 w 1765390"/>
              <a:gd name="connsiteY50" fmla="*/ 672272 h 1763642"/>
              <a:gd name="connsiteX51" fmla="*/ 1125563 w 1765390"/>
              <a:gd name="connsiteY51" fmla="*/ 1044216 h 1763642"/>
              <a:gd name="connsiteX52" fmla="*/ 1120352 w 1765390"/>
              <a:gd name="connsiteY52" fmla="*/ 1092547 h 1763642"/>
              <a:gd name="connsiteX53" fmla="*/ 561218 w 1765390"/>
              <a:gd name="connsiteY53" fmla="*/ 1092547 h 1763642"/>
              <a:gd name="connsiteX54" fmla="*/ 550123 w 1765390"/>
              <a:gd name="connsiteY54" fmla="*/ 713291 h 1763642"/>
              <a:gd name="connsiteX55" fmla="*/ 552981 w 1765390"/>
              <a:gd name="connsiteY55" fmla="*/ 672272 h 1763642"/>
              <a:gd name="connsiteX56" fmla="*/ 1128674 w 1765390"/>
              <a:gd name="connsiteY56" fmla="*/ 672272 h 1763642"/>
              <a:gd name="connsiteX57" fmla="*/ 1088327 w 1765390"/>
              <a:gd name="connsiteY57" fmla="*/ 48248 h 1763642"/>
              <a:gd name="connsiteX58" fmla="*/ 1079165 w 1765390"/>
              <a:gd name="connsiteY58" fmla="*/ 33958 h 1763642"/>
              <a:gd name="connsiteX59" fmla="*/ 1628549 w 1765390"/>
              <a:gd name="connsiteY59" fmla="*/ 546190 h 1763642"/>
              <a:gd name="connsiteX60" fmla="*/ 1242736 w 1765390"/>
              <a:gd name="connsiteY60" fmla="*/ 546190 h 1763642"/>
              <a:gd name="connsiteX61" fmla="*/ 1088243 w 1765390"/>
              <a:gd name="connsiteY61" fmla="*/ 48332 h 1763642"/>
              <a:gd name="connsiteX62" fmla="*/ 592150 w 1765390"/>
              <a:gd name="connsiteY62" fmla="*/ 37068 h 1763642"/>
              <a:gd name="connsiteX63" fmla="*/ 602405 w 1765390"/>
              <a:gd name="connsiteY63" fmla="*/ 33958 h 1763642"/>
              <a:gd name="connsiteX64" fmla="*/ 444045 w 1765390"/>
              <a:gd name="connsiteY64" fmla="*/ 509205 h 1763642"/>
              <a:gd name="connsiteX65" fmla="*/ 438834 w 1765390"/>
              <a:gd name="connsiteY65" fmla="*/ 546190 h 1763642"/>
              <a:gd name="connsiteX66" fmla="*/ 53189 w 1765390"/>
              <a:gd name="connsiteY66" fmla="*/ 546190 h 1763642"/>
              <a:gd name="connsiteX67" fmla="*/ 592234 w 1765390"/>
              <a:gd name="connsiteY67" fmla="*/ 37068 h 1763642"/>
              <a:gd name="connsiteX68" fmla="*/ 840785 w 1765390"/>
              <a:gd name="connsiteY68" fmla="*/ 0 h 1763642"/>
              <a:gd name="connsiteX69" fmla="*/ 1110938 w 1765390"/>
              <a:gd name="connsiteY69" fmla="*/ 519712 h 1763642"/>
              <a:gd name="connsiteX70" fmla="*/ 1114888 w 1765390"/>
              <a:gd name="connsiteY70" fmla="*/ 546190 h 1763642"/>
              <a:gd name="connsiteX71" fmla="*/ 566681 w 1765390"/>
              <a:gd name="connsiteY71" fmla="*/ 546190 h 1763642"/>
              <a:gd name="connsiteX72" fmla="*/ 840785 w 1765390"/>
              <a:gd name="connsiteY72" fmla="*/ 0 h 176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765390" h="1763642">
                <a:moveTo>
                  <a:pt x="1101019" y="1218630"/>
                </a:moveTo>
                <a:cubicBezTo>
                  <a:pt x="1094967" y="1250823"/>
                  <a:pt x="1088159" y="1281671"/>
                  <a:pt x="1080678" y="1311259"/>
                </a:cubicBezTo>
                <a:cubicBezTo>
                  <a:pt x="1035003" y="1351126"/>
                  <a:pt x="1008819" y="1408821"/>
                  <a:pt x="1008895" y="1469450"/>
                </a:cubicBezTo>
                <a:cubicBezTo>
                  <a:pt x="1008895" y="1484076"/>
                  <a:pt x="1009652" y="1498365"/>
                  <a:pt x="1011165" y="1512318"/>
                </a:cubicBezTo>
                <a:cubicBezTo>
                  <a:pt x="960984" y="1618312"/>
                  <a:pt x="900716" y="1680933"/>
                  <a:pt x="840785" y="1680933"/>
                </a:cubicBezTo>
                <a:cubicBezTo>
                  <a:pt x="740171" y="1680933"/>
                  <a:pt x="639053" y="1504922"/>
                  <a:pt x="585426" y="1243510"/>
                </a:cubicBezTo>
                <a:lnTo>
                  <a:pt x="580551" y="1218798"/>
                </a:lnTo>
                <a:lnTo>
                  <a:pt x="1101019" y="1218798"/>
                </a:lnTo>
                <a:close/>
                <a:moveTo>
                  <a:pt x="1115309" y="1584606"/>
                </a:moveTo>
                <a:cubicBezTo>
                  <a:pt x="1100196" y="1548109"/>
                  <a:pt x="1092589" y="1508948"/>
                  <a:pt x="1092950" y="1469450"/>
                </a:cubicBezTo>
                <a:cubicBezTo>
                  <a:pt x="1092950" y="1399819"/>
                  <a:pt x="1149402" y="1343368"/>
                  <a:pt x="1219033" y="1343368"/>
                </a:cubicBezTo>
                <a:lnTo>
                  <a:pt x="1639308" y="1343368"/>
                </a:lnTo>
                <a:cubicBezTo>
                  <a:pt x="1708939" y="1343368"/>
                  <a:pt x="1765390" y="1399819"/>
                  <a:pt x="1765390" y="1469450"/>
                </a:cubicBezTo>
                <a:cubicBezTo>
                  <a:pt x="1765390" y="1563256"/>
                  <a:pt x="1726809" y="1638401"/>
                  <a:pt x="1663516" y="1689170"/>
                </a:cubicBezTo>
                <a:cubicBezTo>
                  <a:pt x="1601231" y="1739183"/>
                  <a:pt x="1517680" y="1763643"/>
                  <a:pt x="1429170" y="1763643"/>
                </a:cubicBezTo>
                <a:cubicBezTo>
                  <a:pt x="1340660" y="1763643"/>
                  <a:pt x="1257110" y="1739267"/>
                  <a:pt x="1194825" y="1689170"/>
                </a:cubicBezTo>
                <a:cubicBezTo>
                  <a:pt x="1172760" y="1671552"/>
                  <a:pt x="1153587" y="1650597"/>
                  <a:pt x="1138004" y="1627053"/>
                </a:cubicBezTo>
                <a:cubicBezTo>
                  <a:pt x="1129153" y="1613630"/>
                  <a:pt x="1121562" y="1599416"/>
                  <a:pt x="1115309" y="1584606"/>
                </a:cubicBezTo>
                <a:close/>
                <a:moveTo>
                  <a:pt x="1681504" y="840382"/>
                </a:moveTo>
                <a:cubicBezTo>
                  <a:pt x="1681504" y="896111"/>
                  <a:pt x="1676040" y="950663"/>
                  <a:pt x="1665701" y="1003449"/>
                </a:cubicBezTo>
                <a:cubicBezTo>
                  <a:pt x="1617243" y="872836"/>
                  <a:pt x="1472072" y="806239"/>
                  <a:pt x="1341459" y="854697"/>
                </a:cubicBezTo>
                <a:cubicBezTo>
                  <a:pt x="1311577" y="865784"/>
                  <a:pt x="1284066" y="882427"/>
                  <a:pt x="1260388" y="903760"/>
                </a:cubicBezTo>
                <a:cubicBezTo>
                  <a:pt x="1261901" y="844972"/>
                  <a:pt x="1261287" y="786150"/>
                  <a:pt x="1258538" y="727412"/>
                </a:cubicBezTo>
                <a:lnTo>
                  <a:pt x="1255344" y="672272"/>
                </a:lnTo>
                <a:lnTo>
                  <a:pt x="1664693" y="672272"/>
                </a:lnTo>
                <a:cubicBezTo>
                  <a:pt x="1675620" y="726572"/>
                  <a:pt x="1681504" y="782805"/>
                  <a:pt x="1681504" y="840382"/>
                </a:cubicBezTo>
                <a:close/>
                <a:moveTo>
                  <a:pt x="1261060" y="1092547"/>
                </a:moveTo>
                <a:lnTo>
                  <a:pt x="1261060" y="1091119"/>
                </a:lnTo>
                <a:cubicBezTo>
                  <a:pt x="1261060" y="998271"/>
                  <a:pt x="1336323" y="923008"/>
                  <a:pt x="1429170" y="923008"/>
                </a:cubicBezTo>
                <a:cubicBezTo>
                  <a:pt x="1522018" y="923008"/>
                  <a:pt x="1597280" y="998271"/>
                  <a:pt x="1597280" y="1091119"/>
                </a:cubicBezTo>
                <a:lnTo>
                  <a:pt x="1597280" y="1092547"/>
                </a:lnTo>
                <a:cubicBezTo>
                  <a:pt x="1596726" y="1184932"/>
                  <a:pt x="1521555" y="1259464"/>
                  <a:pt x="1429170" y="1259229"/>
                </a:cubicBezTo>
                <a:cubicBezTo>
                  <a:pt x="1387311" y="1259229"/>
                  <a:pt x="1349066" y="1243931"/>
                  <a:pt x="1319647" y="1218630"/>
                </a:cubicBezTo>
                <a:cubicBezTo>
                  <a:pt x="1282797" y="1187059"/>
                  <a:pt x="1261430" y="1141072"/>
                  <a:pt x="1261060" y="1092547"/>
                </a:cubicBezTo>
                <a:close/>
                <a:moveTo>
                  <a:pt x="1241223" y="1259229"/>
                </a:moveTo>
                <a:cubicBezTo>
                  <a:pt x="1235793" y="1253151"/>
                  <a:pt x="1230657" y="1246814"/>
                  <a:pt x="1225841" y="1240232"/>
                </a:cubicBezTo>
                <a:lnTo>
                  <a:pt x="1223404" y="1253261"/>
                </a:lnTo>
                <a:lnTo>
                  <a:pt x="1222227" y="1259145"/>
                </a:lnTo>
                <a:lnTo>
                  <a:pt x="1241223" y="1259145"/>
                </a:lnTo>
                <a:close/>
                <a:moveTo>
                  <a:pt x="89837" y="1218630"/>
                </a:moveTo>
                <a:lnTo>
                  <a:pt x="451778" y="1218630"/>
                </a:lnTo>
                <a:cubicBezTo>
                  <a:pt x="482374" y="1393633"/>
                  <a:pt x="534404" y="1542578"/>
                  <a:pt x="602405" y="1646722"/>
                </a:cubicBezTo>
                <a:cubicBezTo>
                  <a:pt x="388697" y="1583294"/>
                  <a:pt x="208813" y="1437804"/>
                  <a:pt x="102109" y="1242081"/>
                </a:cubicBezTo>
                <a:lnTo>
                  <a:pt x="89837" y="1218630"/>
                </a:lnTo>
                <a:close/>
                <a:moveTo>
                  <a:pt x="16961" y="672272"/>
                </a:moveTo>
                <a:lnTo>
                  <a:pt x="426310" y="672272"/>
                </a:lnTo>
                <a:cubicBezTo>
                  <a:pt x="417516" y="795993"/>
                  <a:pt x="418444" y="920218"/>
                  <a:pt x="429083" y="1043796"/>
                </a:cubicBezTo>
                <a:lnTo>
                  <a:pt x="433874" y="1092547"/>
                </a:lnTo>
                <a:lnTo>
                  <a:pt x="38564" y="1092547"/>
                </a:lnTo>
                <a:cubicBezTo>
                  <a:pt x="-4014" y="956530"/>
                  <a:pt x="-11474" y="811947"/>
                  <a:pt x="16877" y="672272"/>
                </a:cubicBezTo>
                <a:close/>
                <a:moveTo>
                  <a:pt x="1128674" y="672272"/>
                </a:moveTo>
                <a:cubicBezTo>
                  <a:pt x="1138273" y="796111"/>
                  <a:pt x="1137239" y="920554"/>
                  <a:pt x="1125563" y="1044216"/>
                </a:cubicBezTo>
                <a:lnTo>
                  <a:pt x="1120352" y="1092547"/>
                </a:lnTo>
                <a:lnTo>
                  <a:pt x="561218" y="1092547"/>
                </a:lnTo>
                <a:cubicBezTo>
                  <a:pt x="546526" y="966692"/>
                  <a:pt x="542814" y="839794"/>
                  <a:pt x="550123" y="713291"/>
                </a:cubicBezTo>
                <a:lnTo>
                  <a:pt x="552981" y="672272"/>
                </a:lnTo>
                <a:lnTo>
                  <a:pt x="1128674" y="672272"/>
                </a:lnTo>
                <a:close/>
                <a:moveTo>
                  <a:pt x="1088327" y="48248"/>
                </a:moveTo>
                <a:lnTo>
                  <a:pt x="1079165" y="33958"/>
                </a:lnTo>
                <a:cubicBezTo>
                  <a:pt x="1332457" y="109149"/>
                  <a:pt x="1535836" y="298770"/>
                  <a:pt x="1628549" y="546190"/>
                </a:cubicBezTo>
                <a:lnTo>
                  <a:pt x="1242736" y="546190"/>
                </a:lnTo>
                <a:cubicBezTo>
                  <a:pt x="1216175" y="343113"/>
                  <a:pt x="1162296" y="168614"/>
                  <a:pt x="1088243" y="48332"/>
                </a:cubicBezTo>
                <a:close/>
                <a:moveTo>
                  <a:pt x="592150" y="37068"/>
                </a:moveTo>
                <a:lnTo>
                  <a:pt x="602405" y="33958"/>
                </a:lnTo>
                <a:cubicBezTo>
                  <a:pt x="528352" y="147517"/>
                  <a:pt x="473296" y="313862"/>
                  <a:pt x="444045" y="509205"/>
                </a:cubicBezTo>
                <a:lnTo>
                  <a:pt x="438834" y="546190"/>
                </a:lnTo>
                <a:lnTo>
                  <a:pt x="53189" y="546190"/>
                </a:lnTo>
                <a:cubicBezTo>
                  <a:pt x="144573" y="302322"/>
                  <a:pt x="343551" y="114391"/>
                  <a:pt x="592234" y="37068"/>
                </a:cubicBezTo>
                <a:close/>
                <a:moveTo>
                  <a:pt x="840785" y="0"/>
                </a:moveTo>
                <a:cubicBezTo>
                  <a:pt x="951654" y="0"/>
                  <a:pt x="1063195" y="213668"/>
                  <a:pt x="1110938" y="519712"/>
                </a:cubicBezTo>
                <a:lnTo>
                  <a:pt x="1114888" y="546190"/>
                </a:lnTo>
                <a:lnTo>
                  <a:pt x="566681" y="546190"/>
                </a:lnTo>
                <a:cubicBezTo>
                  <a:pt x="612155" y="226024"/>
                  <a:pt x="726806" y="0"/>
                  <a:pt x="840785"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Graphic 249">
            <a:extLst>
              <a:ext uri="{FF2B5EF4-FFF2-40B4-BE49-F238E27FC236}">
                <a16:creationId xmlns:a16="http://schemas.microsoft.com/office/drawing/2014/main" id="{F09AB819-12F8-ED87-ABE0-C5BA87A380FB}"/>
              </a:ext>
              <a:ext uri="{C183D7F6-B498-43B3-948B-1728B52AA6E4}">
                <adec:decorative xmlns:adec="http://schemas.microsoft.com/office/drawing/2017/decorative" val="1"/>
              </a:ext>
            </a:extLst>
          </p:cNvPr>
          <p:cNvSpPr>
            <a:spLocks/>
          </p:cNvSpPr>
          <p:nvPr/>
        </p:nvSpPr>
        <p:spPr>
          <a:xfrm>
            <a:off x="9093110" y="4909104"/>
            <a:ext cx="301214" cy="271158"/>
          </a:xfrm>
          <a:custGeom>
            <a:avLst/>
            <a:gdLst>
              <a:gd name="connsiteX0" fmla="*/ 671541 w 1053656"/>
              <a:gd name="connsiteY0" fmla="*/ 632039 h 948532"/>
              <a:gd name="connsiteX1" fmla="*/ 763714 w 1053656"/>
              <a:gd name="connsiteY1" fmla="*/ 724211 h 948532"/>
              <a:gd name="connsiteX2" fmla="*/ 763661 w 1053656"/>
              <a:gd name="connsiteY2" fmla="*/ 774880 h 948532"/>
              <a:gd name="connsiteX3" fmla="*/ 530228 w 1053656"/>
              <a:gd name="connsiteY3" fmla="*/ 948533 h 948532"/>
              <a:gd name="connsiteX4" fmla="*/ 289685 w 1053656"/>
              <a:gd name="connsiteY4" fmla="*/ 776881 h 948532"/>
              <a:gd name="connsiteX5" fmla="*/ 289685 w 1053656"/>
              <a:gd name="connsiteY5" fmla="*/ 724211 h 948532"/>
              <a:gd name="connsiteX6" fmla="*/ 381857 w 1053656"/>
              <a:gd name="connsiteY6" fmla="*/ 632039 h 948532"/>
              <a:gd name="connsiteX7" fmla="*/ 671541 w 1053656"/>
              <a:gd name="connsiteY7" fmla="*/ 632039 h 948532"/>
              <a:gd name="connsiteX8" fmla="*/ 92172 w 1053656"/>
              <a:gd name="connsiteY8" fmla="*/ 368689 h 948532"/>
              <a:gd name="connsiteX9" fmla="*/ 322656 w 1053656"/>
              <a:gd name="connsiteY9" fmla="*/ 368689 h 948532"/>
              <a:gd name="connsiteX10" fmla="*/ 378855 w 1053656"/>
              <a:gd name="connsiteY10" fmla="*/ 571469 h 948532"/>
              <a:gd name="connsiteX11" fmla="*/ 387387 w 1053656"/>
              <a:gd name="connsiteY11" fmla="*/ 579422 h 948532"/>
              <a:gd name="connsiteX12" fmla="*/ 381857 w 1053656"/>
              <a:gd name="connsiteY12" fmla="*/ 579369 h 948532"/>
              <a:gd name="connsiteX13" fmla="*/ 242334 w 1053656"/>
              <a:gd name="connsiteY13" fmla="*/ 685130 h 948532"/>
              <a:gd name="connsiteX14" fmla="*/ 240544 w 1053656"/>
              <a:gd name="connsiteY14" fmla="*/ 685183 h 948532"/>
              <a:gd name="connsiteX15" fmla="*/ 0 w 1053656"/>
              <a:gd name="connsiteY15" fmla="*/ 513532 h 948532"/>
              <a:gd name="connsiteX16" fmla="*/ 0 w 1053656"/>
              <a:gd name="connsiteY16" fmla="*/ 460862 h 948532"/>
              <a:gd name="connsiteX17" fmla="*/ 92172 w 1053656"/>
              <a:gd name="connsiteY17" fmla="*/ 368689 h 948532"/>
              <a:gd name="connsiteX18" fmla="*/ 961226 w 1053656"/>
              <a:gd name="connsiteY18" fmla="*/ 368689 h 948532"/>
              <a:gd name="connsiteX19" fmla="*/ 1053398 w 1053656"/>
              <a:gd name="connsiteY19" fmla="*/ 460862 h 948532"/>
              <a:gd name="connsiteX20" fmla="*/ 1053346 w 1053656"/>
              <a:gd name="connsiteY20" fmla="*/ 511530 h 948532"/>
              <a:gd name="connsiteX21" fmla="*/ 819913 w 1053656"/>
              <a:gd name="connsiteY21" fmla="*/ 685183 h 948532"/>
              <a:gd name="connsiteX22" fmla="*/ 811011 w 1053656"/>
              <a:gd name="connsiteY22" fmla="*/ 685078 h 948532"/>
              <a:gd name="connsiteX23" fmla="*/ 681917 w 1053656"/>
              <a:gd name="connsiteY23" fmla="*/ 579738 h 948532"/>
              <a:gd name="connsiteX24" fmla="*/ 671541 w 1053656"/>
              <a:gd name="connsiteY24" fmla="*/ 579369 h 948532"/>
              <a:gd name="connsiteX25" fmla="*/ 666011 w 1053656"/>
              <a:gd name="connsiteY25" fmla="*/ 579422 h 948532"/>
              <a:gd name="connsiteX26" fmla="*/ 730742 w 1053656"/>
              <a:gd name="connsiteY26" fmla="*/ 368742 h 948532"/>
              <a:gd name="connsiteX27" fmla="*/ 961226 w 1053656"/>
              <a:gd name="connsiteY27" fmla="*/ 368689 h 948532"/>
              <a:gd name="connsiteX28" fmla="*/ 526699 w 1053656"/>
              <a:gd name="connsiteY28" fmla="*/ 263350 h 948532"/>
              <a:gd name="connsiteX29" fmla="*/ 684709 w 1053656"/>
              <a:gd name="connsiteY29" fmla="*/ 421359 h 948532"/>
              <a:gd name="connsiteX30" fmla="*/ 526699 w 1053656"/>
              <a:gd name="connsiteY30" fmla="*/ 579369 h 948532"/>
              <a:gd name="connsiteX31" fmla="*/ 368689 w 1053656"/>
              <a:gd name="connsiteY31" fmla="*/ 421359 h 948532"/>
              <a:gd name="connsiteX32" fmla="*/ 526699 w 1053656"/>
              <a:gd name="connsiteY32" fmla="*/ 263350 h 948532"/>
              <a:gd name="connsiteX33" fmla="*/ 237015 w 1053656"/>
              <a:gd name="connsiteY33" fmla="*/ 0 h 948532"/>
              <a:gd name="connsiteX34" fmla="*/ 395024 w 1053656"/>
              <a:gd name="connsiteY34" fmla="*/ 158010 h 948532"/>
              <a:gd name="connsiteX35" fmla="*/ 237015 w 1053656"/>
              <a:gd name="connsiteY35" fmla="*/ 316020 h 948532"/>
              <a:gd name="connsiteX36" fmla="*/ 79005 w 1053656"/>
              <a:gd name="connsiteY36" fmla="*/ 158010 h 948532"/>
              <a:gd name="connsiteX37" fmla="*/ 237015 w 1053656"/>
              <a:gd name="connsiteY37" fmla="*/ 0 h 948532"/>
              <a:gd name="connsiteX38" fmla="*/ 816384 w 1053656"/>
              <a:gd name="connsiteY38" fmla="*/ 0 h 948532"/>
              <a:gd name="connsiteX39" fmla="*/ 974393 w 1053656"/>
              <a:gd name="connsiteY39" fmla="*/ 158010 h 948532"/>
              <a:gd name="connsiteX40" fmla="*/ 816384 w 1053656"/>
              <a:gd name="connsiteY40" fmla="*/ 316020 h 948532"/>
              <a:gd name="connsiteX41" fmla="*/ 658374 w 1053656"/>
              <a:gd name="connsiteY41" fmla="*/ 158010 h 948532"/>
              <a:gd name="connsiteX42" fmla="*/ 816384 w 1053656"/>
              <a:gd name="connsiteY42" fmla="*/ 0 h 94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53656" h="948532">
                <a:moveTo>
                  <a:pt x="671541" y="632039"/>
                </a:moveTo>
                <a:cubicBezTo>
                  <a:pt x="722421" y="632039"/>
                  <a:pt x="763714" y="673332"/>
                  <a:pt x="763714" y="724211"/>
                </a:cubicBezTo>
                <a:lnTo>
                  <a:pt x="763661" y="774880"/>
                </a:lnTo>
                <a:cubicBezTo>
                  <a:pt x="769823" y="890227"/>
                  <a:pt x="684077" y="948533"/>
                  <a:pt x="530228" y="948533"/>
                </a:cubicBezTo>
                <a:cubicBezTo>
                  <a:pt x="376959" y="948533"/>
                  <a:pt x="289685" y="891122"/>
                  <a:pt x="289685" y="776881"/>
                </a:cubicBezTo>
                <a:lnTo>
                  <a:pt x="289685" y="724211"/>
                </a:lnTo>
                <a:cubicBezTo>
                  <a:pt x="289685" y="673332"/>
                  <a:pt x="330978" y="632039"/>
                  <a:pt x="381857" y="632039"/>
                </a:cubicBezTo>
                <a:lnTo>
                  <a:pt x="671541" y="632039"/>
                </a:lnTo>
                <a:close/>
                <a:moveTo>
                  <a:pt x="92172" y="368689"/>
                </a:moveTo>
                <a:lnTo>
                  <a:pt x="322656" y="368689"/>
                </a:lnTo>
                <a:cubicBezTo>
                  <a:pt x="303954" y="441469"/>
                  <a:pt x="325358" y="518699"/>
                  <a:pt x="378855" y="571469"/>
                </a:cubicBezTo>
                <a:lnTo>
                  <a:pt x="387387" y="579422"/>
                </a:lnTo>
                <a:lnTo>
                  <a:pt x="381857" y="579369"/>
                </a:lnTo>
                <a:cubicBezTo>
                  <a:pt x="316894" y="579348"/>
                  <a:pt x="259862" y="622580"/>
                  <a:pt x="242334" y="685130"/>
                </a:cubicBezTo>
                <a:lnTo>
                  <a:pt x="240544" y="685183"/>
                </a:lnTo>
                <a:cubicBezTo>
                  <a:pt x="87274" y="685183"/>
                  <a:pt x="0" y="627773"/>
                  <a:pt x="0" y="513532"/>
                </a:cubicBezTo>
                <a:lnTo>
                  <a:pt x="0" y="460862"/>
                </a:lnTo>
                <a:cubicBezTo>
                  <a:pt x="0" y="409983"/>
                  <a:pt x="41293" y="368689"/>
                  <a:pt x="92172" y="368689"/>
                </a:cubicBezTo>
                <a:close/>
                <a:moveTo>
                  <a:pt x="961226" y="368689"/>
                </a:moveTo>
                <a:cubicBezTo>
                  <a:pt x="1012105" y="368689"/>
                  <a:pt x="1053398" y="409983"/>
                  <a:pt x="1053398" y="460862"/>
                </a:cubicBezTo>
                <a:lnTo>
                  <a:pt x="1053346" y="511530"/>
                </a:lnTo>
                <a:cubicBezTo>
                  <a:pt x="1059508" y="626877"/>
                  <a:pt x="973761" y="685183"/>
                  <a:pt x="819913" y="685183"/>
                </a:cubicBezTo>
                <a:lnTo>
                  <a:pt x="811011" y="685078"/>
                </a:lnTo>
                <a:cubicBezTo>
                  <a:pt x="794420" y="626303"/>
                  <a:pt x="742825" y="584199"/>
                  <a:pt x="681917" y="579738"/>
                </a:cubicBezTo>
                <a:lnTo>
                  <a:pt x="671541" y="579369"/>
                </a:lnTo>
                <a:lnTo>
                  <a:pt x="666011" y="579422"/>
                </a:lnTo>
                <a:cubicBezTo>
                  <a:pt x="725639" y="527052"/>
                  <a:pt x="750678" y="445556"/>
                  <a:pt x="730742" y="368742"/>
                </a:cubicBezTo>
                <a:lnTo>
                  <a:pt x="961226" y="368689"/>
                </a:lnTo>
                <a:close/>
                <a:moveTo>
                  <a:pt x="526699" y="263350"/>
                </a:moveTo>
                <a:cubicBezTo>
                  <a:pt x="613968" y="263350"/>
                  <a:pt x="684709" y="334093"/>
                  <a:pt x="684709" y="421359"/>
                </a:cubicBezTo>
                <a:cubicBezTo>
                  <a:pt x="684709" y="508628"/>
                  <a:pt x="613968" y="579369"/>
                  <a:pt x="526699" y="579369"/>
                </a:cubicBezTo>
                <a:cubicBezTo>
                  <a:pt x="439430" y="579369"/>
                  <a:pt x="368689" y="508628"/>
                  <a:pt x="368689" y="421359"/>
                </a:cubicBezTo>
                <a:cubicBezTo>
                  <a:pt x="368689" y="334093"/>
                  <a:pt x="439430" y="263350"/>
                  <a:pt x="526699" y="263350"/>
                </a:cubicBezTo>
                <a:close/>
                <a:moveTo>
                  <a:pt x="237015" y="0"/>
                </a:moveTo>
                <a:cubicBezTo>
                  <a:pt x="324281" y="0"/>
                  <a:pt x="395024" y="70744"/>
                  <a:pt x="395024" y="158010"/>
                </a:cubicBezTo>
                <a:cubicBezTo>
                  <a:pt x="395024" y="245276"/>
                  <a:pt x="324281" y="316020"/>
                  <a:pt x="237015" y="316020"/>
                </a:cubicBezTo>
                <a:cubicBezTo>
                  <a:pt x="149748" y="316020"/>
                  <a:pt x="79005" y="245276"/>
                  <a:pt x="79005" y="158010"/>
                </a:cubicBezTo>
                <a:cubicBezTo>
                  <a:pt x="79005" y="70744"/>
                  <a:pt x="149748" y="0"/>
                  <a:pt x="237015" y="0"/>
                </a:cubicBezTo>
                <a:close/>
                <a:moveTo>
                  <a:pt x="816384" y="0"/>
                </a:moveTo>
                <a:cubicBezTo>
                  <a:pt x="903653" y="0"/>
                  <a:pt x="974393" y="70744"/>
                  <a:pt x="974393" y="158010"/>
                </a:cubicBezTo>
                <a:cubicBezTo>
                  <a:pt x="974393" y="245276"/>
                  <a:pt x="903653" y="316020"/>
                  <a:pt x="816384" y="316020"/>
                </a:cubicBezTo>
                <a:cubicBezTo>
                  <a:pt x="729115" y="316020"/>
                  <a:pt x="658374" y="245276"/>
                  <a:pt x="658374" y="158010"/>
                </a:cubicBezTo>
                <a:cubicBezTo>
                  <a:pt x="658374" y="70744"/>
                  <a:pt x="729115" y="0"/>
                  <a:pt x="816384"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22415C38-6FD3-9374-FA1C-5889659D524F}"/>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8" name="Straight Connector 7">
              <a:extLst>
                <a:ext uri="{FF2B5EF4-FFF2-40B4-BE49-F238E27FC236}">
                  <a16:creationId xmlns:a16="http://schemas.microsoft.com/office/drawing/2014/main" id="{0D5A661E-6D14-0E17-DE58-AA2F9C9CFDBC}"/>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B104D6B-9A1F-9D65-2971-2BE802238B6D}"/>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11">
            <a:extLst>
              <a:ext uri="{FF2B5EF4-FFF2-40B4-BE49-F238E27FC236}">
                <a16:creationId xmlns:a16="http://schemas.microsoft.com/office/drawing/2014/main" id="{907D6895-6230-7A68-F918-96FD8F01302A}"/>
              </a:ext>
              <a:ext uri="{C183D7F6-B498-43B3-948B-1728B52AA6E4}">
                <adec:decorative xmlns:adec="http://schemas.microsoft.com/office/drawing/2017/decorative" val="0"/>
              </a:ext>
            </a:extLst>
          </p:cNvPr>
          <p:cNvSpPr txBox="1">
            <a:spLocks noGrp="1"/>
          </p:cNvSpPr>
          <p:nvPr>
            <p:ph type="title" idx="4294967295"/>
          </p:nvPr>
        </p:nvSpPr>
        <p:spPr>
          <a:xfrm>
            <a:off x="306029" y="2019300"/>
            <a:ext cx="2551113"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Pacific Gas &amp; Electric saves Millions each year by automating business processes with Power Platform</a:t>
            </a:r>
          </a:p>
        </p:txBody>
      </p:sp>
      <p:pic>
        <p:nvPicPr>
          <p:cNvPr id="3076" name="Picture 4" descr="Pacific Gas &amp; Electric logo">
            <a:extLst>
              <a:ext uri="{FF2B5EF4-FFF2-40B4-BE49-F238E27FC236}">
                <a16:creationId xmlns:a16="http://schemas.microsoft.com/office/drawing/2014/main" id="{D4D7B867-2893-384B-3AC1-0A5CD6D12E1D}"/>
              </a:ext>
              <a:ext uri="{C183D7F6-B498-43B3-948B-1728B52AA6E4}">
                <adec:decorative xmlns:adec="http://schemas.microsoft.com/office/drawing/2017/decorative" val="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865" r="20748"/>
          <a:stretch>
            <a:fillRect/>
          </a:stretch>
        </p:blipFill>
        <p:spPr bwMode="auto">
          <a:xfrm>
            <a:off x="306029" y="413318"/>
            <a:ext cx="1058428" cy="1038103"/>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Rounded Corners 32">
            <a:hlinkClick r:id="rId4"/>
            <a:extLst>
              <a:ext uri="{FF2B5EF4-FFF2-40B4-BE49-F238E27FC236}">
                <a16:creationId xmlns:a16="http://schemas.microsoft.com/office/drawing/2014/main" id="{4042F7FB-C02B-63DA-6110-0E34504DE9A0}"/>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35" name="Picture 34">
            <a:extLst>
              <a:ext uri="{FF2B5EF4-FFF2-40B4-BE49-F238E27FC236}">
                <a16:creationId xmlns:a16="http://schemas.microsoft.com/office/drawing/2014/main" id="{411D5F34-63F0-23E4-78F5-FDCCC9149FE8}"/>
              </a:ext>
              <a:ext uri="{C183D7F6-B498-43B3-948B-1728B52AA6E4}">
                <adec:decorative xmlns:adec="http://schemas.microsoft.com/office/drawing/2017/decorative" val="1"/>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33725" y="419480"/>
            <a:ext cx="8638575" cy="2611318"/>
          </a:xfrm>
          <a:prstGeom prst="roundRect">
            <a:avLst>
              <a:gd name="adj" fmla="val 4146"/>
            </a:avLst>
          </a:prstGeom>
        </p:spPr>
      </p:pic>
      <p:sp>
        <p:nvSpPr>
          <p:cNvPr id="4" name="Text Placeholder 9">
            <a:extLst>
              <a:ext uri="{FF2B5EF4-FFF2-40B4-BE49-F238E27FC236}">
                <a16:creationId xmlns:a16="http://schemas.microsoft.com/office/drawing/2014/main" id="{145B02BA-61F0-02EE-8EF4-E5DAF634C58E}"/>
              </a:ext>
              <a:ext uri="{C183D7F6-B498-43B3-948B-1728B52AA6E4}">
                <adec:decorative xmlns:adec="http://schemas.microsoft.com/office/drawing/2017/decorative" val="0"/>
              </a:ext>
            </a:extLst>
          </p:cNvPr>
          <p:cNvSpPr txBox="1">
            <a:spLocks/>
          </p:cNvSpPr>
          <p:nvPr/>
        </p:nvSpPr>
        <p:spPr>
          <a:xfrm>
            <a:off x="3133725" y="3207069"/>
            <a:ext cx="8638575" cy="83099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We chose Microsoft Power Platform because it not only provided us with a secure, scalable platform for automation but also enabled our business users to actually build their own solutions.”</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Thomas Bilbo,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Principal, Product Owner, PG&amp;E</a:t>
            </a:r>
          </a:p>
        </p:txBody>
      </p:sp>
      <p:sp>
        <p:nvSpPr>
          <p:cNvPr id="6" name="TextBox 24_1">
            <a:extLst>
              <a:ext uri="{FF2B5EF4-FFF2-40B4-BE49-F238E27FC236}">
                <a16:creationId xmlns:a16="http://schemas.microsoft.com/office/drawing/2014/main" id="{D5447F7F-F1B4-908F-21DA-B29869EECA69}"/>
              </a:ext>
              <a:ext uri="{C183D7F6-B498-43B3-948B-1728B52AA6E4}">
                <adec:decorative xmlns:adec="http://schemas.microsoft.com/office/drawing/2017/decorative" val="0"/>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7" name="TextBox 6">
            <a:extLst>
              <a:ext uri="{FF2B5EF4-FFF2-40B4-BE49-F238E27FC236}">
                <a16:creationId xmlns:a16="http://schemas.microsoft.com/office/drawing/2014/main" id="{C0E61F8E-58A3-6AB6-4D7C-15214006E44C}"/>
              </a:ext>
              <a:ext uri="{C183D7F6-B498-43B3-948B-1728B52AA6E4}">
                <adec:decorative xmlns:adec="http://schemas.microsoft.com/office/drawing/2017/decorative" val="0"/>
              </a:ext>
            </a:extLst>
          </p:cNvPr>
          <p:cNvSpPr txBox="1">
            <a:spLocks/>
          </p:cNvSpPr>
          <p:nvPr/>
        </p:nvSpPr>
        <p:spPr>
          <a:xfrm>
            <a:off x="3130860" y="5291424"/>
            <a:ext cx="2695690" cy="77457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Cost saving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ver $75 Million savings annually since 2021 due to almost 527,000 hours saved per year with Power Platform solutions</a:t>
            </a:r>
          </a:p>
        </p:txBody>
      </p:sp>
      <p:sp>
        <p:nvSpPr>
          <p:cNvPr id="10" name="TextBox 9">
            <a:extLst>
              <a:ext uri="{FF2B5EF4-FFF2-40B4-BE49-F238E27FC236}">
                <a16:creationId xmlns:a16="http://schemas.microsoft.com/office/drawing/2014/main" id="{A4E1B910-7131-0F76-4ADD-D0E753DF4652}"/>
              </a:ext>
              <a:ext uri="{C183D7F6-B498-43B3-948B-1728B52AA6E4}">
                <adec:decorative xmlns:adec="http://schemas.microsoft.com/office/drawing/2017/decorative" val="0"/>
              </a:ext>
            </a:extLst>
          </p:cNvPr>
          <p:cNvSpPr txBox="1">
            <a:spLocks/>
          </p:cNvSpPr>
          <p:nvPr/>
        </p:nvSpPr>
        <p:spPr>
          <a:xfrm>
            <a:off x="6102302" y="5291424"/>
            <a:ext cx="2759758" cy="60529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Widespread adoption</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ver 2,000 Power Apps created, and over 4,200 Power Automate cloud flows</a:t>
            </a:r>
          </a:p>
        </p:txBody>
      </p:sp>
      <p:sp>
        <p:nvSpPr>
          <p:cNvPr id="12" name="TextBox 11">
            <a:extLst>
              <a:ext uri="{FF2B5EF4-FFF2-40B4-BE49-F238E27FC236}">
                <a16:creationId xmlns:a16="http://schemas.microsoft.com/office/drawing/2014/main" id="{E03EC742-C6D4-9640-FE84-7568E5E52E6E}"/>
              </a:ext>
              <a:ext uri="{C183D7F6-B498-43B3-948B-1728B52AA6E4}">
                <adec:decorative xmlns:adec="http://schemas.microsoft.com/office/drawing/2017/decorative" val="0"/>
              </a:ext>
            </a:extLst>
          </p:cNvPr>
          <p:cNvSpPr txBox="1">
            <a:spLocks/>
          </p:cNvSpPr>
          <p:nvPr/>
        </p:nvSpPr>
        <p:spPr>
          <a:xfrm>
            <a:off x="9073745" y="5291424"/>
            <a:ext cx="2695690" cy="10746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mproved employee suppor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25–40% of help desk demand is now fulfilled by chatbot Peggy—saving more than $1.1 Million annually. Agent workloads have been optimized and provided sizeable labor savings and service level improvements</a:t>
            </a:r>
          </a:p>
        </p:txBody>
      </p:sp>
    </p:spTree>
    <p:extLst>
      <p:ext uri="{BB962C8B-B14F-4D97-AF65-F5344CB8AC3E}">
        <p14:creationId xmlns:p14="http://schemas.microsoft.com/office/powerpoint/2010/main" val="25932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1C130-3950-183C-2164-BF8F0B01C17B}"/>
            </a:ext>
          </a:extLst>
        </p:cNvPr>
        <p:cNvGrpSpPr/>
        <p:nvPr/>
      </p:nvGrpSpPr>
      <p:grpSpPr>
        <a:xfrm>
          <a:off x="0" y="0"/>
          <a:ext cx="0" cy="0"/>
          <a:chOff x="0" y="0"/>
          <a:chExt cx="0" cy="0"/>
        </a:xfrm>
      </p:grpSpPr>
      <p:sp>
        <p:nvSpPr>
          <p:cNvPr id="4" name="!! Opportunities box">
            <a:extLst>
              <a:ext uri="{FF2B5EF4-FFF2-40B4-BE49-F238E27FC236}">
                <a16:creationId xmlns:a16="http://schemas.microsoft.com/office/drawing/2014/main" id="{B45E5879-18B1-C694-D800-EBBEB3EFC04B}"/>
              </a:ext>
              <a:ext uri="{C183D7F6-B498-43B3-948B-1728B52AA6E4}">
                <adec:decorative xmlns:adec="http://schemas.microsoft.com/office/drawing/2017/decorative" val="1"/>
              </a:ext>
            </a:extLst>
          </p:cNvPr>
          <p:cNvSpPr txBox="1">
            <a:spLocks/>
          </p:cNvSpPr>
          <p:nvPr/>
        </p:nvSpPr>
        <p:spPr>
          <a:xfrm>
            <a:off x="809590" y="1686114"/>
            <a:ext cx="11018520" cy="4836606"/>
          </a:xfrm>
          <a:prstGeom prst="roundRect">
            <a:avLst>
              <a:gd name="adj" fmla="val 6030"/>
            </a:avLst>
          </a:prstGeom>
          <a:noFill/>
          <a:ln w="19050" cap="rnd" cmpd="sng" algn="ctr">
            <a:solidFill>
              <a:srgbClr val="0A2526">
                <a:alpha val="25000"/>
              </a:srgbClr>
            </a:solidFill>
            <a:prstDash val="solid"/>
            <a:headEnd type="none" w="lg" len="sm"/>
            <a:tailEnd type="none" w="lg" len="sm"/>
          </a:ln>
          <a:effectLst>
            <a:outerShdw blurRad="50800" dist="38100" dir="2700000" algn="tl" rotWithShape="0">
              <a:prstClr val="black">
                <a:alpha val="40000"/>
              </a:prstClr>
            </a:outerShdw>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dirty="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5" name="Rectangle: Rounded Corners 4">
            <a:extLst>
              <a:ext uri="{FF2B5EF4-FFF2-40B4-BE49-F238E27FC236}">
                <a16:creationId xmlns:a16="http://schemas.microsoft.com/office/drawing/2014/main" id="{AE376CB3-9554-8904-271F-763E1056DAC6}"/>
              </a:ext>
              <a:ext uri="{C183D7F6-B498-43B3-948B-1728B52AA6E4}">
                <adec:decorative xmlns:adec="http://schemas.microsoft.com/office/drawing/2017/decorative" val="0"/>
              </a:ext>
            </a:extLst>
          </p:cNvPr>
          <p:cNvSpPr/>
          <p:nvPr/>
        </p:nvSpPr>
        <p:spPr bwMode="auto">
          <a:xfrm>
            <a:off x="3488267" y="1439893"/>
            <a:ext cx="5215466" cy="492442"/>
          </a:xfrm>
          <a:prstGeom prst="roundRect">
            <a:avLst>
              <a:gd name="adj" fmla="val 34256"/>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00" b="1" i="0" u="none" strike="noStrike" kern="1200" cap="none" spc="0" normalizeH="0" baseline="0" noProof="0" dirty="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rPr>
              <a:t>2025 Work Trend Index Annual Report</a:t>
            </a:r>
          </a:p>
        </p:txBody>
      </p:sp>
      <p:sp>
        <p:nvSpPr>
          <p:cNvPr id="13" name="Title 1">
            <a:extLst>
              <a:ext uri="{FF2B5EF4-FFF2-40B4-BE49-F238E27FC236}">
                <a16:creationId xmlns:a16="http://schemas.microsoft.com/office/drawing/2014/main" id="{F858B97A-EE32-84B4-D7C7-FD87125E1437}"/>
              </a:ext>
            </a:extLst>
          </p:cNvPr>
          <p:cNvSpPr txBox="1">
            <a:spLocks/>
          </p:cNvSpPr>
          <p:nvPr/>
        </p:nvSpPr>
        <p:spPr>
          <a:xfrm>
            <a:off x="588263" y="652918"/>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822715" rtl="0" eaLnBrk="1" fontAlgn="base" latinLnBrk="0" hangingPunct="1">
              <a:lnSpc>
                <a:spcPct val="100000"/>
              </a:lnSpc>
              <a:spcBef>
                <a:spcPct val="0"/>
              </a:spcBef>
              <a:spcAft>
                <a:spcPct val="0"/>
              </a:spcAft>
              <a:buClrTx/>
              <a:buSzTx/>
              <a:buFontTx/>
              <a:buNone/>
              <a:tabLst>
                <a:tab pos="920878" algn="l"/>
              </a:tabLst>
              <a:defRPr/>
            </a:pPr>
            <a:r>
              <a:rPr kumimoji="0" lang="en-US" sz="3600" b="0" i="0" u="none" strike="noStrike" kern="0" cap="none" spc="-50" normalizeH="0" baseline="0" noProof="0" dirty="0">
                <a:ln w="3175">
                  <a:noFill/>
                </a:ln>
                <a:solidFill>
                  <a:srgbClr val="000000"/>
                </a:solidFill>
                <a:effectLst/>
                <a:uLnTx/>
                <a:uFillTx/>
                <a:latin typeface="Segoe UI Variable Display Semib" pitchFamily="2" charset="0"/>
                <a:ea typeface="+mn-ea"/>
                <a:cs typeface="Segoe Sans Display Semibold" pitchFamily="2" charset="0"/>
              </a:rPr>
              <a:t>2025: The Year the Frontier Firm Is Born</a:t>
            </a:r>
          </a:p>
        </p:txBody>
      </p:sp>
      <p:sp>
        <p:nvSpPr>
          <p:cNvPr id="22" name="TextBox 21">
            <a:extLst>
              <a:ext uri="{FF2B5EF4-FFF2-40B4-BE49-F238E27FC236}">
                <a16:creationId xmlns:a16="http://schemas.microsoft.com/office/drawing/2014/main" id="{1BFE05E1-B17E-F7F7-E83A-79E226861299}"/>
              </a:ext>
            </a:extLst>
          </p:cNvPr>
          <p:cNvSpPr txBox="1"/>
          <p:nvPr/>
        </p:nvSpPr>
        <p:spPr>
          <a:xfrm>
            <a:off x="6044288" y="2317664"/>
            <a:ext cx="49106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Segoe UI"/>
                <a:ea typeface="+mn-ea"/>
                <a:cs typeface="+mn-cs"/>
              </a:rPr>
              <a:t>31,000 people. 31 countries. Trillions of productivity signals.</a:t>
            </a:r>
            <a:endParaRPr kumimoji="0" lang="en-US" sz="1600" b="0" i="0" u="none" strike="noStrike" kern="1200" cap="none" spc="0" normalizeH="0" baseline="0" noProof="0" dirty="0">
              <a:ln>
                <a:noFill/>
              </a:ln>
              <a:solidFill>
                <a:srgbClr val="FFFFFF">
                  <a:lumMod val="50000"/>
                </a:srgbClr>
              </a:solidFill>
              <a:effectLst/>
              <a:uLnTx/>
              <a:uFillTx/>
              <a:latin typeface="Segoe UI"/>
              <a:ea typeface="+mn-ea"/>
              <a:cs typeface="+mn-cs"/>
            </a:endParaRPr>
          </a:p>
        </p:txBody>
      </p:sp>
      <p:sp>
        <p:nvSpPr>
          <p:cNvPr id="24" name="Rectangle: Rounded Corners 23">
            <a:extLst>
              <a:ext uri="{FF2B5EF4-FFF2-40B4-BE49-F238E27FC236}">
                <a16:creationId xmlns:a16="http://schemas.microsoft.com/office/drawing/2014/main" id="{7DFAE7D0-0EFC-F18E-AF39-1491027E9384}"/>
              </a:ext>
              <a:ext uri="{C183D7F6-B498-43B3-948B-1728B52AA6E4}">
                <adec:decorative xmlns:adec="http://schemas.microsoft.com/office/drawing/2017/decorative" val="0"/>
              </a:ext>
            </a:extLst>
          </p:cNvPr>
          <p:cNvSpPr/>
          <p:nvPr/>
        </p:nvSpPr>
        <p:spPr bwMode="auto">
          <a:xfrm>
            <a:off x="5167128" y="6361185"/>
            <a:ext cx="1857744" cy="278268"/>
          </a:xfrm>
          <a:prstGeom prst="roundRect">
            <a:avLst>
              <a:gd name="adj" fmla="val 34256"/>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tab pos="1487158" algn="l"/>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mn-ea"/>
                <a:cs typeface="+mn-cs"/>
              </a:rPr>
              <a:t>https://aka.ms/wti</a:t>
            </a:r>
          </a:p>
        </p:txBody>
      </p:sp>
      <p:pic>
        <p:nvPicPr>
          <p:cNvPr id="6" name="Picture 5">
            <a:extLst>
              <a:ext uri="{FF2B5EF4-FFF2-40B4-BE49-F238E27FC236}">
                <a16:creationId xmlns:a16="http://schemas.microsoft.com/office/drawing/2014/main" id="{5020CD8B-933C-9E2D-895F-09A39B0DEF72}"/>
              </a:ext>
            </a:extLst>
          </p:cNvPr>
          <p:cNvPicPr>
            <a:picLocks noChangeAspect="1"/>
          </p:cNvPicPr>
          <p:nvPr/>
        </p:nvPicPr>
        <p:blipFill>
          <a:blip r:embed="rId3"/>
          <a:stretch>
            <a:fillRect/>
          </a:stretch>
        </p:blipFill>
        <p:spPr>
          <a:xfrm>
            <a:off x="1237028" y="2317664"/>
            <a:ext cx="3502662" cy="4018889"/>
          </a:xfrm>
          <a:prstGeom prst="rect">
            <a:avLst/>
          </a:prstGeom>
        </p:spPr>
      </p:pic>
      <p:grpSp>
        <p:nvGrpSpPr>
          <p:cNvPr id="59" name="Group 58">
            <a:extLst>
              <a:ext uri="{FF2B5EF4-FFF2-40B4-BE49-F238E27FC236}">
                <a16:creationId xmlns:a16="http://schemas.microsoft.com/office/drawing/2014/main" id="{0416E2ED-2045-6A7B-08B3-8B9523B14EF1}"/>
              </a:ext>
            </a:extLst>
          </p:cNvPr>
          <p:cNvGrpSpPr/>
          <p:nvPr/>
        </p:nvGrpSpPr>
        <p:grpSpPr>
          <a:xfrm>
            <a:off x="5926592" y="2918437"/>
            <a:ext cx="5028380" cy="2732647"/>
            <a:chOff x="5821680" y="2779329"/>
            <a:chExt cx="5028380" cy="2732647"/>
          </a:xfrm>
        </p:grpSpPr>
        <p:grpSp>
          <p:nvGrpSpPr>
            <p:cNvPr id="23" name="Group 22">
              <a:extLst>
                <a:ext uri="{FF2B5EF4-FFF2-40B4-BE49-F238E27FC236}">
                  <a16:creationId xmlns:a16="http://schemas.microsoft.com/office/drawing/2014/main" id="{5D6EE440-8B9E-743D-3844-1D21C2C8C935}"/>
                </a:ext>
              </a:extLst>
            </p:cNvPr>
            <p:cNvGrpSpPr/>
            <p:nvPr/>
          </p:nvGrpSpPr>
          <p:grpSpPr>
            <a:xfrm>
              <a:off x="5939376" y="2779329"/>
              <a:ext cx="4910684" cy="582691"/>
              <a:chOff x="5860710" y="3137655"/>
              <a:chExt cx="4910684" cy="582691"/>
            </a:xfrm>
          </p:grpSpPr>
          <p:sp>
            <p:nvSpPr>
              <p:cNvPr id="8" name="TextBox 7">
                <a:extLst>
                  <a:ext uri="{FF2B5EF4-FFF2-40B4-BE49-F238E27FC236}">
                    <a16:creationId xmlns:a16="http://schemas.microsoft.com/office/drawing/2014/main" id="{0AFA8E71-07CD-56B0-993C-07AB7DB17CCB}"/>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1800" b="1" i="0" u="none" strike="noStrike" kern="1200" cap="none" spc="0" normalizeH="0" baseline="0" noProof="0" dirty="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21" name="TextBox 20">
                <a:extLst>
                  <a:ext uri="{FF2B5EF4-FFF2-40B4-BE49-F238E27FC236}">
                    <a16:creationId xmlns:a16="http://schemas.microsoft.com/office/drawing/2014/main" id="{75385356-2103-C97F-A50C-C0CCB0A3153F}"/>
                  </a:ext>
                </a:extLst>
              </p:cNvPr>
              <p:cNvSpPr txBox="1"/>
              <p:nvPr/>
            </p:nvSpPr>
            <p:spPr>
              <a:xfrm>
                <a:off x="6371753" y="3336667"/>
                <a:ext cx="349319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I is reshaping organizations into Frontier Firm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16B5E53F-888F-3C8E-DF08-B145FDC2CF0B}"/>
                </a:ext>
              </a:extLst>
            </p:cNvPr>
            <p:cNvGrpSpPr/>
            <p:nvPr/>
          </p:nvGrpSpPr>
          <p:grpSpPr>
            <a:xfrm>
              <a:off x="5939376" y="3495981"/>
              <a:ext cx="4910684" cy="582691"/>
              <a:chOff x="5860710" y="3137655"/>
              <a:chExt cx="4910684" cy="582691"/>
            </a:xfrm>
          </p:grpSpPr>
          <p:sp>
            <p:nvSpPr>
              <p:cNvPr id="28" name="TextBox 27">
                <a:extLst>
                  <a:ext uri="{FF2B5EF4-FFF2-40B4-BE49-F238E27FC236}">
                    <a16:creationId xmlns:a16="http://schemas.microsoft.com/office/drawing/2014/main" id="{06B220FE-F4DC-57D9-4673-9E8BCA639E45}"/>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1800" b="1" i="0" u="none" strike="noStrike" kern="1200" cap="none" spc="0" normalizeH="0" baseline="0" noProof="0" dirty="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29" name="TextBox 28">
                <a:extLst>
                  <a:ext uri="{FF2B5EF4-FFF2-40B4-BE49-F238E27FC236}">
                    <a16:creationId xmlns:a16="http://schemas.microsoft.com/office/drawing/2014/main" id="{E890FB27-FF9A-2F35-76EA-85B3199549E3}"/>
                  </a:ext>
                </a:extLst>
              </p:cNvPr>
              <p:cNvSpPr txBox="1"/>
              <p:nvPr/>
            </p:nvSpPr>
            <p:spPr>
              <a:xfrm>
                <a:off x="6371753" y="3336667"/>
                <a:ext cx="349319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Human-agent collaboration is redefining roles</a:t>
                </a:r>
              </a:p>
            </p:txBody>
          </p:sp>
        </p:grpSp>
        <p:grpSp>
          <p:nvGrpSpPr>
            <p:cNvPr id="30" name="Group 29">
              <a:extLst>
                <a:ext uri="{FF2B5EF4-FFF2-40B4-BE49-F238E27FC236}">
                  <a16:creationId xmlns:a16="http://schemas.microsoft.com/office/drawing/2014/main" id="{3947483D-FC8C-39F5-99A7-E224B621B127}"/>
                </a:ext>
              </a:extLst>
            </p:cNvPr>
            <p:cNvGrpSpPr/>
            <p:nvPr/>
          </p:nvGrpSpPr>
          <p:grpSpPr>
            <a:xfrm>
              <a:off x="5939376" y="4212633"/>
              <a:ext cx="4910684" cy="582691"/>
              <a:chOff x="5860710" y="3137655"/>
              <a:chExt cx="4910684" cy="582691"/>
            </a:xfrm>
          </p:grpSpPr>
          <p:sp>
            <p:nvSpPr>
              <p:cNvPr id="31" name="TextBox 30">
                <a:extLst>
                  <a:ext uri="{FF2B5EF4-FFF2-40B4-BE49-F238E27FC236}">
                    <a16:creationId xmlns:a16="http://schemas.microsoft.com/office/drawing/2014/main" id="{1BC7398F-77E3-D362-1959-5B532C3F65FF}"/>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1800" b="1" i="0" u="none" strike="noStrike" kern="1200" cap="none" spc="0" normalizeH="0" baseline="0" noProof="0" dirty="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2" name="TextBox 31">
                <a:extLst>
                  <a:ext uri="{FF2B5EF4-FFF2-40B4-BE49-F238E27FC236}">
                    <a16:creationId xmlns:a16="http://schemas.microsoft.com/office/drawing/2014/main" id="{A8FEF1F5-8630-A047-79AA-203217E46CDA}"/>
                  </a:ext>
                </a:extLst>
              </p:cNvPr>
              <p:cNvSpPr txBox="1"/>
              <p:nvPr/>
            </p:nvSpPr>
            <p:spPr>
              <a:xfrm>
                <a:off x="6371752" y="3336667"/>
                <a:ext cx="427268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I literacy and skilling are now critical workforce strategies</a:t>
                </a:r>
              </a:p>
            </p:txBody>
          </p:sp>
        </p:grpSp>
        <p:grpSp>
          <p:nvGrpSpPr>
            <p:cNvPr id="33" name="Group 32">
              <a:extLst>
                <a:ext uri="{FF2B5EF4-FFF2-40B4-BE49-F238E27FC236}">
                  <a16:creationId xmlns:a16="http://schemas.microsoft.com/office/drawing/2014/main" id="{841D7939-379E-DECA-4D71-F01EF0515903}"/>
                </a:ext>
              </a:extLst>
            </p:cNvPr>
            <p:cNvGrpSpPr/>
            <p:nvPr/>
          </p:nvGrpSpPr>
          <p:grpSpPr>
            <a:xfrm>
              <a:off x="5939376" y="4929285"/>
              <a:ext cx="4910684" cy="582691"/>
              <a:chOff x="5860710" y="3137655"/>
              <a:chExt cx="4910684" cy="582691"/>
            </a:xfrm>
          </p:grpSpPr>
          <p:sp>
            <p:nvSpPr>
              <p:cNvPr id="34" name="TextBox 33">
                <a:extLst>
                  <a:ext uri="{FF2B5EF4-FFF2-40B4-BE49-F238E27FC236}">
                    <a16:creationId xmlns:a16="http://schemas.microsoft.com/office/drawing/2014/main" id="{522EAB7C-2A72-1EF2-BE5D-B74427A59536}"/>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1800" b="1" i="0" u="none" strike="noStrike" kern="1200" cap="none" spc="0" normalizeH="0" baseline="0" noProof="0" dirty="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5" name="TextBox 34">
                <a:extLst>
                  <a:ext uri="{FF2B5EF4-FFF2-40B4-BE49-F238E27FC236}">
                    <a16:creationId xmlns:a16="http://schemas.microsoft.com/office/drawing/2014/main" id="{F05B6EDD-330F-0347-6470-4E47B803C70F}"/>
                  </a:ext>
                </a:extLst>
              </p:cNvPr>
              <p:cNvSpPr txBox="1"/>
              <p:nvPr/>
            </p:nvSpPr>
            <p:spPr>
              <a:xfrm>
                <a:off x="6371753" y="3336667"/>
                <a:ext cx="349319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I is driving a shift in organizational design</a:t>
                </a:r>
              </a:p>
            </p:txBody>
          </p:sp>
        </p:grpSp>
        <p:grpSp>
          <p:nvGrpSpPr>
            <p:cNvPr id="49" name="Group 48">
              <a:extLst>
                <a:ext uri="{FF2B5EF4-FFF2-40B4-BE49-F238E27FC236}">
                  <a16:creationId xmlns:a16="http://schemas.microsoft.com/office/drawing/2014/main" id="{FFFEC548-60D5-8358-DBE1-5496B9AF8AB3}"/>
                </a:ext>
              </a:extLst>
            </p:cNvPr>
            <p:cNvGrpSpPr/>
            <p:nvPr/>
          </p:nvGrpSpPr>
          <p:grpSpPr>
            <a:xfrm>
              <a:off x="5821680" y="2940912"/>
              <a:ext cx="274320" cy="274320"/>
              <a:chOff x="5509098" y="2840190"/>
              <a:chExt cx="457200" cy="457200"/>
            </a:xfrm>
            <a:effectLst>
              <a:outerShdw blurRad="50800" dist="38100" dir="2700000" algn="tl" rotWithShape="0">
                <a:prstClr val="black">
                  <a:alpha val="40000"/>
                </a:prstClr>
              </a:outerShdw>
            </a:effectLst>
          </p:grpSpPr>
          <p:sp>
            <p:nvSpPr>
              <p:cNvPr id="37" name="Flowchart: Connector 36">
                <a:extLst>
                  <a:ext uri="{FF2B5EF4-FFF2-40B4-BE49-F238E27FC236}">
                    <a16:creationId xmlns:a16="http://schemas.microsoft.com/office/drawing/2014/main" id="{31D4335B-AC29-14CC-9BA7-1AB0D7243FE2}"/>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dirty="0" err="1">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pic>
            <p:nvPicPr>
              <p:cNvPr id="45" name="Graphic 44" descr="Badge 1 with solid fill">
                <a:extLst>
                  <a:ext uri="{FF2B5EF4-FFF2-40B4-BE49-F238E27FC236}">
                    <a16:creationId xmlns:a16="http://schemas.microsoft.com/office/drawing/2014/main" id="{77408685-133B-097E-E592-F04B3B06C6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9098" y="2840190"/>
                <a:ext cx="457200" cy="457200"/>
              </a:xfrm>
              <a:prstGeom prst="rect">
                <a:avLst/>
              </a:prstGeom>
            </p:spPr>
          </p:pic>
        </p:grpSp>
        <p:grpSp>
          <p:nvGrpSpPr>
            <p:cNvPr id="50" name="Group 49">
              <a:extLst>
                <a:ext uri="{FF2B5EF4-FFF2-40B4-BE49-F238E27FC236}">
                  <a16:creationId xmlns:a16="http://schemas.microsoft.com/office/drawing/2014/main" id="{CF8E93AA-E421-E61E-D3ED-02654D326C1B}"/>
                </a:ext>
              </a:extLst>
            </p:cNvPr>
            <p:cNvGrpSpPr/>
            <p:nvPr/>
          </p:nvGrpSpPr>
          <p:grpSpPr>
            <a:xfrm>
              <a:off x="5821680" y="3670795"/>
              <a:ext cx="274320" cy="274320"/>
              <a:chOff x="5509098" y="2840190"/>
              <a:chExt cx="457200" cy="457200"/>
            </a:xfrm>
          </p:grpSpPr>
          <p:sp>
            <p:nvSpPr>
              <p:cNvPr id="51" name="Flowchart: Connector 50">
                <a:extLst>
                  <a:ext uri="{FF2B5EF4-FFF2-40B4-BE49-F238E27FC236}">
                    <a16:creationId xmlns:a16="http://schemas.microsoft.com/office/drawing/2014/main" id="{8BDA437F-3DB0-A1B4-3921-D0F410856178}"/>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dirty="0" err="1">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pic>
            <p:nvPicPr>
              <p:cNvPr id="52" name="Graphic 51">
                <a:extLst>
                  <a:ext uri="{FF2B5EF4-FFF2-40B4-BE49-F238E27FC236}">
                    <a16:creationId xmlns:a16="http://schemas.microsoft.com/office/drawing/2014/main" id="{323C2AB5-3A26-D33D-A85C-92BE015A42A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509098" y="2840190"/>
                <a:ext cx="457200" cy="457200"/>
              </a:xfrm>
              <a:prstGeom prst="rect">
                <a:avLst/>
              </a:prstGeom>
            </p:spPr>
          </p:pic>
        </p:grpSp>
        <p:grpSp>
          <p:nvGrpSpPr>
            <p:cNvPr id="53" name="Group 52">
              <a:extLst>
                <a:ext uri="{FF2B5EF4-FFF2-40B4-BE49-F238E27FC236}">
                  <a16:creationId xmlns:a16="http://schemas.microsoft.com/office/drawing/2014/main" id="{D69AC72C-26F5-A9C3-BC1F-FC232B264389}"/>
                </a:ext>
              </a:extLst>
            </p:cNvPr>
            <p:cNvGrpSpPr/>
            <p:nvPr/>
          </p:nvGrpSpPr>
          <p:grpSpPr>
            <a:xfrm>
              <a:off x="5821680" y="4360106"/>
              <a:ext cx="274320" cy="274320"/>
              <a:chOff x="5509098" y="2840190"/>
              <a:chExt cx="457200" cy="457200"/>
            </a:xfrm>
          </p:grpSpPr>
          <p:sp>
            <p:nvSpPr>
              <p:cNvPr id="54" name="Flowchart: Connector 53">
                <a:extLst>
                  <a:ext uri="{FF2B5EF4-FFF2-40B4-BE49-F238E27FC236}">
                    <a16:creationId xmlns:a16="http://schemas.microsoft.com/office/drawing/2014/main" id="{C4E67E58-61AC-A78E-6007-646A2847B7EF}"/>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dirty="0" err="1">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pic>
            <p:nvPicPr>
              <p:cNvPr id="55" name="Graphic 54">
                <a:extLst>
                  <a:ext uri="{FF2B5EF4-FFF2-40B4-BE49-F238E27FC236}">
                    <a16:creationId xmlns:a16="http://schemas.microsoft.com/office/drawing/2014/main" id="{D301EE11-FDF6-86BF-907B-8817AC020CB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509098" y="2840190"/>
                <a:ext cx="457200" cy="457200"/>
              </a:xfrm>
              <a:prstGeom prst="rect">
                <a:avLst/>
              </a:prstGeom>
            </p:spPr>
          </p:pic>
        </p:grpSp>
        <p:grpSp>
          <p:nvGrpSpPr>
            <p:cNvPr id="56" name="Group 55">
              <a:extLst>
                <a:ext uri="{FF2B5EF4-FFF2-40B4-BE49-F238E27FC236}">
                  <a16:creationId xmlns:a16="http://schemas.microsoft.com/office/drawing/2014/main" id="{54E27C9C-8615-261B-30FD-BCD82813167B}"/>
                </a:ext>
              </a:extLst>
            </p:cNvPr>
            <p:cNvGrpSpPr/>
            <p:nvPr/>
          </p:nvGrpSpPr>
          <p:grpSpPr>
            <a:xfrm>
              <a:off x="5821680" y="5064949"/>
              <a:ext cx="274320" cy="274320"/>
              <a:chOff x="5509098" y="2840190"/>
              <a:chExt cx="457200" cy="457200"/>
            </a:xfrm>
          </p:grpSpPr>
          <p:sp>
            <p:nvSpPr>
              <p:cNvPr id="57" name="Flowchart: Connector 56">
                <a:extLst>
                  <a:ext uri="{FF2B5EF4-FFF2-40B4-BE49-F238E27FC236}">
                    <a16:creationId xmlns:a16="http://schemas.microsoft.com/office/drawing/2014/main" id="{B459958E-2AEC-F11E-1ACB-4F29321DC82B}"/>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dirty="0" err="1">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pic>
            <p:nvPicPr>
              <p:cNvPr id="58" name="Graphic 57">
                <a:extLst>
                  <a:ext uri="{FF2B5EF4-FFF2-40B4-BE49-F238E27FC236}">
                    <a16:creationId xmlns:a16="http://schemas.microsoft.com/office/drawing/2014/main" id="{275C9216-9410-BEBC-A437-0ED8CBF2971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509098" y="2840190"/>
                <a:ext cx="457200" cy="457200"/>
              </a:xfrm>
              <a:prstGeom prst="rect">
                <a:avLst/>
              </a:prstGeom>
            </p:spPr>
          </p:pic>
        </p:grpSp>
      </p:grpSp>
    </p:spTree>
    <p:extLst>
      <p:ext uri="{BB962C8B-B14F-4D97-AF65-F5344CB8AC3E}">
        <p14:creationId xmlns:p14="http://schemas.microsoft.com/office/powerpoint/2010/main" val="3678165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0"/>
                                  </p:stCondLst>
                                  <p:childTnLst>
                                    <p:animMotion origin="layout" path="M 0 -3.33333E-6 L 0 0.03542 " pathEditMode="relative" rAng="0" ptsTypes="AA">
                                      <p:cBhvr>
                                        <p:cTn id="12" dur="700" spd="-100000" fill="hold"/>
                                        <p:tgtEl>
                                          <p:spTgt spid="5"/>
                                        </p:tgtEl>
                                        <p:attrNameLst>
                                          <p:attrName>ppt_x</p:attrName>
                                          <p:attrName>ppt_y</p:attrName>
                                        </p:attrNameLst>
                                      </p:cBhvr>
                                      <p:rCtr x="0" y="1759"/>
                                    </p:animMotion>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42" presetClass="path" presetSubtype="0" decel="100000" fill="hold" grpId="1" nodeType="withEffect">
                                  <p:stCondLst>
                                    <p:cond delay="0"/>
                                  </p:stCondLst>
                                  <p:childTnLst>
                                    <p:animMotion origin="layout" path="M -2.08333E-7 3.33333E-6 L -2.08333E-7 0.03541 " pathEditMode="relative" rAng="0" ptsTypes="AA">
                                      <p:cBhvr>
                                        <p:cTn id="17" dur="700" spd="-100000" fill="hold"/>
                                        <p:tgtEl>
                                          <p:spTgt spid="13"/>
                                        </p:tgtEl>
                                        <p:attrNameLst>
                                          <p:attrName>ppt_x</p:attrName>
                                          <p:attrName>ppt_y</p:attrName>
                                        </p:attrNameLst>
                                      </p:cBhvr>
                                      <p:rCtr x="0" y="1759"/>
                                    </p:animMotion>
                                  </p:childTnLst>
                                </p:cTn>
                              </p:par>
                              <p:par>
                                <p:cTn id="18" presetID="1" presetClass="entr" presetSubtype="0"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42" presetClass="path" presetSubtype="0" decel="100000" fill="hold" grpId="1" nodeType="withEffect">
                                  <p:stCondLst>
                                    <p:cond delay="0"/>
                                  </p:stCondLst>
                                  <p:childTnLst>
                                    <p:animMotion origin="layout" path="M 0 4.81481E-6 L 0 0.03541 " pathEditMode="relative" rAng="0" ptsTypes="AA">
                                      <p:cBhvr>
                                        <p:cTn id="21" dur="700" spd="-100000" fill="hold"/>
                                        <p:tgtEl>
                                          <p:spTgt spid="24"/>
                                        </p:tgtEl>
                                        <p:attrNameLst>
                                          <p:attrName>ppt_x</p:attrName>
                                          <p:attrName>ppt_y</p:attrName>
                                        </p:attrNameLst>
                                      </p:cBhvr>
                                      <p:rCtr x="0" y="1759"/>
                                    </p:animMotion>
                                  </p:childTnLst>
                                </p:cTn>
                              </p:par>
                              <p:par>
                                <p:cTn id="22" presetID="1"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13" grpId="0"/>
      <p:bldP spid="13" grpId="1"/>
      <p:bldP spid="24" grpId="0" animBg="1"/>
      <p:bldP spid="2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960BA-E3C2-6BE2-8ADB-704991C4063F}"/>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396A8169-17EC-65C2-0DDD-873ED36EF23F}"/>
              </a:ext>
              <a:ext uri="{C183D7F6-B498-43B3-948B-1728B52AA6E4}">
                <adec:decorative xmlns:adec="http://schemas.microsoft.com/office/drawing/2017/decorative" val="1"/>
              </a:ext>
            </a:extLst>
          </p:cNvPr>
          <p:cNvSpPr/>
          <p:nvPr/>
        </p:nvSpPr>
        <p:spPr bwMode="auto">
          <a:xfrm>
            <a:off x="749115" y="676912"/>
            <a:ext cx="10693771" cy="5504176"/>
          </a:xfrm>
          <a:prstGeom prst="roundRect">
            <a:avLst>
              <a:gd name="adj" fmla="val 6028"/>
            </a:avLst>
          </a:prstGeom>
          <a:solidFill>
            <a:srgbClr val="194449">
              <a:alpha val="10000"/>
            </a:srgbClr>
          </a:solidFill>
        </p:spPr>
        <p:txBody>
          <a:bodyPr wrap="square" lIns="0" tIns="0" rIns="0" bIns="45720" rtlCol="0" anchor="ctr" anchorCtr="0">
            <a:noAutofit/>
          </a:body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err="1">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pic>
        <p:nvPicPr>
          <p:cNvPr id="6" name="Picture 5">
            <a:extLst>
              <a:ext uri="{FF2B5EF4-FFF2-40B4-BE49-F238E27FC236}">
                <a16:creationId xmlns:a16="http://schemas.microsoft.com/office/drawing/2014/main" id="{8A012FF3-38E0-42F2-27B6-E440EF9CD976}"/>
              </a:ext>
              <a:ext uri="{C183D7F6-B498-43B3-948B-1728B52AA6E4}">
                <adec:decorative xmlns:adec="http://schemas.microsoft.com/office/drawing/2017/decorative" val="1"/>
              </a:ext>
            </a:extLst>
          </p:cNvPr>
          <p:cNvPicPr>
            <a:picLocks noChangeAspect="1"/>
          </p:cNvPicPr>
          <p:nvPr/>
        </p:nvPicPr>
        <p:blipFill>
          <a:blip r:embed="rId3" cstate="email">
            <a:extLst>
              <a:ext uri="{BEBA8EAE-BF5A-486C-A8C5-ECC9F3942E4B}">
                <a14:imgProps xmlns:a14="http://schemas.microsoft.com/office/drawing/2010/main">
                  <a14:imgLayer r:embed="rId4">
                    <a14:imgEffect>
                      <a14:colorTemperature colorTemp="7699"/>
                    </a14:imgEffect>
                    <a14:imgEffect>
                      <a14:saturation sat="80000"/>
                    </a14:imgEffect>
                    <a14:imgEffect>
                      <a14:brightnessContrast bright="-16000"/>
                    </a14:imgEffect>
                  </a14:imgLayer>
                </a14:imgProps>
              </a:ext>
              <a:ext uri="{28A0092B-C50C-407E-A947-70E740481C1C}">
                <a14:useLocalDpi xmlns:a14="http://schemas.microsoft.com/office/drawing/2010/main"/>
              </a:ext>
            </a:extLst>
          </a:blip>
          <a:srcRect/>
          <a:stretch>
            <a:fillRect/>
          </a:stretch>
        </p:blipFill>
        <p:spPr>
          <a:xfrm>
            <a:off x="1130917" y="1022550"/>
            <a:ext cx="3300874" cy="4809744"/>
          </a:xfrm>
          <a:prstGeom prst="roundRect">
            <a:avLst>
              <a:gd name="adj" fmla="val 7777"/>
            </a:avLst>
          </a:prstGeom>
          <a:ln>
            <a:noFill/>
          </a:ln>
        </p:spPr>
      </p:pic>
      <p:sp>
        <p:nvSpPr>
          <p:cNvPr id="2" name="Title 1">
            <a:extLst>
              <a:ext uri="{FF2B5EF4-FFF2-40B4-BE49-F238E27FC236}">
                <a16:creationId xmlns:a16="http://schemas.microsoft.com/office/drawing/2014/main" id="{2683185B-02FF-666D-AEE1-3C811CAD1131}"/>
              </a:ext>
            </a:extLst>
          </p:cNvPr>
          <p:cNvSpPr txBox="1">
            <a:spLocks noGrp="1"/>
          </p:cNvSpPr>
          <p:nvPr>
            <p:ph type="title" idx="4294967295"/>
          </p:nvPr>
        </p:nvSpPr>
        <p:spPr>
          <a:xfrm>
            <a:off x="4857276" y="1986296"/>
            <a:ext cx="3629263" cy="288540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defTabSz="914400">
              <a:lnSpc>
                <a:spcPts val="7500"/>
              </a:lnSpc>
              <a:spcBef>
                <a:spcPts val="0"/>
              </a:spcBef>
              <a:defRPr/>
            </a:pPr>
            <a:r>
              <a:rPr lang="en-US" sz="6600" spc="0">
                <a:ln>
                  <a:noFill/>
                </a:ln>
                <a:latin typeface="+mn-lt"/>
                <a:cs typeface="+mn-cs"/>
              </a:rPr>
              <a:t>Reshape</a:t>
            </a:r>
            <a:br>
              <a:rPr lang="en-US" sz="6600" spc="0">
                <a:ln>
                  <a:noFill/>
                </a:ln>
                <a:latin typeface="+mn-lt"/>
                <a:cs typeface="+mn-cs"/>
              </a:rPr>
            </a:br>
            <a:r>
              <a:rPr lang="en-US" sz="6600" spc="0">
                <a:ln>
                  <a:noFill/>
                </a:ln>
                <a:latin typeface="+mn-lt"/>
                <a:cs typeface="+mn-cs"/>
              </a:rPr>
              <a:t>business</a:t>
            </a:r>
            <a:br>
              <a:rPr lang="en-US" sz="6600" spc="0">
                <a:ln>
                  <a:noFill/>
                </a:ln>
                <a:latin typeface="+mn-lt"/>
                <a:cs typeface="+mn-cs"/>
              </a:rPr>
            </a:br>
            <a:r>
              <a:rPr lang="en-US" sz="6600" spc="0">
                <a:ln>
                  <a:noFill/>
                </a:ln>
                <a:latin typeface="+mn-lt"/>
                <a:cs typeface="+mn-cs"/>
              </a:rPr>
              <a:t>processes</a:t>
            </a:r>
            <a:endParaRPr kumimoji="0" lang="en-US" sz="6600" b="0" i="0" u="none" strike="noStrike" kern="1200" cap="none" spc="0" normalizeH="0" baseline="0" noProof="0">
              <a:ln>
                <a:noFill/>
              </a:ln>
              <a:effectLst/>
              <a:uLnTx/>
              <a:uFillTx/>
              <a:latin typeface="+mn-lt"/>
              <a:cs typeface="+mn-cs"/>
            </a:endParaRPr>
          </a:p>
        </p:txBody>
      </p:sp>
    </p:spTree>
    <p:extLst>
      <p:ext uri="{BB962C8B-B14F-4D97-AF65-F5344CB8AC3E}">
        <p14:creationId xmlns:p14="http://schemas.microsoft.com/office/powerpoint/2010/main" val="200931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A5896-9B03-3816-BFE5-6D4FDDBBE93B}"/>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ECE6CA5-DC63-B489-F6AA-3C1F8FE00B5A}"/>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2" name="Rectangle: Rounded Corners 1">
            <a:extLst>
              <a:ext uri="{FF2B5EF4-FFF2-40B4-BE49-F238E27FC236}">
                <a16:creationId xmlns:a16="http://schemas.microsoft.com/office/drawing/2014/main" id="{025546A6-D00D-92E0-39F5-0C21F8FEEB63}"/>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 name="Graphic 33">
            <a:extLst>
              <a:ext uri="{FF2B5EF4-FFF2-40B4-BE49-F238E27FC236}">
                <a16:creationId xmlns:a16="http://schemas.microsoft.com/office/drawing/2014/main" id="{5A843C90-E3F0-C5F7-9550-8AA777B9C020}"/>
              </a:ext>
              <a:ext uri="{C183D7F6-B498-43B3-948B-1728B52AA6E4}">
                <adec:decorative xmlns:adec="http://schemas.microsoft.com/office/drawing/2017/decorative" val="1"/>
              </a:ext>
            </a:extLst>
          </p:cNvPr>
          <p:cNvSpPr>
            <a:spLocks/>
          </p:cNvSpPr>
          <p:nvPr/>
        </p:nvSpPr>
        <p:spPr>
          <a:xfrm>
            <a:off x="3130860" y="4892858"/>
            <a:ext cx="273282" cy="303648"/>
          </a:xfrm>
          <a:custGeom>
            <a:avLst/>
            <a:gdLst>
              <a:gd name="connsiteX0" fmla="*/ 0 w 171450"/>
              <a:gd name="connsiteY0" fmla="*/ 35719 h 190501"/>
              <a:gd name="connsiteX1" fmla="*/ 0 w 171450"/>
              <a:gd name="connsiteY1" fmla="*/ 85725 h 190501"/>
              <a:gd name="connsiteX2" fmla="*/ 83106 w 171450"/>
              <a:gd name="connsiteY2" fmla="*/ 190005 h 190501"/>
              <a:gd name="connsiteX3" fmla="*/ 88344 w 171450"/>
              <a:gd name="connsiteY3" fmla="*/ 190005 h 190501"/>
              <a:gd name="connsiteX4" fmla="*/ 171450 w 171450"/>
              <a:gd name="connsiteY4" fmla="*/ 85725 h 190501"/>
              <a:gd name="connsiteX5" fmla="*/ 171450 w 171450"/>
              <a:gd name="connsiteY5" fmla="*/ 35719 h 190501"/>
              <a:gd name="connsiteX6" fmla="*/ 164306 w 171450"/>
              <a:gd name="connsiteY6" fmla="*/ 28575 h 190501"/>
              <a:gd name="connsiteX7" fmla="*/ 90011 w 171450"/>
              <a:gd name="connsiteY7" fmla="*/ 1429 h 190501"/>
              <a:gd name="connsiteX8" fmla="*/ 81439 w 171450"/>
              <a:gd name="connsiteY8" fmla="*/ 1429 h 190501"/>
              <a:gd name="connsiteX9" fmla="*/ 7144 w 171450"/>
              <a:gd name="connsiteY9" fmla="*/ 28575 h 190501"/>
              <a:gd name="connsiteX10" fmla="*/ 0 w 171450"/>
              <a:gd name="connsiteY10" fmla="*/ 35719 h 190501"/>
              <a:gd name="connsiteX11" fmla="*/ 104727 w 171450"/>
              <a:gd name="connsiteY11" fmla="*/ 85725 h 190501"/>
              <a:gd name="connsiteX12" fmla="*/ 92869 w 171450"/>
              <a:gd name="connsiteY12" fmla="*/ 103365 h 190501"/>
              <a:gd name="connsiteX13" fmla="*/ 92869 w 171450"/>
              <a:gd name="connsiteY13" fmla="*/ 126206 h 190501"/>
              <a:gd name="connsiteX14" fmla="*/ 85725 w 171450"/>
              <a:gd name="connsiteY14" fmla="*/ 133350 h 190501"/>
              <a:gd name="connsiteX15" fmla="*/ 78581 w 171450"/>
              <a:gd name="connsiteY15" fmla="*/ 126206 h 190501"/>
              <a:gd name="connsiteX16" fmla="*/ 78581 w 171450"/>
              <a:gd name="connsiteY16" fmla="*/ 103403 h 190501"/>
              <a:gd name="connsiteX17" fmla="*/ 67998 w 171450"/>
              <a:gd name="connsiteY17" fmla="*/ 78628 h 190501"/>
              <a:gd name="connsiteX18" fmla="*/ 92774 w 171450"/>
              <a:gd name="connsiteY18" fmla="*/ 68045 h 190501"/>
              <a:gd name="connsiteX19" fmla="*/ 104727 w 171450"/>
              <a:gd name="connsiteY19" fmla="*/ 85725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450" h="190501">
                <a:moveTo>
                  <a:pt x="0" y="35719"/>
                </a:move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close/>
                <a:moveTo>
                  <a:pt x="104727" y="85725"/>
                </a:moveTo>
                <a:cubicBezTo>
                  <a:pt x="104727" y="93469"/>
                  <a:pt x="100039" y="100442"/>
                  <a:pt x="92869" y="103365"/>
                </a:cubicBezTo>
                <a:lnTo>
                  <a:pt x="92869" y="126206"/>
                </a:lnTo>
                <a:cubicBezTo>
                  <a:pt x="92869" y="130152"/>
                  <a:pt x="89670" y="133350"/>
                  <a:pt x="85725" y="133350"/>
                </a:cubicBezTo>
                <a:cubicBezTo>
                  <a:pt x="81780" y="133350"/>
                  <a:pt x="78581" y="130152"/>
                  <a:pt x="78581" y="126206"/>
                </a:cubicBezTo>
                <a:lnTo>
                  <a:pt x="78581" y="103403"/>
                </a:lnTo>
                <a:cubicBezTo>
                  <a:pt x="68817" y="99484"/>
                  <a:pt x="64079" y="88392"/>
                  <a:pt x="67998" y="78628"/>
                </a:cubicBezTo>
                <a:cubicBezTo>
                  <a:pt x="71918" y="68864"/>
                  <a:pt x="83009" y="64126"/>
                  <a:pt x="92774" y="68045"/>
                </a:cubicBezTo>
                <a:cubicBezTo>
                  <a:pt x="99995" y="70944"/>
                  <a:pt x="104727" y="77943"/>
                  <a:pt x="104727" y="85725"/>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 name="Graphic 80">
            <a:extLst>
              <a:ext uri="{FF2B5EF4-FFF2-40B4-BE49-F238E27FC236}">
                <a16:creationId xmlns:a16="http://schemas.microsoft.com/office/drawing/2014/main" id="{172BBC32-5059-C5E7-13A6-652CE8D56392}"/>
              </a:ext>
              <a:ext uri="{C183D7F6-B498-43B3-948B-1728B52AA6E4}">
                <adec:decorative xmlns:adec="http://schemas.microsoft.com/office/drawing/2017/decorative" val="1"/>
              </a:ext>
            </a:extLst>
          </p:cNvPr>
          <p:cNvSpPr>
            <a:spLocks/>
          </p:cNvSpPr>
          <p:nvPr/>
        </p:nvSpPr>
        <p:spPr>
          <a:xfrm>
            <a:off x="9073745" y="4881769"/>
            <a:ext cx="236240" cy="325826"/>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1" name="Graphic 38">
            <a:extLst>
              <a:ext uri="{FF2B5EF4-FFF2-40B4-BE49-F238E27FC236}">
                <a16:creationId xmlns:a16="http://schemas.microsoft.com/office/drawing/2014/main" id="{B4BC5280-9E82-5AAE-112E-51E6731530ED}"/>
              </a:ext>
              <a:ext uri="{C183D7F6-B498-43B3-948B-1728B52AA6E4}">
                <adec:decorative xmlns:adec="http://schemas.microsoft.com/office/drawing/2017/decorative" val="1"/>
              </a:ext>
            </a:extLst>
          </p:cNvPr>
          <p:cNvSpPr>
            <a:spLocks noChangeAspect="1"/>
          </p:cNvSpPr>
          <p:nvPr/>
        </p:nvSpPr>
        <p:spPr>
          <a:xfrm>
            <a:off x="6102302" y="4905841"/>
            <a:ext cx="281654" cy="277682"/>
          </a:xfrm>
          <a:custGeom>
            <a:avLst/>
            <a:gdLst>
              <a:gd name="connsiteX0" fmla="*/ 66675 w 160490"/>
              <a:gd name="connsiteY0" fmla="*/ 0 h 158227"/>
              <a:gd name="connsiteX1" fmla="*/ 28575 w 160490"/>
              <a:gd name="connsiteY1" fmla="*/ 38100 h 158227"/>
              <a:gd name="connsiteX2" fmla="*/ 66675 w 160490"/>
              <a:gd name="connsiteY2" fmla="*/ 76200 h 158227"/>
              <a:gd name="connsiteX3" fmla="*/ 104775 w 160490"/>
              <a:gd name="connsiteY3" fmla="*/ 38100 h 158227"/>
              <a:gd name="connsiteX4" fmla="*/ 66675 w 160490"/>
              <a:gd name="connsiteY4" fmla="*/ 0 h 158227"/>
              <a:gd name="connsiteX5" fmla="*/ 19133 w 160490"/>
              <a:gd name="connsiteY5" fmla="*/ 85725 h 158227"/>
              <a:gd name="connsiteX6" fmla="*/ 0 w 160490"/>
              <a:gd name="connsiteY6" fmla="*/ 104775 h 158227"/>
              <a:gd name="connsiteX7" fmla="*/ 20336 w 160490"/>
              <a:gd name="connsiteY7" fmla="*/ 140938 h 158227"/>
              <a:gd name="connsiteX8" fmla="*/ 66675 w 160490"/>
              <a:gd name="connsiteY8" fmla="*/ 152400 h 158227"/>
              <a:gd name="connsiteX9" fmla="*/ 78205 w 160490"/>
              <a:gd name="connsiteY9" fmla="*/ 151854 h 158227"/>
              <a:gd name="connsiteX10" fmla="*/ 66675 w 160490"/>
              <a:gd name="connsiteY10" fmla="*/ 119063 h 158227"/>
              <a:gd name="connsiteX11" fmla="*/ 78650 w 160490"/>
              <a:gd name="connsiteY11" fmla="*/ 85725 h 158227"/>
              <a:gd name="connsiteX12" fmla="*/ 19133 w 160490"/>
              <a:gd name="connsiteY12" fmla="*/ 85725 h 158227"/>
              <a:gd name="connsiteX13" fmla="*/ 82249 w 160490"/>
              <a:gd name="connsiteY13" fmla="*/ 113537 h 158227"/>
              <a:gd name="connsiteX14" fmla="*/ 95876 w 160490"/>
              <a:gd name="connsiteY14" fmla="*/ 89935 h 158227"/>
              <a:gd name="connsiteX15" fmla="*/ 94388 w 160490"/>
              <a:gd name="connsiteY15" fmla="*/ 84632 h 158227"/>
              <a:gd name="connsiteX16" fmla="*/ 102217 w 160490"/>
              <a:gd name="connsiteY16" fmla="*/ 79893 h 158227"/>
              <a:gd name="connsiteX17" fmla="*/ 105430 w 160490"/>
              <a:gd name="connsiteY17" fmla="*/ 83303 h 158227"/>
              <a:gd name="connsiteX18" fmla="*/ 133143 w 160490"/>
              <a:gd name="connsiteY18" fmla="*/ 83317 h 158227"/>
              <a:gd name="connsiteX19" fmla="*/ 136236 w 160490"/>
              <a:gd name="connsiteY19" fmla="*/ 80042 h 158227"/>
              <a:gd name="connsiteX20" fmla="*/ 144188 w 160490"/>
              <a:gd name="connsiteY20" fmla="*/ 84977 h 158227"/>
              <a:gd name="connsiteX21" fmla="*/ 142986 w 160490"/>
              <a:gd name="connsiteY21" fmla="*/ 89000 h 158227"/>
              <a:gd name="connsiteX22" fmla="*/ 156855 w 160490"/>
              <a:gd name="connsiteY22" fmla="*/ 112992 h 158227"/>
              <a:gd name="connsiteX23" fmla="*/ 160179 w 160490"/>
              <a:gd name="connsiteY23" fmla="*/ 113778 h 158227"/>
              <a:gd name="connsiteX24" fmla="*/ 160491 w 160490"/>
              <a:gd name="connsiteY24" fmla="*/ 119062 h 158227"/>
              <a:gd name="connsiteX25" fmla="*/ 160275 w 160490"/>
              <a:gd name="connsiteY25" fmla="*/ 123462 h 158227"/>
              <a:gd name="connsiteX26" fmla="*/ 155888 w 160490"/>
              <a:gd name="connsiteY26" fmla="*/ 124582 h 158227"/>
              <a:gd name="connsiteX27" fmla="*/ 142262 w 160490"/>
              <a:gd name="connsiteY27" fmla="*/ 148185 h 158227"/>
              <a:gd name="connsiteX28" fmla="*/ 143748 w 160490"/>
              <a:gd name="connsiteY28" fmla="*/ 153488 h 158227"/>
              <a:gd name="connsiteX29" fmla="*/ 135920 w 160490"/>
              <a:gd name="connsiteY29" fmla="*/ 158227 h 158227"/>
              <a:gd name="connsiteX30" fmla="*/ 132707 w 160490"/>
              <a:gd name="connsiteY30" fmla="*/ 154817 h 158227"/>
              <a:gd name="connsiteX31" fmla="*/ 104994 w 160490"/>
              <a:gd name="connsiteY31" fmla="*/ 154803 h 158227"/>
              <a:gd name="connsiteX32" fmla="*/ 101898 w 160490"/>
              <a:gd name="connsiteY32" fmla="*/ 158081 h 158227"/>
              <a:gd name="connsiteX33" fmla="*/ 93948 w 160490"/>
              <a:gd name="connsiteY33" fmla="*/ 153148 h 158227"/>
              <a:gd name="connsiteX34" fmla="*/ 95152 w 160490"/>
              <a:gd name="connsiteY34" fmla="*/ 149121 h 158227"/>
              <a:gd name="connsiteX35" fmla="*/ 81283 w 160490"/>
              <a:gd name="connsiteY35" fmla="*/ 125128 h 158227"/>
              <a:gd name="connsiteX36" fmla="*/ 77953 w 160490"/>
              <a:gd name="connsiteY36" fmla="*/ 124340 h 158227"/>
              <a:gd name="connsiteX37" fmla="*/ 77642 w 160490"/>
              <a:gd name="connsiteY37" fmla="*/ 119062 h 158227"/>
              <a:gd name="connsiteX38" fmla="*/ 77857 w 160490"/>
              <a:gd name="connsiteY38" fmla="*/ 114659 h 158227"/>
              <a:gd name="connsiteX39" fmla="*/ 82249 w 160490"/>
              <a:gd name="connsiteY39" fmla="*/ 113537 h 158227"/>
              <a:gd name="connsiteX40" fmla="*/ 128591 w 160490"/>
              <a:gd name="connsiteY40" fmla="*/ 119062 h 158227"/>
              <a:gd name="connsiteX41" fmla="*/ 119066 w 160490"/>
              <a:gd name="connsiteY41" fmla="*/ 109537 h 158227"/>
              <a:gd name="connsiteX42" fmla="*/ 109541 w 160490"/>
              <a:gd name="connsiteY42" fmla="*/ 119062 h 158227"/>
              <a:gd name="connsiteX43" fmla="*/ 119066 w 160490"/>
              <a:gd name="connsiteY43" fmla="*/ 128587 h 158227"/>
              <a:gd name="connsiteX44" fmla="*/ 128591 w 160490"/>
              <a:gd name="connsiteY44" fmla="*/ 119062 h 15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0490" h="158227">
                <a:moveTo>
                  <a:pt x="66675" y="0"/>
                </a:moveTo>
                <a:cubicBezTo>
                  <a:pt x="45633" y="0"/>
                  <a:pt x="28575" y="17058"/>
                  <a:pt x="28575" y="38100"/>
                </a:cubicBezTo>
                <a:cubicBezTo>
                  <a:pt x="28575" y="59142"/>
                  <a:pt x="45633" y="76200"/>
                  <a:pt x="66675" y="76200"/>
                </a:cubicBezTo>
                <a:cubicBezTo>
                  <a:pt x="87717" y="76200"/>
                  <a:pt x="104775" y="59142"/>
                  <a:pt x="104775" y="38100"/>
                </a:cubicBezTo>
                <a:cubicBezTo>
                  <a:pt x="104775" y="17058"/>
                  <a:pt x="87717" y="0"/>
                  <a:pt x="66675" y="0"/>
                </a:cubicBezTo>
                <a:close/>
                <a:moveTo>
                  <a:pt x="19133" y="85725"/>
                </a:moveTo>
                <a:cubicBezTo>
                  <a:pt x="8603" y="85725"/>
                  <a:pt x="0" y="94173"/>
                  <a:pt x="0" y="104775"/>
                </a:cubicBezTo>
                <a:cubicBezTo>
                  <a:pt x="0" y="120884"/>
                  <a:pt x="7933" y="133029"/>
                  <a:pt x="20336" y="140938"/>
                </a:cubicBezTo>
                <a:cubicBezTo>
                  <a:pt x="32547" y="148723"/>
                  <a:pt x="49009" y="152400"/>
                  <a:pt x="66675" y="152400"/>
                </a:cubicBezTo>
                <a:cubicBezTo>
                  <a:pt x="70588" y="152400"/>
                  <a:pt x="74443" y="152220"/>
                  <a:pt x="78205" y="151854"/>
                </a:cubicBezTo>
                <a:cubicBezTo>
                  <a:pt x="70991" y="142878"/>
                  <a:pt x="66675" y="131475"/>
                  <a:pt x="66675" y="119063"/>
                </a:cubicBezTo>
                <a:cubicBezTo>
                  <a:pt x="66675" y="106398"/>
                  <a:pt x="71169" y="94782"/>
                  <a:pt x="78650" y="85725"/>
                </a:cubicBezTo>
                <a:lnTo>
                  <a:pt x="19133" y="85725"/>
                </a:lnTo>
                <a:close/>
                <a:moveTo>
                  <a:pt x="82249" y="113537"/>
                </a:moveTo>
                <a:cubicBezTo>
                  <a:pt x="92612" y="110890"/>
                  <a:pt x="98765" y="100233"/>
                  <a:pt x="95876" y="89935"/>
                </a:cubicBezTo>
                <a:lnTo>
                  <a:pt x="94388" y="84632"/>
                </a:lnTo>
                <a:cubicBezTo>
                  <a:pt x="96808" y="82771"/>
                  <a:pt x="99431" y="81178"/>
                  <a:pt x="102217" y="79893"/>
                </a:cubicBezTo>
                <a:lnTo>
                  <a:pt x="105430" y="83303"/>
                </a:lnTo>
                <a:cubicBezTo>
                  <a:pt x="112945" y="91276"/>
                  <a:pt x="125620" y="91283"/>
                  <a:pt x="133143" y="83317"/>
                </a:cubicBezTo>
                <a:lnTo>
                  <a:pt x="136236" y="80042"/>
                </a:lnTo>
                <a:cubicBezTo>
                  <a:pt x="139073" y="81381"/>
                  <a:pt x="141738" y="83041"/>
                  <a:pt x="144188" y="84977"/>
                </a:cubicBezTo>
                <a:lnTo>
                  <a:pt x="142986" y="89000"/>
                </a:lnTo>
                <a:cubicBezTo>
                  <a:pt x="139849" y="99497"/>
                  <a:pt x="146193" y="110471"/>
                  <a:pt x="156855" y="112992"/>
                </a:cubicBezTo>
                <a:lnTo>
                  <a:pt x="160179" y="113778"/>
                </a:lnTo>
                <a:cubicBezTo>
                  <a:pt x="160385" y="115510"/>
                  <a:pt x="160491" y="117273"/>
                  <a:pt x="160491" y="119062"/>
                </a:cubicBezTo>
                <a:cubicBezTo>
                  <a:pt x="160491" y="120547"/>
                  <a:pt x="160417" y="122015"/>
                  <a:pt x="160275" y="123462"/>
                </a:cubicBezTo>
                <a:lnTo>
                  <a:pt x="155888" y="124582"/>
                </a:lnTo>
                <a:cubicBezTo>
                  <a:pt x="145526" y="127230"/>
                  <a:pt x="139373" y="137888"/>
                  <a:pt x="142262" y="148185"/>
                </a:cubicBezTo>
                <a:lnTo>
                  <a:pt x="143748" y="153488"/>
                </a:lnTo>
                <a:cubicBezTo>
                  <a:pt x="141328" y="155348"/>
                  <a:pt x="138706" y="156942"/>
                  <a:pt x="135920" y="158227"/>
                </a:cubicBezTo>
                <a:lnTo>
                  <a:pt x="132707" y="154817"/>
                </a:lnTo>
                <a:cubicBezTo>
                  <a:pt x="125193" y="146844"/>
                  <a:pt x="112517" y="146837"/>
                  <a:pt x="104994" y="154803"/>
                </a:cubicBezTo>
                <a:lnTo>
                  <a:pt x="101898" y="158081"/>
                </a:lnTo>
                <a:cubicBezTo>
                  <a:pt x="99062" y="156742"/>
                  <a:pt x="96398" y="155083"/>
                  <a:pt x="93948" y="153148"/>
                </a:cubicBezTo>
                <a:lnTo>
                  <a:pt x="95152" y="149121"/>
                </a:lnTo>
                <a:cubicBezTo>
                  <a:pt x="98288" y="138623"/>
                  <a:pt x="91945" y="127648"/>
                  <a:pt x="81283" y="125128"/>
                </a:cubicBezTo>
                <a:lnTo>
                  <a:pt x="77953" y="124340"/>
                </a:lnTo>
                <a:cubicBezTo>
                  <a:pt x="77748" y="122611"/>
                  <a:pt x="77642" y="120848"/>
                  <a:pt x="77642" y="119062"/>
                </a:cubicBezTo>
                <a:cubicBezTo>
                  <a:pt x="77642" y="117575"/>
                  <a:pt x="77714" y="116106"/>
                  <a:pt x="77857" y="114659"/>
                </a:cubicBezTo>
                <a:lnTo>
                  <a:pt x="82249" y="113537"/>
                </a:lnTo>
                <a:close/>
                <a:moveTo>
                  <a:pt x="128591" y="119062"/>
                </a:moveTo>
                <a:cubicBezTo>
                  <a:pt x="128591" y="113801"/>
                  <a:pt x="124327" y="109537"/>
                  <a:pt x="119066" y="109537"/>
                </a:cubicBezTo>
                <a:cubicBezTo>
                  <a:pt x="113806" y="109537"/>
                  <a:pt x="109541" y="113801"/>
                  <a:pt x="109541" y="119062"/>
                </a:cubicBezTo>
                <a:cubicBezTo>
                  <a:pt x="109541" y="124321"/>
                  <a:pt x="113806" y="128587"/>
                  <a:pt x="119066" y="128587"/>
                </a:cubicBezTo>
                <a:cubicBezTo>
                  <a:pt x="124327" y="128587"/>
                  <a:pt x="128591" y="124321"/>
                  <a:pt x="128591" y="119062"/>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12" name="Group 11">
            <a:extLst>
              <a:ext uri="{FF2B5EF4-FFF2-40B4-BE49-F238E27FC236}">
                <a16:creationId xmlns:a16="http://schemas.microsoft.com/office/drawing/2014/main" id="{9ACDC884-964F-0487-D7FB-703479B626B0}"/>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13" name="Straight Connector 12">
              <a:extLst>
                <a:ext uri="{FF2B5EF4-FFF2-40B4-BE49-F238E27FC236}">
                  <a16:creationId xmlns:a16="http://schemas.microsoft.com/office/drawing/2014/main" id="{A26C5C14-17B0-C7B6-DA0E-26A17DE50A75}"/>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D1DE682-18EB-0088-6229-7E82A95B4644}"/>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 name="Text Placeholder 11">
            <a:extLst>
              <a:ext uri="{FF2B5EF4-FFF2-40B4-BE49-F238E27FC236}">
                <a16:creationId xmlns:a16="http://schemas.microsoft.com/office/drawing/2014/main" id="{945513E3-5060-7CD3-5BCF-683EBB3547B5}"/>
              </a:ext>
            </a:extLst>
          </p:cNvPr>
          <p:cNvSpPr txBox="1">
            <a:spLocks noGrp="1"/>
          </p:cNvSpPr>
          <p:nvPr>
            <p:ph type="title" idx="4294967295"/>
          </p:nvPr>
        </p:nvSpPr>
        <p:spPr>
          <a:xfrm>
            <a:off x="306028" y="2019300"/>
            <a:ext cx="2572807"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Powering the energy transition with AI and Copilot for Microsoft 365: Uniper optimizes processes and simplifies day-to-day operations</a:t>
            </a:r>
          </a:p>
        </p:txBody>
      </p:sp>
      <p:pic>
        <p:nvPicPr>
          <p:cNvPr id="30" name="Picture 6" descr="Uniper logo">
            <a:extLst>
              <a:ext uri="{FF2B5EF4-FFF2-40B4-BE49-F238E27FC236}">
                <a16:creationId xmlns:a16="http://schemas.microsoft.com/office/drawing/2014/main" id="{908755C9-6021-5A11-F4A3-80A4A6AA05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28" y="394477"/>
            <a:ext cx="1283522" cy="107578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Rounded Corners 30">
            <a:hlinkClick r:id="rId4"/>
            <a:extLst>
              <a:ext uri="{FF2B5EF4-FFF2-40B4-BE49-F238E27FC236}">
                <a16:creationId xmlns:a16="http://schemas.microsoft.com/office/drawing/2014/main" id="{0844C973-D10F-7866-D2F3-193E6CA60B74}"/>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33" name="Picture 32" descr="Two people discussing in the office.">
            <a:extLst>
              <a:ext uri="{FF2B5EF4-FFF2-40B4-BE49-F238E27FC236}">
                <a16:creationId xmlns:a16="http://schemas.microsoft.com/office/drawing/2014/main" id="{759DCAFE-4B39-B646-AC0C-248F1351BA6E}"/>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33725" y="419480"/>
            <a:ext cx="8638575" cy="2611318"/>
          </a:xfrm>
          <a:prstGeom prst="roundRect">
            <a:avLst>
              <a:gd name="adj" fmla="val 4146"/>
            </a:avLst>
          </a:prstGeom>
        </p:spPr>
      </p:pic>
      <p:sp>
        <p:nvSpPr>
          <p:cNvPr id="9" name="Text Placeholder 9">
            <a:extLst>
              <a:ext uri="{FF2B5EF4-FFF2-40B4-BE49-F238E27FC236}">
                <a16:creationId xmlns:a16="http://schemas.microsoft.com/office/drawing/2014/main" id="{396AFB70-DC15-17F3-8150-6287A4466DB2}"/>
              </a:ext>
            </a:extLst>
          </p:cNvPr>
          <p:cNvSpPr txBox="1">
            <a:spLocks/>
          </p:cNvSpPr>
          <p:nvPr/>
        </p:nvSpPr>
        <p:spPr>
          <a:xfrm>
            <a:off x="3133725" y="3207069"/>
            <a:ext cx="8638575" cy="112338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For any audit in any country, Copilot for Microsoft 365 lays out the particulars for the given standards and creates an audit plan as well as the relevant audit checklist. That means our auditors can get to work right away and we increase audit productivity by up to 80%.”</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Damian Bunyan,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CIO, Uniper</a:t>
            </a:r>
          </a:p>
        </p:txBody>
      </p:sp>
      <p:sp>
        <p:nvSpPr>
          <p:cNvPr id="3" name="TextBox 24_1">
            <a:extLst>
              <a:ext uri="{FF2B5EF4-FFF2-40B4-BE49-F238E27FC236}">
                <a16:creationId xmlns:a16="http://schemas.microsoft.com/office/drawing/2014/main" id="{7EC62190-CEA8-2D65-C9F2-A65E502D35C9}"/>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4" name="TextBox 3">
            <a:extLst>
              <a:ext uri="{FF2B5EF4-FFF2-40B4-BE49-F238E27FC236}">
                <a16:creationId xmlns:a16="http://schemas.microsoft.com/office/drawing/2014/main" id="{D09E8F5B-B024-5683-96C8-88B96CC0CF4F}"/>
              </a:ext>
            </a:extLst>
          </p:cNvPr>
          <p:cNvSpPr txBox="1">
            <a:spLocks/>
          </p:cNvSpPr>
          <p:nvPr/>
        </p:nvSpPr>
        <p:spPr>
          <a:xfrm>
            <a:off x="3130859" y="5291424"/>
            <a:ext cx="2695687" cy="115929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dentify security risks </a:t>
            </a:r>
            <a:br>
              <a:rPr kumimoji="0" lang="en-US" sz="1400" b="0" i="0" u="none" strike="noStrike" kern="1200" cap="none" spc="0" normalizeH="0" baseline="0" noProof="0">
                <a:ln>
                  <a:noFill/>
                </a:ln>
                <a:solidFill>
                  <a:srgbClr val="0078D4"/>
                </a:solidFill>
                <a:effectLst/>
                <a:uLnTx/>
                <a:uFillTx/>
                <a:latin typeface="Segoe UI Semibold"/>
                <a:ea typeface="+mn-ea"/>
                <a:cs typeface="+mn-cs"/>
              </a:rPr>
            </a:br>
            <a:r>
              <a:rPr kumimoji="0" lang="en-US" sz="1400" b="0" i="0" u="none" strike="noStrike" kern="1200" cap="none" spc="0" normalizeH="0" baseline="0" noProof="0">
                <a:ln>
                  <a:noFill/>
                </a:ln>
                <a:solidFill>
                  <a:srgbClr val="0078D4"/>
                </a:solidFill>
                <a:effectLst/>
                <a:uLnTx/>
                <a:uFillTx/>
                <a:latin typeface="Segoe UI Semibold"/>
                <a:ea typeface="+mn-ea"/>
                <a:cs typeface="+mn-cs"/>
              </a:rPr>
              <a:t>more quickl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for Security immediately flags incidents relating to a new report, meaning security risks can be identified up to twice as fast</a:t>
            </a:r>
          </a:p>
        </p:txBody>
      </p:sp>
      <p:sp>
        <p:nvSpPr>
          <p:cNvPr id="6" name="TextBox 5">
            <a:extLst>
              <a:ext uri="{FF2B5EF4-FFF2-40B4-BE49-F238E27FC236}">
                <a16:creationId xmlns:a16="http://schemas.microsoft.com/office/drawing/2014/main" id="{464BF1BF-8259-4B27-180C-E23310B0DA6A}"/>
              </a:ext>
            </a:extLst>
          </p:cNvPr>
          <p:cNvSpPr txBox="1">
            <a:spLocks/>
          </p:cNvSpPr>
          <p:nvPr/>
        </p:nvSpPr>
        <p:spPr>
          <a:xfrm>
            <a:off x="6102302" y="5291424"/>
            <a:ext cx="2591219"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ncreased productivit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nabled auditors to get to work right away with the help of Microsoft 365 Copilot, with an increase in audit productivity by up to 80%</a:t>
            </a:r>
          </a:p>
        </p:txBody>
      </p:sp>
      <p:sp>
        <p:nvSpPr>
          <p:cNvPr id="7" name="TextBox 6">
            <a:extLst>
              <a:ext uri="{FF2B5EF4-FFF2-40B4-BE49-F238E27FC236}">
                <a16:creationId xmlns:a16="http://schemas.microsoft.com/office/drawing/2014/main" id="{A15708F4-734C-A2B4-50EC-C15C61A36101}"/>
              </a:ext>
            </a:extLst>
          </p:cNvPr>
          <p:cNvSpPr txBox="1">
            <a:spLocks/>
          </p:cNvSpPr>
          <p:nvPr/>
        </p:nvSpPr>
        <p:spPr>
          <a:xfrm>
            <a:off x="9073744" y="5291424"/>
            <a:ext cx="2760115" cy="60529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able informed decision-making</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nabled more informed decision making with intelligent data insights</a:t>
            </a:r>
          </a:p>
        </p:txBody>
      </p:sp>
    </p:spTree>
    <p:extLst>
      <p:ext uri="{BB962C8B-B14F-4D97-AF65-F5344CB8AC3E}">
        <p14:creationId xmlns:p14="http://schemas.microsoft.com/office/powerpoint/2010/main" val="104200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2FD52-175B-2BB7-8128-0B7C39EEDEB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73391A5-3803-2949-73B0-0EA45FF0CF7D}"/>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5" name="Rectangle: Rounded Corners 4">
            <a:extLst>
              <a:ext uri="{FF2B5EF4-FFF2-40B4-BE49-F238E27FC236}">
                <a16:creationId xmlns:a16="http://schemas.microsoft.com/office/drawing/2014/main" id="{D571E804-8A79-EA80-9B51-A073AA819EF0}"/>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10" name="Group 9">
            <a:extLst>
              <a:ext uri="{FF2B5EF4-FFF2-40B4-BE49-F238E27FC236}">
                <a16:creationId xmlns:a16="http://schemas.microsoft.com/office/drawing/2014/main" id="{AA1621FF-DA8A-9032-D480-0D9455086F75}"/>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12" name="Straight Connector 11">
              <a:extLst>
                <a:ext uri="{FF2B5EF4-FFF2-40B4-BE49-F238E27FC236}">
                  <a16:creationId xmlns:a16="http://schemas.microsoft.com/office/drawing/2014/main" id="{6C226C5B-AA8A-204D-1A46-6E430B5C15C9}"/>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BD615F7-D643-6BBC-EF72-475C5BC46175}"/>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 name="Graphic 35">
            <a:extLst>
              <a:ext uri="{FF2B5EF4-FFF2-40B4-BE49-F238E27FC236}">
                <a16:creationId xmlns:a16="http://schemas.microsoft.com/office/drawing/2014/main" id="{F3C53651-04F0-82A3-1D58-03A213B38AC0}"/>
              </a:ext>
              <a:ext uri="{C183D7F6-B498-43B3-948B-1728B52AA6E4}">
                <adec:decorative xmlns:adec="http://schemas.microsoft.com/office/drawing/2017/decorative" val="1"/>
              </a:ext>
            </a:extLst>
          </p:cNvPr>
          <p:cNvSpPr>
            <a:spLocks/>
          </p:cNvSpPr>
          <p:nvPr/>
        </p:nvSpPr>
        <p:spPr>
          <a:xfrm>
            <a:off x="3130860" y="4919670"/>
            <a:ext cx="250024" cy="250024"/>
          </a:xfrm>
          <a:custGeom>
            <a:avLst/>
            <a:gdLst>
              <a:gd name="connsiteX0" fmla="*/ 863389 w 1726742"/>
              <a:gd name="connsiteY0" fmla="*/ 368 h 1727114"/>
              <a:gd name="connsiteX1" fmla="*/ 1726743 w 1726742"/>
              <a:gd name="connsiteY1" fmla="*/ 863760 h 1727114"/>
              <a:gd name="connsiteX2" fmla="*/ 863360 w 1726742"/>
              <a:gd name="connsiteY2" fmla="*/ 1727115 h 1727114"/>
              <a:gd name="connsiteX3" fmla="*/ 0 w 1726742"/>
              <a:gd name="connsiteY3" fmla="*/ 863722 h 1727114"/>
              <a:gd name="connsiteX4" fmla="*/ 3565 w 1726742"/>
              <a:gd name="connsiteY4" fmla="*/ 785366 h 1727114"/>
              <a:gd name="connsiteX5" fmla="*/ 107745 w 1726742"/>
              <a:gd name="connsiteY5" fmla="*/ 698453 h 1727114"/>
              <a:gd name="connsiteX6" fmla="*/ 194658 w 1726742"/>
              <a:gd name="connsiteY6" fmla="*/ 802634 h 1727114"/>
              <a:gd name="connsiteX7" fmla="*/ 388533 w 1726742"/>
              <a:gd name="connsiteY7" fmla="*/ 1338597 h 1727114"/>
              <a:gd name="connsiteX8" fmla="*/ 507679 w 1726742"/>
              <a:gd name="connsiteY8" fmla="*/ 1433376 h 1727114"/>
              <a:gd name="connsiteX9" fmla="*/ 1432908 w 1726742"/>
              <a:gd name="connsiteY9" fmla="*/ 1219355 h 1727114"/>
              <a:gd name="connsiteX10" fmla="*/ 1218888 w 1726742"/>
              <a:gd name="connsiteY10" fmla="*/ 294125 h 1727114"/>
              <a:gd name="connsiteX11" fmla="*/ 393138 w 1726742"/>
              <a:gd name="connsiteY11" fmla="*/ 384281 h 1727114"/>
              <a:gd name="connsiteX12" fmla="*/ 527441 w 1726742"/>
              <a:gd name="connsiteY12" fmla="*/ 384377 h 1727114"/>
              <a:gd name="connsiteX13" fmla="*/ 624024 w 1726742"/>
              <a:gd name="connsiteY13" fmla="*/ 479649 h 1727114"/>
              <a:gd name="connsiteX14" fmla="*/ 538569 w 1726742"/>
              <a:gd name="connsiteY14" fmla="*/ 575662 h 1727114"/>
              <a:gd name="connsiteX15" fmla="*/ 527441 w 1726742"/>
              <a:gd name="connsiteY15" fmla="*/ 576238 h 1727114"/>
              <a:gd name="connsiteX16" fmla="*/ 143527 w 1726742"/>
              <a:gd name="connsiteY16" fmla="*/ 576238 h 1727114"/>
              <a:gd name="connsiteX17" fmla="*/ 48268 w 1726742"/>
              <a:gd name="connsiteY17" fmla="*/ 491531 h 1727114"/>
              <a:gd name="connsiteX18" fmla="*/ 47597 w 1726742"/>
              <a:gd name="connsiteY18" fmla="*/ 480307 h 1727114"/>
              <a:gd name="connsiteX19" fmla="*/ 47597 w 1726742"/>
              <a:gd name="connsiteY19" fmla="*/ 96586 h 1727114"/>
              <a:gd name="connsiteX20" fmla="*/ 142869 w 1726742"/>
              <a:gd name="connsiteY20" fmla="*/ 2 h 1727114"/>
              <a:gd name="connsiteX21" fmla="*/ 238882 w 1726742"/>
              <a:gd name="connsiteY21" fmla="*/ 85458 h 1727114"/>
              <a:gd name="connsiteX22" fmla="*/ 239458 w 1726742"/>
              <a:gd name="connsiteY22" fmla="*/ 96682 h 1727114"/>
              <a:gd name="connsiteX23" fmla="*/ 239458 w 1726742"/>
              <a:gd name="connsiteY23" fmla="*/ 266862 h 1727114"/>
              <a:gd name="connsiteX24" fmla="*/ 863389 w 1726742"/>
              <a:gd name="connsiteY24" fmla="*/ 368 h 1727114"/>
              <a:gd name="connsiteX25" fmla="*/ 791441 w 1726742"/>
              <a:gd name="connsiteY25" fmla="*/ 384089 h 1727114"/>
              <a:gd name="connsiteX26" fmla="*/ 862717 w 1726742"/>
              <a:gd name="connsiteY26" fmla="*/ 446252 h 1727114"/>
              <a:gd name="connsiteX27" fmla="*/ 863389 w 1726742"/>
              <a:gd name="connsiteY27" fmla="*/ 456037 h 1727114"/>
              <a:gd name="connsiteX28" fmla="*/ 863389 w 1726742"/>
              <a:gd name="connsiteY28" fmla="*/ 863741 h 1727114"/>
              <a:gd name="connsiteX29" fmla="*/ 1079232 w 1726742"/>
              <a:gd name="connsiteY29" fmla="*/ 863741 h 1727114"/>
              <a:gd name="connsiteX30" fmla="*/ 1151161 w 1726742"/>
              <a:gd name="connsiteY30" fmla="*/ 935708 h 1727114"/>
              <a:gd name="connsiteX31" fmla="*/ 1089017 w 1726742"/>
              <a:gd name="connsiteY31" fmla="*/ 1006965 h 1727114"/>
              <a:gd name="connsiteX32" fmla="*/ 1079232 w 1726742"/>
              <a:gd name="connsiteY32" fmla="*/ 1007637 h 1727114"/>
              <a:gd name="connsiteX33" fmla="*/ 791441 w 1726742"/>
              <a:gd name="connsiteY33" fmla="*/ 1007637 h 1727114"/>
              <a:gd name="connsiteX34" fmla="*/ 720165 w 1726742"/>
              <a:gd name="connsiteY34" fmla="*/ 945474 h 1727114"/>
              <a:gd name="connsiteX35" fmla="*/ 719493 w 1726742"/>
              <a:gd name="connsiteY35" fmla="*/ 935689 h 1727114"/>
              <a:gd name="connsiteX36" fmla="*/ 719493 w 1726742"/>
              <a:gd name="connsiteY36" fmla="*/ 456037 h 1727114"/>
              <a:gd name="connsiteX37" fmla="*/ 791441 w 1726742"/>
              <a:gd name="connsiteY37" fmla="*/ 384089 h 172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26742" h="1727114">
                <a:moveTo>
                  <a:pt x="863389" y="368"/>
                </a:moveTo>
                <a:cubicBezTo>
                  <a:pt x="1340220" y="376"/>
                  <a:pt x="1726753" y="386929"/>
                  <a:pt x="1726743" y="863760"/>
                </a:cubicBezTo>
                <a:cubicBezTo>
                  <a:pt x="1726743" y="1340582"/>
                  <a:pt x="1340182" y="1727124"/>
                  <a:pt x="863360" y="1727115"/>
                </a:cubicBezTo>
                <a:cubicBezTo>
                  <a:pt x="386530" y="1727105"/>
                  <a:pt x="-9" y="1340554"/>
                  <a:pt x="0" y="863722"/>
                </a:cubicBezTo>
                <a:cubicBezTo>
                  <a:pt x="0" y="837562"/>
                  <a:pt x="1190" y="811421"/>
                  <a:pt x="3565" y="785366"/>
                </a:cubicBezTo>
                <a:cubicBezTo>
                  <a:pt x="8333" y="732595"/>
                  <a:pt x="54976" y="693685"/>
                  <a:pt x="107745" y="698453"/>
                </a:cubicBezTo>
                <a:cubicBezTo>
                  <a:pt x="160515" y="703221"/>
                  <a:pt x="199427" y="749862"/>
                  <a:pt x="194658" y="802634"/>
                </a:cubicBezTo>
                <a:cubicBezTo>
                  <a:pt x="175981" y="1001277"/>
                  <a:pt x="247095" y="1197867"/>
                  <a:pt x="388533" y="1338597"/>
                </a:cubicBezTo>
                <a:cubicBezTo>
                  <a:pt x="424507" y="1374571"/>
                  <a:pt x="464510" y="1406419"/>
                  <a:pt x="507679" y="1433376"/>
                </a:cubicBezTo>
                <a:cubicBezTo>
                  <a:pt x="822273" y="1629774"/>
                  <a:pt x="1236520" y="1533949"/>
                  <a:pt x="1432908" y="1219355"/>
                </a:cubicBezTo>
                <a:cubicBezTo>
                  <a:pt x="1629307" y="904761"/>
                  <a:pt x="1533491" y="490521"/>
                  <a:pt x="1218888" y="294125"/>
                </a:cubicBezTo>
                <a:cubicBezTo>
                  <a:pt x="955846" y="129907"/>
                  <a:pt x="614555" y="167170"/>
                  <a:pt x="393138" y="384281"/>
                </a:cubicBezTo>
                <a:lnTo>
                  <a:pt x="527441" y="384377"/>
                </a:lnTo>
                <a:cubicBezTo>
                  <a:pt x="580420" y="384015"/>
                  <a:pt x="623663" y="426670"/>
                  <a:pt x="624024" y="479649"/>
                </a:cubicBezTo>
                <a:cubicBezTo>
                  <a:pt x="624360" y="528827"/>
                  <a:pt x="587453" y="570294"/>
                  <a:pt x="538569" y="575662"/>
                </a:cubicBezTo>
                <a:lnTo>
                  <a:pt x="527441" y="576238"/>
                </a:lnTo>
                <a:lnTo>
                  <a:pt x="143527" y="576238"/>
                </a:lnTo>
                <a:cubicBezTo>
                  <a:pt x="94892" y="576231"/>
                  <a:pt x="53959" y="539831"/>
                  <a:pt x="48268" y="491531"/>
                </a:cubicBezTo>
                <a:lnTo>
                  <a:pt x="47597" y="480307"/>
                </a:lnTo>
                <a:lnTo>
                  <a:pt x="47597" y="96586"/>
                </a:lnTo>
                <a:cubicBezTo>
                  <a:pt x="47235" y="43606"/>
                  <a:pt x="89890" y="364"/>
                  <a:pt x="142869" y="2"/>
                </a:cubicBezTo>
                <a:cubicBezTo>
                  <a:pt x="192047" y="-333"/>
                  <a:pt x="233514" y="36574"/>
                  <a:pt x="238882" y="85458"/>
                </a:cubicBezTo>
                <a:lnTo>
                  <a:pt x="239458" y="96682"/>
                </a:lnTo>
                <a:lnTo>
                  <a:pt x="239458" y="266862"/>
                </a:lnTo>
                <a:cubicBezTo>
                  <a:pt x="402245" y="96453"/>
                  <a:pt x="627721" y="146"/>
                  <a:pt x="863389" y="368"/>
                </a:cubicBezTo>
                <a:close/>
                <a:moveTo>
                  <a:pt x="791441" y="384089"/>
                </a:moveTo>
                <a:cubicBezTo>
                  <a:pt x="827396" y="384091"/>
                  <a:pt x="857825" y="410633"/>
                  <a:pt x="862717" y="446252"/>
                </a:cubicBezTo>
                <a:lnTo>
                  <a:pt x="863389" y="456037"/>
                </a:lnTo>
                <a:lnTo>
                  <a:pt x="863389" y="863741"/>
                </a:lnTo>
                <a:lnTo>
                  <a:pt x="1079232" y="863741"/>
                </a:lnTo>
                <a:cubicBezTo>
                  <a:pt x="1118966" y="863751"/>
                  <a:pt x="1151170" y="895974"/>
                  <a:pt x="1151161" y="935708"/>
                </a:cubicBezTo>
                <a:cubicBezTo>
                  <a:pt x="1151151" y="971653"/>
                  <a:pt x="1124617" y="1002063"/>
                  <a:pt x="1089017" y="1006965"/>
                </a:cubicBezTo>
                <a:lnTo>
                  <a:pt x="1079232" y="1007637"/>
                </a:lnTo>
                <a:lnTo>
                  <a:pt x="791441" y="1007637"/>
                </a:lnTo>
                <a:cubicBezTo>
                  <a:pt x="755486" y="1007637"/>
                  <a:pt x="725057" y="981093"/>
                  <a:pt x="720165" y="945474"/>
                </a:cubicBezTo>
                <a:lnTo>
                  <a:pt x="719493" y="935689"/>
                </a:lnTo>
                <a:lnTo>
                  <a:pt x="719493" y="456037"/>
                </a:lnTo>
                <a:cubicBezTo>
                  <a:pt x="719493" y="416302"/>
                  <a:pt x="751707" y="384089"/>
                  <a:pt x="791441" y="384089"/>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9" name="Graphic 148">
            <a:extLst>
              <a:ext uri="{FF2B5EF4-FFF2-40B4-BE49-F238E27FC236}">
                <a16:creationId xmlns:a16="http://schemas.microsoft.com/office/drawing/2014/main" id="{B342F57D-5358-66ED-6E50-D5E5DF3A9308}"/>
              </a:ext>
              <a:ext uri="{C183D7F6-B498-43B3-948B-1728B52AA6E4}">
                <adec:decorative xmlns:adec="http://schemas.microsoft.com/office/drawing/2017/decorative" val="1"/>
              </a:ext>
            </a:extLst>
          </p:cNvPr>
          <p:cNvSpPr>
            <a:spLocks/>
          </p:cNvSpPr>
          <p:nvPr/>
        </p:nvSpPr>
        <p:spPr>
          <a:xfrm>
            <a:off x="6102302" y="4919671"/>
            <a:ext cx="262526" cy="250024"/>
          </a:xfrm>
          <a:custGeom>
            <a:avLst/>
            <a:gdLst>
              <a:gd name="connsiteX0" fmla="*/ 213768 w 266701"/>
              <a:gd name="connsiteY0" fmla="*/ 5651 h 254000"/>
              <a:gd name="connsiteX1" fmla="*/ 203202 w 266701"/>
              <a:gd name="connsiteY1" fmla="*/ 0 h 254000"/>
              <a:gd name="connsiteX2" fmla="*/ 50802 w 266701"/>
              <a:gd name="connsiteY2" fmla="*/ 0 h 254000"/>
              <a:gd name="connsiteX3" fmla="*/ 49214 w 266701"/>
              <a:gd name="connsiteY3" fmla="*/ 102 h 254000"/>
              <a:gd name="connsiteX4" fmla="*/ 39435 w 266701"/>
              <a:gd name="connsiteY4" fmla="*/ 7023 h 254000"/>
              <a:gd name="connsiteX5" fmla="*/ 1335 w 266701"/>
              <a:gd name="connsiteY5" fmla="*/ 83223 h 254000"/>
              <a:gd name="connsiteX6" fmla="*/ 675 w 266701"/>
              <a:gd name="connsiteY6" fmla="*/ 84811 h 254000"/>
              <a:gd name="connsiteX7" fmla="*/ 3266 w 266701"/>
              <a:gd name="connsiteY7" fmla="*/ 97396 h 254000"/>
              <a:gd name="connsiteX8" fmla="*/ 117337 w 266701"/>
              <a:gd name="connsiteY8" fmla="*/ 224180 h 254000"/>
              <a:gd name="connsiteX9" fmla="*/ 124093 w 266701"/>
              <a:gd name="connsiteY9" fmla="*/ 228270 h 254000"/>
              <a:gd name="connsiteX10" fmla="*/ 125516 w 266701"/>
              <a:gd name="connsiteY10" fmla="*/ 228524 h 254000"/>
              <a:gd name="connsiteX11" fmla="*/ 132577 w 266701"/>
              <a:gd name="connsiteY11" fmla="*/ 227343 h 254000"/>
              <a:gd name="connsiteX12" fmla="*/ 127002 w 266701"/>
              <a:gd name="connsiteY12" fmla="*/ 203200 h 254000"/>
              <a:gd name="connsiteX13" fmla="*/ 127002 w 266701"/>
              <a:gd name="connsiteY13" fmla="*/ 196850 h 254000"/>
              <a:gd name="connsiteX14" fmla="*/ 158752 w 266701"/>
              <a:gd name="connsiteY14" fmla="*/ 165100 h 254000"/>
              <a:gd name="connsiteX15" fmla="*/ 170817 w 266701"/>
              <a:gd name="connsiteY15" fmla="*/ 165100 h 254000"/>
              <a:gd name="connsiteX16" fmla="*/ 168328 w 266701"/>
              <a:gd name="connsiteY16" fmla="*/ 97794 h 254000"/>
              <a:gd name="connsiteX17" fmla="*/ 235634 w 266701"/>
              <a:gd name="connsiteY17" fmla="*/ 95306 h 254000"/>
              <a:gd name="connsiteX18" fmla="*/ 243740 w 266701"/>
              <a:gd name="connsiteY18" fmla="*/ 105169 h 254000"/>
              <a:gd name="connsiteX19" fmla="*/ 250738 w 266701"/>
              <a:gd name="connsiteY19" fmla="*/ 97396 h 254000"/>
              <a:gd name="connsiteX20" fmla="*/ 251805 w 266701"/>
              <a:gd name="connsiteY20" fmla="*/ 96037 h 254000"/>
              <a:gd name="connsiteX21" fmla="*/ 252656 w 266701"/>
              <a:gd name="connsiteY21" fmla="*/ 83210 h 254000"/>
              <a:gd name="connsiteX22" fmla="*/ 214556 w 266701"/>
              <a:gd name="connsiteY22" fmla="*/ 7010 h 254000"/>
              <a:gd name="connsiteX23" fmla="*/ 213768 w 266701"/>
              <a:gd name="connsiteY23" fmla="*/ 5651 h 254000"/>
              <a:gd name="connsiteX24" fmla="*/ 94274 w 266701"/>
              <a:gd name="connsiteY24" fmla="*/ 101600 h 254000"/>
              <a:gd name="connsiteX25" fmla="*/ 159717 w 266701"/>
              <a:gd name="connsiteY25" fmla="*/ 101600 h 254000"/>
              <a:gd name="connsiteX26" fmla="*/ 127002 w 266701"/>
              <a:gd name="connsiteY26" fmla="*/ 182143 h 254000"/>
              <a:gd name="connsiteX27" fmla="*/ 94274 w 266701"/>
              <a:gd name="connsiteY27" fmla="*/ 101600 h 254000"/>
              <a:gd name="connsiteX28" fmla="*/ 41226 w 266701"/>
              <a:gd name="connsiteY28" fmla="*/ 101600 h 254000"/>
              <a:gd name="connsiteX29" fmla="*/ 66855 w 266701"/>
              <a:gd name="connsiteY29" fmla="*/ 101600 h 254000"/>
              <a:gd name="connsiteX30" fmla="*/ 87937 w 266701"/>
              <a:gd name="connsiteY30" fmla="*/ 153505 h 254000"/>
              <a:gd name="connsiteX31" fmla="*/ 41226 w 266701"/>
              <a:gd name="connsiteY31" fmla="*/ 101600 h 254000"/>
              <a:gd name="connsiteX32" fmla="*/ 58650 w 266701"/>
              <a:gd name="connsiteY32" fmla="*/ 25400 h 254000"/>
              <a:gd name="connsiteX33" fmla="*/ 84101 w 266701"/>
              <a:gd name="connsiteY33" fmla="*/ 25400 h 254000"/>
              <a:gd name="connsiteX34" fmla="*/ 67591 w 266701"/>
              <a:gd name="connsiteY34" fmla="*/ 76200 h 254000"/>
              <a:gd name="connsiteX35" fmla="*/ 33250 w 266701"/>
              <a:gd name="connsiteY35" fmla="*/ 76200 h 254000"/>
              <a:gd name="connsiteX36" fmla="*/ 58650 w 266701"/>
              <a:gd name="connsiteY36" fmla="*/ 25400 h 254000"/>
              <a:gd name="connsiteX37" fmla="*/ 110822 w 266701"/>
              <a:gd name="connsiteY37" fmla="*/ 25400 h 254000"/>
              <a:gd name="connsiteX38" fmla="*/ 143169 w 266701"/>
              <a:gd name="connsiteY38" fmla="*/ 25400 h 254000"/>
              <a:gd name="connsiteX39" fmla="*/ 159666 w 266701"/>
              <a:gd name="connsiteY39" fmla="*/ 76200 h 254000"/>
              <a:gd name="connsiteX40" fmla="*/ 94325 w 266701"/>
              <a:gd name="connsiteY40" fmla="*/ 76200 h 254000"/>
              <a:gd name="connsiteX41" fmla="*/ 110822 w 266701"/>
              <a:gd name="connsiteY41" fmla="*/ 25400 h 254000"/>
              <a:gd name="connsiteX42" fmla="*/ 169890 w 266701"/>
              <a:gd name="connsiteY42" fmla="*/ 25400 h 254000"/>
              <a:gd name="connsiteX43" fmla="*/ 195340 w 266701"/>
              <a:gd name="connsiteY43" fmla="*/ 25400 h 254000"/>
              <a:gd name="connsiteX44" fmla="*/ 220740 w 266701"/>
              <a:gd name="connsiteY44" fmla="*/ 76200 h 254000"/>
              <a:gd name="connsiteX45" fmla="*/ 186400 w 266701"/>
              <a:gd name="connsiteY45" fmla="*/ 76200 h 254000"/>
              <a:gd name="connsiteX46" fmla="*/ 169890 w 266701"/>
              <a:gd name="connsiteY46" fmla="*/ 25400 h 254000"/>
              <a:gd name="connsiteX47" fmla="*/ 247652 w 266701"/>
              <a:gd name="connsiteY47" fmla="*/ 177800 h 254000"/>
              <a:gd name="connsiteX48" fmla="*/ 266702 w 266701"/>
              <a:gd name="connsiteY48" fmla="*/ 196850 h 254000"/>
              <a:gd name="connsiteX49" fmla="*/ 266702 w 266701"/>
              <a:gd name="connsiteY49" fmla="*/ 203200 h 254000"/>
              <a:gd name="connsiteX50" fmla="*/ 203202 w 266701"/>
              <a:gd name="connsiteY50" fmla="*/ 254000 h 254000"/>
              <a:gd name="connsiteX51" fmla="*/ 139702 w 266701"/>
              <a:gd name="connsiteY51" fmla="*/ 203200 h 254000"/>
              <a:gd name="connsiteX52" fmla="*/ 139702 w 266701"/>
              <a:gd name="connsiteY52" fmla="*/ 196850 h 254000"/>
              <a:gd name="connsiteX53" fmla="*/ 158752 w 266701"/>
              <a:gd name="connsiteY53" fmla="*/ 177800 h 254000"/>
              <a:gd name="connsiteX54" fmla="*/ 247652 w 266701"/>
              <a:gd name="connsiteY54" fmla="*/ 177800 h 254000"/>
              <a:gd name="connsiteX55" fmla="*/ 203202 w 266701"/>
              <a:gd name="connsiteY55" fmla="*/ 95250 h 254000"/>
              <a:gd name="connsiteX56" fmla="*/ 238127 w 266701"/>
              <a:gd name="connsiteY56" fmla="*/ 130175 h 254000"/>
              <a:gd name="connsiteX57" fmla="*/ 203202 w 266701"/>
              <a:gd name="connsiteY57" fmla="*/ 165100 h 254000"/>
              <a:gd name="connsiteX58" fmla="*/ 168277 w 266701"/>
              <a:gd name="connsiteY58" fmla="*/ 130175 h 254000"/>
              <a:gd name="connsiteX59" fmla="*/ 203202 w 266701"/>
              <a:gd name="connsiteY59" fmla="*/ 9525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66701" h="254000">
                <a:moveTo>
                  <a:pt x="213768" y="5651"/>
                </a:moveTo>
                <a:cubicBezTo>
                  <a:pt x="211412" y="2120"/>
                  <a:pt x="207447" y="-1"/>
                  <a:pt x="203202" y="0"/>
                </a:cubicBezTo>
                <a:lnTo>
                  <a:pt x="50802" y="0"/>
                </a:lnTo>
                <a:lnTo>
                  <a:pt x="49214" y="102"/>
                </a:lnTo>
                <a:cubicBezTo>
                  <a:pt x="45003" y="630"/>
                  <a:pt x="41333" y="3227"/>
                  <a:pt x="39435" y="7023"/>
                </a:cubicBezTo>
                <a:lnTo>
                  <a:pt x="1335" y="83223"/>
                </a:lnTo>
                <a:lnTo>
                  <a:pt x="675" y="84811"/>
                </a:lnTo>
                <a:cubicBezTo>
                  <a:pt x="-804" y="89165"/>
                  <a:pt x="187" y="93980"/>
                  <a:pt x="3266" y="97396"/>
                </a:cubicBezTo>
                <a:lnTo>
                  <a:pt x="117337" y="224180"/>
                </a:lnTo>
                <a:cubicBezTo>
                  <a:pt x="119083" y="226244"/>
                  <a:pt x="121456" y="227680"/>
                  <a:pt x="124093" y="228270"/>
                </a:cubicBezTo>
                <a:lnTo>
                  <a:pt x="125516" y="228524"/>
                </a:lnTo>
                <a:cubicBezTo>
                  <a:pt x="127934" y="228809"/>
                  <a:pt x="130383" y="228399"/>
                  <a:pt x="132577" y="227343"/>
                </a:cubicBezTo>
                <a:cubicBezTo>
                  <a:pt x="128925" y="219817"/>
                  <a:pt x="127020" y="211565"/>
                  <a:pt x="127002" y="203200"/>
                </a:cubicBezTo>
                <a:lnTo>
                  <a:pt x="127002" y="196850"/>
                </a:lnTo>
                <a:cubicBezTo>
                  <a:pt x="127002" y="179315"/>
                  <a:pt x="141217" y="165100"/>
                  <a:pt x="158752" y="165100"/>
                </a:cubicBezTo>
                <a:lnTo>
                  <a:pt x="170817" y="165100"/>
                </a:lnTo>
                <a:cubicBezTo>
                  <a:pt x="151544" y="147201"/>
                  <a:pt x="150430" y="117067"/>
                  <a:pt x="168328" y="97794"/>
                </a:cubicBezTo>
                <a:cubicBezTo>
                  <a:pt x="186227" y="78521"/>
                  <a:pt x="216361" y="77407"/>
                  <a:pt x="235634" y="95306"/>
                </a:cubicBezTo>
                <a:cubicBezTo>
                  <a:pt x="238767" y="98215"/>
                  <a:pt x="241493" y="101532"/>
                  <a:pt x="243740" y="105169"/>
                </a:cubicBezTo>
                <a:lnTo>
                  <a:pt x="250738" y="97396"/>
                </a:lnTo>
                <a:lnTo>
                  <a:pt x="251805" y="96037"/>
                </a:lnTo>
                <a:cubicBezTo>
                  <a:pt x="254391" y="92232"/>
                  <a:pt x="254717" y="87324"/>
                  <a:pt x="252656" y="83210"/>
                </a:cubicBezTo>
                <a:lnTo>
                  <a:pt x="214556" y="7010"/>
                </a:lnTo>
                <a:lnTo>
                  <a:pt x="213768" y="5651"/>
                </a:lnTo>
                <a:close/>
                <a:moveTo>
                  <a:pt x="94274" y="101600"/>
                </a:moveTo>
                <a:lnTo>
                  <a:pt x="159717" y="101600"/>
                </a:lnTo>
                <a:lnTo>
                  <a:pt x="127002" y="182143"/>
                </a:lnTo>
                <a:lnTo>
                  <a:pt x="94274" y="101600"/>
                </a:lnTo>
                <a:close/>
                <a:moveTo>
                  <a:pt x="41226" y="101600"/>
                </a:moveTo>
                <a:lnTo>
                  <a:pt x="66855" y="101600"/>
                </a:lnTo>
                <a:lnTo>
                  <a:pt x="87937" y="153505"/>
                </a:lnTo>
                <a:lnTo>
                  <a:pt x="41226" y="101600"/>
                </a:lnTo>
                <a:close/>
                <a:moveTo>
                  <a:pt x="58650" y="25400"/>
                </a:moveTo>
                <a:lnTo>
                  <a:pt x="84101" y="25400"/>
                </a:lnTo>
                <a:lnTo>
                  <a:pt x="67591" y="76200"/>
                </a:lnTo>
                <a:lnTo>
                  <a:pt x="33250" y="76200"/>
                </a:lnTo>
                <a:lnTo>
                  <a:pt x="58650" y="25400"/>
                </a:lnTo>
                <a:close/>
                <a:moveTo>
                  <a:pt x="110822" y="25400"/>
                </a:moveTo>
                <a:lnTo>
                  <a:pt x="143169" y="25400"/>
                </a:lnTo>
                <a:lnTo>
                  <a:pt x="159666" y="76200"/>
                </a:lnTo>
                <a:lnTo>
                  <a:pt x="94325" y="76200"/>
                </a:lnTo>
                <a:lnTo>
                  <a:pt x="110822" y="25400"/>
                </a:lnTo>
                <a:close/>
                <a:moveTo>
                  <a:pt x="169890" y="25400"/>
                </a:moveTo>
                <a:lnTo>
                  <a:pt x="195340" y="25400"/>
                </a:lnTo>
                <a:lnTo>
                  <a:pt x="220740" y="76200"/>
                </a:lnTo>
                <a:lnTo>
                  <a:pt x="186400" y="76200"/>
                </a:lnTo>
                <a:lnTo>
                  <a:pt x="169890" y="25400"/>
                </a:lnTo>
                <a:close/>
                <a:moveTo>
                  <a:pt x="247652" y="177800"/>
                </a:moveTo>
                <a:cubicBezTo>
                  <a:pt x="258173" y="177800"/>
                  <a:pt x="266702" y="186329"/>
                  <a:pt x="266702" y="196850"/>
                </a:cubicBezTo>
                <a:lnTo>
                  <a:pt x="266702" y="203200"/>
                </a:lnTo>
                <a:cubicBezTo>
                  <a:pt x="266702" y="228232"/>
                  <a:pt x="243080" y="254000"/>
                  <a:pt x="203202" y="254000"/>
                </a:cubicBezTo>
                <a:cubicBezTo>
                  <a:pt x="163324" y="254000"/>
                  <a:pt x="139702" y="228232"/>
                  <a:pt x="139702" y="203200"/>
                </a:cubicBezTo>
                <a:lnTo>
                  <a:pt x="139702" y="196850"/>
                </a:lnTo>
                <a:cubicBezTo>
                  <a:pt x="139702" y="186329"/>
                  <a:pt x="148231" y="177800"/>
                  <a:pt x="158752" y="177800"/>
                </a:cubicBezTo>
                <a:lnTo>
                  <a:pt x="247652" y="177800"/>
                </a:lnTo>
                <a:close/>
                <a:moveTo>
                  <a:pt x="203202" y="95250"/>
                </a:moveTo>
                <a:cubicBezTo>
                  <a:pt x="222490" y="95250"/>
                  <a:pt x="238127" y="110886"/>
                  <a:pt x="238127" y="130175"/>
                </a:cubicBezTo>
                <a:cubicBezTo>
                  <a:pt x="238127" y="149464"/>
                  <a:pt x="222490" y="165100"/>
                  <a:pt x="203202" y="165100"/>
                </a:cubicBezTo>
                <a:cubicBezTo>
                  <a:pt x="183913" y="165100"/>
                  <a:pt x="168277" y="149464"/>
                  <a:pt x="168277" y="130175"/>
                </a:cubicBezTo>
                <a:cubicBezTo>
                  <a:pt x="168277" y="110886"/>
                  <a:pt x="183913" y="95250"/>
                  <a:pt x="203202" y="9525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1" name="Graphic 80">
            <a:extLst>
              <a:ext uri="{FF2B5EF4-FFF2-40B4-BE49-F238E27FC236}">
                <a16:creationId xmlns:a16="http://schemas.microsoft.com/office/drawing/2014/main" id="{5E54EB4B-F4DB-7C26-59BE-DDC179215BD0}"/>
              </a:ext>
              <a:ext uri="{C183D7F6-B498-43B3-948B-1728B52AA6E4}">
                <adec:decorative xmlns:adec="http://schemas.microsoft.com/office/drawing/2017/decorative" val="1"/>
              </a:ext>
            </a:extLst>
          </p:cNvPr>
          <p:cNvSpPr>
            <a:spLocks/>
          </p:cNvSpPr>
          <p:nvPr/>
        </p:nvSpPr>
        <p:spPr>
          <a:xfrm>
            <a:off x="9073745" y="4881769"/>
            <a:ext cx="236240" cy="325826"/>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8" name="Text Placeholder 11">
            <a:extLst>
              <a:ext uri="{FF2B5EF4-FFF2-40B4-BE49-F238E27FC236}">
                <a16:creationId xmlns:a16="http://schemas.microsoft.com/office/drawing/2014/main" id="{12718468-BB24-71F4-0BB6-0C252E0FE40E}"/>
              </a:ext>
            </a:extLst>
          </p:cNvPr>
          <p:cNvSpPr txBox="1">
            <a:spLocks noGrp="1"/>
          </p:cNvSpPr>
          <p:nvPr>
            <p:ph type="title" idx="4294967295"/>
          </p:nvPr>
        </p:nvSpPr>
        <p:spPr>
          <a:xfrm>
            <a:off x="306028" y="2019300"/>
            <a:ext cx="2387600"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E.ON UK powers transition to renewable energy with Dynamics 365</a:t>
            </a:r>
          </a:p>
        </p:txBody>
      </p:sp>
      <p:pic>
        <p:nvPicPr>
          <p:cNvPr id="30" name="Picture 14" descr="E-on logo">
            <a:extLst>
              <a:ext uri="{FF2B5EF4-FFF2-40B4-BE49-F238E27FC236}">
                <a16:creationId xmlns:a16="http://schemas.microsoft.com/office/drawing/2014/main" id="{D8ABA01C-063D-BD79-209D-9B979449470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1916" b="31916"/>
          <a:stretch/>
        </p:blipFill>
        <p:spPr bwMode="auto">
          <a:xfrm>
            <a:off x="306028" y="655286"/>
            <a:ext cx="1532207" cy="554167"/>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Rounded Corners 37">
            <a:hlinkClick r:id="rId4"/>
            <a:extLst>
              <a:ext uri="{FF2B5EF4-FFF2-40B4-BE49-F238E27FC236}">
                <a16:creationId xmlns:a16="http://schemas.microsoft.com/office/drawing/2014/main" id="{C3A0B076-704A-2E97-968F-F33CDBCD1FA0}"/>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31" name="Picture 30" descr="Electric car charging">
            <a:extLst>
              <a:ext uri="{FF2B5EF4-FFF2-40B4-BE49-F238E27FC236}">
                <a16:creationId xmlns:a16="http://schemas.microsoft.com/office/drawing/2014/main" id="{40B27F50-8D57-9522-361F-A42C986D28C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33725" y="419480"/>
            <a:ext cx="8638575" cy="2611318"/>
          </a:xfrm>
          <a:prstGeom prst="roundRect">
            <a:avLst>
              <a:gd name="adj" fmla="val 4146"/>
            </a:avLst>
          </a:prstGeom>
        </p:spPr>
      </p:pic>
      <p:sp>
        <p:nvSpPr>
          <p:cNvPr id="9" name="Text Placeholder 9">
            <a:extLst>
              <a:ext uri="{FF2B5EF4-FFF2-40B4-BE49-F238E27FC236}">
                <a16:creationId xmlns:a16="http://schemas.microsoft.com/office/drawing/2014/main" id="{DF33B71C-D92E-FA09-6719-BDBD45B74871}"/>
              </a:ext>
            </a:extLst>
          </p:cNvPr>
          <p:cNvSpPr txBox="1">
            <a:spLocks/>
          </p:cNvSpPr>
          <p:nvPr/>
        </p:nvSpPr>
        <p:spPr>
          <a:xfrm>
            <a:off x="3133725" y="3207069"/>
            <a:ext cx="8638575" cy="112338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Intelligent use of technology keeps our customer’s needs at the heart of the transition to clean energy, and that’s why we selected Dynamics 365 to support us on that journey given it is flexible, configurable, and aligned to our overall technology strategy.”</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Lee Durham,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Director of Digital Technology, E.ON UK</a:t>
            </a:r>
          </a:p>
        </p:txBody>
      </p:sp>
      <p:sp>
        <p:nvSpPr>
          <p:cNvPr id="3" name="TextBox 24_1">
            <a:extLst>
              <a:ext uri="{FF2B5EF4-FFF2-40B4-BE49-F238E27FC236}">
                <a16:creationId xmlns:a16="http://schemas.microsoft.com/office/drawing/2014/main" id="{2B8E0815-38A1-0411-E027-89258DDCB83F}"/>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4" name="TextBox 3">
            <a:extLst>
              <a:ext uri="{FF2B5EF4-FFF2-40B4-BE49-F238E27FC236}">
                <a16:creationId xmlns:a16="http://schemas.microsoft.com/office/drawing/2014/main" id="{B154E371-D257-9ED0-D1FE-14E1A79A4DE4}"/>
              </a:ext>
            </a:extLst>
          </p:cNvPr>
          <p:cNvSpPr txBox="1">
            <a:spLocks/>
          </p:cNvSpPr>
          <p:nvPr/>
        </p:nvSpPr>
        <p:spPr>
          <a:xfrm>
            <a:off x="3130860" y="5291424"/>
            <a:ext cx="2695690"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Time saving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0% reduction in job duration and eliminated the 20-minute per site process for managing property handoff after implementing Microsoft Dynamics 365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Field Service</a:t>
            </a:r>
          </a:p>
        </p:txBody>
      </p:sp>
      <p:sp>
        <p:nvSpPr>
          <p:cNvPr id="6" name="TextBox 5">
            <a:extLst>
              <a:ext uri="{FF2B5EF4-FFF2-40B4-BE49-F238E27FC236}">
                <a16:creationId xmlns:a16="http://schemas.microsoft.com/office/drawing/2014/main" id="{091D48C8-56ED-0036-2BD5-3E8DCFF405DB}"/>
              </a:ext>
            </a:extLst>
          </p:cNvPr>
          <p:cNvSpPr txBox="1">
            <a:spLocks/>
          </p:cNvSpPr>
          <p:nvPr/>
        </p:nvSpPr>
        <p:spPr>
          <a:xfrm>
            <a:off x="6102302" y="5291424"/>
            <a:ext cx="2759758"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mproved efficienc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 more modern, unified CRM system with Dynamics 365 Sales, Customer Service, and capabilities of Asset Management add-on for Supply Chain Management improved employees’ efficiency while reducing IT costs</a:t>
            </a:r>
          </a:p>
        </p:txBody>
      </p:sp>
      <p:sp>
        <p:nvSpPr>
          <p:cNvPr id="7" name="TextBox 6">
            <a:extLst>
              <a:ext uri="{FF2B5EF4-FFF2-40B4-BE49-F238E27FC236}">
                <a16:creationId xmlns:a16="http://schemas.microsoft.com/office/drawing/2014/main" id="{5349D0D1-CCCB-A648-9F68-6BDDD6D981C9}"/>
              </a:ext>
            </a:extLst>
          </p:cNvPr>
          <p:cNvSpPr txBox="1">
            <a:spLocks/>
          </p:cNvSpPr>
          <p:nvPr/>
        </p:nvSpPr>
        <p:spPr>
          <a:xfrm>
            <a:off x="9073745" y="5291424"/>
            <a:ext cx="2695690" cy="8207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able informed </a:t>
            </a:r>
            <a:br>
              <a:rPr kumimoji="0" lang="en-US" sz="1400" b="0" i="0" u="none" strike="noStrike" kern="1200" cap="none" spc="0" normalizeH="0" baseline="0" noProof="0">
                <a:ln>
                  <a:noFill/>
                </a:ln>
                <a:solidFill>
                  <a:srgbClr val="0078D4"/>
                </a:solidFill>
                <a:effectLst/>
                <a:uLnTx/>
                <a:uFillTx/>
                <a:latin typeface="Segoe UI Semibold"/>
                <a:ea typeface="+mn-ea"/>
                <a:cs typeface="+mn-cs"/>
              </a:rPr>
            </a:br>
            <a:r>
              <a:rPr kumimoji="0" lang="en-US" sz="1400" b="0" i="0" u="none" strike="noStrike" kern="1200" cap="none" spc="0" normalizeH="0" baseline="0" noProof="0">
                <a:ln>
                  <a:noFill/>
                </a:ln>
                <a:solidFill>
                  <a:srgbClr val="0078D4"/>
                </a:solidFill>
                <a:effectLst/>
                <a:uLnTx/>
                <a:uFillTx/>
                <a:latin typeface="Segoe UI Semibold"/>
                <a:ea typeface="+mn-ea"/>
                <a:cs typeface="+mn-cs"/>
              </a:rPr>
              <a:t>decision-making</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nabled more informed decision making with intelligent data insights</a:t>
            </a:r>
          </a:p>
        </p:txBody>
      </p:sp>
    </p:spTree>
    <p:extLst>
      <p:ext uri="{BB962C8B-B14F-4D97-AF65-F5344CB8AC3E}">
        <p14:creationId xmlns:p14="http://schemas.microsoft.com/office/powerpoint/2010/main" val="2743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44953-D203-AEF4-8334-88B6983D7C75}"/>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27B6E736-2E6E-2D09-82D5-4E62B48DC21F}"/>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5" name="Rectangle: Rounded Corners 4">
            <a:extLst>
              <a:ext uri="{FF2B5EF4-FFF2-40B4-BE49-F238E27FC236}">
                <a16:creationId xmlns:a16="http://schemas.microsoft.com/office/drawing/2014/main" id="{229CCC38-DB5D-99BB-55E8-2EC54307E4C0}"/>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8" name="Graphic 29">
            <a:extLst>
              <a:ext uri="{FF2B5EF4-FFF2-40B4-BE49-F238E27FC236}">
                <a16:creationId xmlns:a16="http://schemas.microsoft.com/office/drawing/2014/main" id="{8D030AEE-7D0D-EFF3-AED2-9F12C7B57C0F}"/>
              </a:ext>
              <a:ext uri="{C183D7F6-B498-43B3-948B-1728B52AA6E4}">
                <adec:decorative xmlns:adec="http://schemas.microsoft.com/office/drawing/2017/decorative" val="1"/>
              </a:ext>
            </a:extLst>
          </p:cNvPr>
          <p:cNvSpPr/>
          <p:nvPr/>
        </p:nvSpPr>
        <p:spPr>
          <a:xfrm>
            <a:off x="3118519" y="4909863"/>
            <a:ext cx="269472" cy="269638"/>
          </a:xfrm>
          <a:custGeom>
            <a:avLst/>
            <a:gdLst>
              <a:gd name="connsiteX0" fmla="*/ 213133 w 250772"/>
              <a:gd name="connsiteY0" fmla="*/ 0 h 250926"/>
              <a:gd name="connsiteX1" fmla="*/ 225680 w 250772"/>
              <a:gd name="connsiteY1" fmla="*/ 12546 h 250926"/>
              <a:gd name="connsiteX2" fmla="*/ 225680 w 250772"/>
              <a:gd name="connsiteY2" fmla="*/ 75278 h 250926"/>
              <a:gd name="connsiteX3" fmla="*/ 213133 w 250772"/>
              <a:gd name="connsiteY3" fmla="*/ 87824 h 250926"/>
              <a:gd name="connsiteX4" fmla="*/ 200587 w 250772"/>
              <a:gd name="connsiteY4" fmla="*/ 75278 h 250926"/>
              <a:gd name="connsiteX5" fmla="*/ 200587 w 250772"/>
              <a:gd name="connsiteY5" fmla="*/ 42833 h 250926"/>
              <a:gd name="connsiteX6" fmla="*/ 127906 w 250772"/>
              <a:gd name="connsiteY6" fmla="*/ 115514 h 250926"/>
              <a:gd name="connsiteX7" fmla="*/ 110166 w 250772"/>
              <a:gd name="connsiteY7" fmla="*/ 115514 h 250926"/>
              <a:gd name="connsiteX8" fmla="*/ 87670 w 250772"/>
              <a:gd name="connsiteY8" fmla="*/ 93019 h 250926"/>
              <a:gd name="connsiteX9" fmla="*/ 21262 w 250772"/>
              <a:gd name="connsiteY9" fmla="*/ 159426 h 250926"/>
              <a:gd name="connsiteX10" fmla="*/ 3522 w 250772"/>
              <a:gd name="connsiteY10" fmla="*/ 159118 h 250926"/>
              <a:gd name="connsiteX11" fmla="*/ 3522 w 250772"/>
              <a:gd name="connsiteY11" fmla="*/ 141686 h 250926"/>
              <a:gd name="connsiteX12" fmla="*/ 78800 w 250772"/>
              <a:gd name="connsiteY12" fmla="*/ 66408 h 250926"/>
              <a:gd name="connsiteX13" fmla="*/ 96540 w 250772"/>
              <a:gd name="connsiteY13" fmla="*/ 66408 h 250926"/>
              <a:gd name="connsiteX14" fmla="*/ 119036 w 250772"/>
              <a:gd name="connsiteY14" fmla="*/ 88903 h 250926"/>
              <a:gd name="connsiteX15" fmla="*/ 182847 w 250772"/>
              <a:gd name="connsiteY15" fmla="*/ 25093 h 250926"/>
              <a:gd name="connsiteX16" fmla="*/ 150402 w 250772"/>
              <a:gd name="connsiteY16" fmla="*/ 25093 h 250926"/>
              <a:gd name="connsiteX17" fmla="*/ 137855 w 250772"/>
              <a:gd name="connsiteY17" fmla="*/ 12546 h 250926"/>
              <a:gd name="connsiteX18" fmla="*/ 150402 w 250772"/>
              <a:gd name="connsiteY18" fmla="*/ 0 h 250926"/>
              <a:gd name="connsiteX19" fmla="*/ 213133 w 250772"/>
              <a:gd name="connsiteY19" fmla="*/ 0 h 250926"/>
              <a:gd name="connsiteX20" fmla="*/ 250772 w 250772"/>
              <a:gd name="connsiteY20" fmla="*/ 181922 h 250926"/>
              <a:gd name="connsiteX21" fmla="*/ 181768 w 250772"/>
              <a:gd name="connsiteY21" fmla="*/ 250927 h 250926"/>
              <a:gd name="connsiteX22" fmla="*/ 112763 w 250772"/>
              <a:gd name="connsiteY22" fmla="*/ 181922 h 250926"/>
              <a:gd name="connsiteX23" fmla="*/ 181768 w 250772"/>
              <a:gd name="connsiteY23" fmla="*/ 112917 h 250926"/>
              <a:gd name="connsiteX24" fmla="*/ 250772 w 250772"/>
              <a:gd name="connsiteY24" fmla="*/ 181922 h 250926"/>
              <a:gd name="connsiteX25" fmla="*/ 223848 w 250772"/>
              <a:gd name="connsiteY25" fmla="*/ 152388 h 250926"/>
              <a:gd name="connsiteX26" fmla="*/ 214977 w 250772"/>
              <a:gd name="connsiteY26" fmla="*/ 152376 h 250926"/>
              <a:gd name="connsiteX27" fmla="*/ 214965 w 250772"/>
              <a:gd name="connsiteY27" fmla="*/ 152388 h 250926"/>
              <a:gd name="connsiteX28" fmla="*/ 169221 w 250772"/>
              <a:gd name="connsiteY28" fmla="*/ 198144 h 250926"/>
              <a:gd name="connsiteX29" fmla="*/ 148570 w 250772"/>
              <a:gd name="connsiteY29" fmla="*/ 177480 h 250926"/>
              <a:gd name="connsiteX30" fmla="*/ 139687 w 250772"/>
              <a:gd name="connsiteY30" fmla="*/ 177480 h 250926"/>
              <a:gd name="connsiteX31" fmla="*/ 139687 w 250772"/>
              <a:gd name="connsiteY31" fmla="*/ 186363 h 250926"/>
              <a:gd name="connsiteX32" fmla="*/ 164780 w 250772"/>
              <a:gd name="connsiteY32" fmla="*/ 211456 h 250926"/>
              <a:gd name="connsiteX33" fmla="*/ 173651 w 250772"/>
              <a:gd name="connsiteY33" fmla="*/ 211467 h 250926"/>
              <a:gd name="connsiteX34" fmla="*/ 173663 w 250772"/>
              <a:gd name="connsiteY34" fmla="*/ 211456 h 250926"/>
              <a:gd name="connsiteX35" fmla="*/ 223848 w 250772"/>
              <a:gd name="connsiteY35" fmla="*/ 161271 h 250926"/>
              <a:gd name="connsiteX36" fmla="*/ 223859 w 250772"/>
              <a:gd name="connsiteY36" fmla="*/ 152399 h 250926"/>
              <a:gd name="connsiteX37" fmla="*/ 223848 w 250772"/>
              <a:gd name="connsiteY37" fmla="*/ 152388 h 2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0772" h="250926">
                <a:moveTo>
                  <a:pt x="213133" y="0"/>
                </a:moveTo>
                <a:cubicBezTo>
                  <a:pt x="220063" y="0"/>
                  <a:pt x="225680" y="5617"/>
                  <a:pt x="225680" y="12546"/>
                </a:cubicBezTo>
                <a:lnTo>
                  <a:pt x="225680" y="75278"/>
                </a:lnTo>
                <a:cubicBezTo>
                  <a:pt x="225680" y="82207"/>
                  <a:pt x="220063" y="87824"/>
                  <a:pt x="213133" y="87824"/>
                </a:cubicBezTo>
                <a:cubicBezTo>
                  <a:pt x="206204" y="87824"/>
                  <a:pt x="200587" y="82207"/>
                  <a:pt x="200587" y="75278"/>
                </a:cubicBezTo>
                <a:lnTo>
                  <a:pt x="200587" y="42833"/>
                </a:lnTo>
                <a:lnTo>
                  <a:pt x="127906" y="115514"/>
                </a:lnTo>
                <a:cubicBezTo>
                  <a:pt x="123007" y="120412"/>
                  <a:pt x="115065" y="120412"/>
                  <a:pt x="110166" y="115514"/>
                </a:cubicBezTo>
                <a:lnTo>
                  <a:pt x="87670" y="93019"/>
                </a:lnTo>
                <a:lnTo>
                  <a:pt x="21262" y="159426"/>
                </a:lnTo>
                <a:cubicBezTo>
                  <a:pt x="16278" y="164240"/>
                  <a:pt x="8336" y="164102"/>
                  <a:pt x="3522" y="159118"/>
                </a:cubicBezTo>
                <a:cubicBezTo>
                  <a:pt x="-1174" y="154256"/>
                  <a:pt x="-1174" y="146547"/>
                  <a:pt x="3522" y="141686"/>
                </a:cubicBezTo>
                <a:lnTo>
                  <a:pt x="78800" y="66408"/>
                </a:lnTo>
                <a:cubicBezTo>
                  <a:pt x="83699" y="61510"/>
                  <a:pt x="91641" y="61510"/>
                  <a:pt x="96540" y="66408"/>
                </a:cubicBezTo>
                <a:lnTo>
                  <a:pt x="119036" y="88903"/>
                </a:lnTo>
                <a:lnTo>
                  <a:pt x="182847" y="25093"/>
                </a:lnTo>
                <a:lnTo>
                  <a:pt x="150402" y="25093"/>
                </a:lnTo>
                <a:cubicBezTo>
                  <a:pt x="143472" y="25093"/>
                  <a:pt x="137855" y="19475"/>
                  <a:pt x="137855" y="12546"/>
                </a:cubicBezTo>
                <a:cubicBezTo>
                  <a:pt x="137855" y="5617"/>
                  <a:pt x="143472" y="0"/>
                  <a:pt x="150402" y="0"/>
                </a:cubicBezTo>
                <a:lnTo>
                  <a:pt x="213133" y="0"/>
                </a:lnTo>
                <a:close/>
                <a:moveTo>
                  <a:pt x="250772" y="181922"/>
                </a:moveTo>
                <a:cubicBezTo>
                  <a:pt x="250772" y="220033"/>
                  <a:pt x="219878" y="250927"/>
                  <a:pt x="181768" y="250927"/>
                </a:cubicBezTo>
                <a:cubicBezTo>
                  <a:pt x="143657" y="250927"/>
                  <a:pt x="112763" y="220033"/>
                  <a:pt x="112763" y="181922"/>
                </a:cubicBezTo>
                <a:cubicBezTo>
                  <a:pt x="112763" y="143811"/>
                  <a:pt x="143657" y="112917"/>
                  <a:pt x="181768" y="112917"/>
                </a:cubicBezTo>
                <a:cubicBezTo>
                  <a:pt x="219878" y="112917"/>
                  <a:pt x="250772" y="143811"/>
                  <a:pt x="250772" y="181922"/>
                </a:cubicBezTo>
                <a:close/>
                <a:moveTo>
                  <a:pt x="223848" y="152388"/>
                </a:moveTo>
                <a:cubicBezTo>
                  <a:pt x="221402" y="149935"/>
                  <a:pt x="217429" y="149930"/>
                  <a:pt x="214977" y="152376"/>
                </a:cubicBezTo>
                <a:cubicBezTo>
                  <a:pt x="214973" y="152380"/>
                  <a:pt x="214969" y="152384"/>
                  <a:pt x="214965" y="152388"/>
                </a:cubicBezTo>
                <a:lnTo>
                  <a:pt x="169221" y="198144"/>
                </a:lnTo>
                <a:lnTo>
                  <a:pt x="148570" y="177480"/>
                </a:lnTo>
                <a:cubicBezTo>
                  <a:pt x="146117" y="175028"/>
                  <a:pt x="142140" y="175028"/>
                  <a:pt x="139687" y="177480"/>
                </a:cubicBezTo>
                <a:cubicBezTo>
                  <a:pt x="137234" y="179933"/>
                  <a:pt x="137234" y="183910"/>
                  <a:pt x="139687" y="186363"/>
                </a:cubicBezTo>
                <a:lnTo>
                  <a:pt x="164780" y="211456"/>
                </a:lnTo>
                <a:cubicBezTo>
                  <a:pt x="167226" y="213909"/>
                  <a:pt x="171199" y="213914"/>
                  <a:pt x="173651" y="211467"/>
                </a:cubicBezTo>
                <a:cubicBezTo>
                  <a:pt x="173655" y="211463"/>
                  <a:pt x="173659" y="211460"/>
                  <a:pt x="173663" y="211456"/>
                </a:cubicBezTo>
                <a:lnTo>
                  <a:pt x="223848" y="161271"/>
                </a:lnTo>
                <a:cubicBezTo>
                  <a:pt x="226301" y="158824"/>
                  <a:pt x="226306" y="154852"/>
                  <a:pt x="223859" y="152399"/>
                </a:cubicBezTo>
                <a:cubicBezTo>
                  <a:pt x="223856" y="152395"/>
                  <a:pt x="223852" y="152392"/>
                  <a:pt x="223848" y="152388"/>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Graphic 26">
            <a:extLst>
              <a:ext uri="{FF2B5EF4-FFF2-40B4-BE49-F238E27FC236}">
                <a16:creationId xmlns:a16="http://schemas.microsoft.com/office/drawing/2014/main" id="{C06C5F4C-657E-1436-D9A1-4A7FDCAC47BD}"/>
              </a:ext>
              <a:ext uri="{C183D7F6-B498-43B3-948B-1728B52AA6E4}">
                <adec:decorative xmlns:adec="http://schemas.microsoft.com/office/drawing/2017/decorative" val="1"/>
              </a:ext>
            </a:extLst>
          </p:cNvPr>
          <p:cNvSpPr/>
          <p:nvPr/>
        </p:nvSpPr>
        <p:spPr>
          <a:xfrm>
            <a:off x="6089961" y="4919388"/>
            <a:ext cx="250588" cy="250588"/>
          </a:xfrm>
          <a:custGeom>
            <a:avLst/>
            <a:gdLst>
              <a:gd name="connsiteX0" fmla="*/ 125463 w 250926"/>
              <a:gd name="connsiteY0" fmla="*/ 250927 h 250926"/>
              <a:gd name="connsiteX1" fmla="*/ 0 w 250926"/>
              <a:gd name="connsiteY1" fmla="*/ 125463 h 250926"/>
              <a:gd name="connsiteX2" fmla="*/ 125463 w 250926"/>
              <a:gd name="connsiteY2" fmla="*/ 0 h 250926"/>
              <a:gd name="connsiteX3" fmla="*/ 250927 w 250926"/>
              <a:gd name="connsiteY3" fmla="*/ 125463 h 250926"/>
              <a:gd name="connsiteX4" fmla="*/ 125463 w 250926"/>
              <a:gd name="connsiteY4" fmla="*/ 250927 h 250926"/>
              <a:gd name="connsiteX5" fmla="*/ 166490 w 250926"/>
              <a:gd name="connsiteY5" fmla="*/ 109780 h 250926"/>
              <a:gd name="connsiteX6" fmla="*/ 150556 w 250926"/>
              <a:gd name="connsiteY6" fmla="*/ 109780 h 250926"/>
              <a:gd name="connsiteX7" fmla="*/ 141146 w 250926"/>
              <a:gd name="connsiteY7" fmla="*/ 119190 h 250926"/>
              <a:gd name="connsiteX8" fmla="*/ 150556 w 250926"/>
              <a:gd name="connsiteY8" fmla="*/ 128600 h 250926"/>
              <a:gd name="connsiteX9" fmla="*/ 185058 w 250926"/>
              <a:gd name="connsiteY9" fmla="*/ 128600 h 250926"/>
              <a:gd name="connsiteX10" fmla="*/ 194468 w 250926"/>
              <a:gd name="connsiteY10" fmla="*/ 119190 h 250926"/>
              <a:gd name="connsiteX11" fmla="*/ 194468 w 250926"/>
              <a:gd name="connsiteY11" fmla="*/ 78415 h 250926"/>
              <a:gd name="connsiteX12" fmla="*/ 185058 w 250926"/>
              <a:gd name="connsiteY12" fmla="*/ 69005 h 250926"/>
              <a:gd name="connsiteX13" fmla="*/ 175649 w 250926"/>
              <a:gd name="connsiteY13" fmla="*/ 78415 h 250926"/>
              <a:gd name="connsiteX14" fmla="*/ 175649 w 250926"/>
              <a:gd name="connsiteY14" fmla="*/ 87824 h 250926"/>
              <a:gd name="connsiteX15" fmla="*/ 125463 w 250926"/>
              <a:gd name="connsiteY15" fmla="*/ 62732 h 250926"/>
              <a:gd name="connsiteX16" fmla="*/ 77449 w 250926"/>
              <a:gd name="connsiteY16" fmla="*/ 84939 h 250926"/>
              <a:gd name="connsiteX17" fmla="*/ 78666 w 250926"/>
              <a:gd name="connsiteY17" fmla="*/ 98200 h 250926"/>
              <a:gd name="connsiteX18" fmla="*/ 91927 w 250926"/>
              <a:gd name="connsiteY18" fmla="*/ 96983 h 250926"/>
              <a:gd name="connsiteX19" fmla="*/ 125463 w 250926"/>
              <a:gd name="connsiteY19" fmla="*/ 81551 h 250926"/>
              <a:gd name="connsiteX20" fmla="*/ 166490 w 250926"/>
              <a:gd name="connsiteY20" fmla="*/ 109780 h 250926"/>
              <a:gd name="connsiteX21" fmla="*/ 75278 w 250926"/>
              <a:gd name="connsiteY21" fmla="*/ 172512 h 250926"/>
              <a:gd name="connsiteX22" fmla="*/ 75278 w 250926"/>
              <a:gd name="connsiteY22" fmla="*/ 163102 h 250926"/>
              <a:gd name="connsiteX23" fmla="*/ 163351 w 250926"/>
              <a:gd name="connsiteY23" fmla="*/ 175536 h 250926"/>
              <a:gd name="connsiteX24" fmla="*/ 173403 w 250926"/>
              <a:gd name="connsiteY24" fmla="*/ 166076 h 250926"/>
              <a:gd name="connsiteX25" fmla="*/ 172624 w 250926"/>
              <a:gd name="connsiteY25" fmla="*/ 152792 h 250926"/>
              <a:gd name="connsiteX26" fmla="*/ 159338 w 250926"/>
              <a:gd name="connsiteY26" fmla="*/ 153571 h 250926"/>
              <a:gd name="connsiteX27" fmla="*/ 159075 w 250926"/>
              <a:gd name="connsiteY27" fmla="*/ 153881 h 250926"/>
              <a:gd name="connsiteX28" fmla="*/ 96938 w 250926"/>
              <a:gd name="connsiteY28" fmla="*/ 158804 h 250926"/>
              <a:gd name="connsiteX29" fmla="*/ 85779 w 250926"/>
              <a:gd name="connsiteY29" fmla="*/ 144283 h 250926"/>
              <a:gd name="connsiteX30" fmla="*/ 100371 w 250926"/>
              <a:gd name="connsiteY30" fmla="*/ 144283 h 250926"/>
              <a:gd name="connsiteX31" fmla="*/ 109780 w 250926"/>
              <a:gd name="connsiteY31" fmla="*/ 134873 h 250926"/>
              <a:gd name="connsiteX32" fmla="*/ 100371 w 250926"/>
              <a:gd name="connsiteY32" fmla="*/ 125463 h 250926"/>
              <a:gd name="connsiteX33" fmla="*/ 65868 w 250926"/>
              <a:gd name="connsiteY33" fmla="*/ 125463 h 250926"/>
              <a:gd name="connsiteX34" fmla="*/ 56459 w 250926"/>
              <a:gd name="connsiteY34" fmla="*/ 134873 h 250926"/>
              <a:gd name="connsiteX35" fmla="*/ 56459 w 250926"/>
              <a:gd name="connsiteY35" fmla="*/ 172512 h 250926"/>
              <a:gd name="connsiteX36" fmla="*/ 65868 w 250926"/>
              <a:gd name="connsiteY36" fmla="*/ 181922 h 250926"/>
              <a:gd name="connsiteX37" fmla="*/ 75278 w 250926"/>
              <a:gd name="connsiteY37" fmla="*/ 172512 h 2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0926" h="250926">
                <a:moveTo>
                  <a:pt x="125463" y="250927"/>
                </a:moveTo>
                <a:cubicBezTo>
                  <a:pt x="56170" y="250927"/>
                  <a:pt x="0" y="194757"/>
                  <a:pt x="0" y="125463"/>
                </a:cubicBezTo>
                <a:cubicBezTo>
                  <a:pt x="0" y="56170"/>
                  <a:pt x="56170" y="0"/>
                  <a:pt x="125463" y="0"/>
                </a:cubicBezTo>
                <a:cubicBezTo>
                  <a:pt x="194757" y="0"/>
                  <a:pt x="250927" y="56170"/>
                  <a:pt x="250927" y="125463"/>
                </a:cubicBezTo>
                <a:cubicBezTo>
                  <a:pt x="250927" y="194757"/>
                  <a:pt x="194757" y="250927"/>
                  <a:pt x="125463" y="250927"/>
                </a:cubicBezTo>
                <a:close/>
                <a:moveTo>
                  <a:pt x="166490" y="109780"/>
                </a:moveTo>
                <a:lnTo>
                  <a:pt x="150556" y="109780"/>
                </a:lnTo>
                <a:cubicBezTo>
                  <a:pt x="145359" y="109780"/>
                  <a:pt x="141146" y="113993"/>
                  <a:pt x="141146" y="119190"/>
                </a:cubicBezTo>
                <a:cubicBezTo>
                  <a:pt x="141146" y="124387"/>
                  <a:pt x="145359" y="128600"/>
                  <a:pt x="150556" y="128600"/>
                </a:cubicBezTo>
                <a:lnTo>
                  <a:pt x="185058" y="128600"/>
                </a:lnTo>
                <a:cubicBezTo>
                  <a:pt x="190255" y="128600"/>
                  <a:pt x="194468" y="124387"/>
                  <a:pt x="194468" y="119190"/>
                </a:cubicBezTo>
                <a:lnTo>
                  <a:pt x="194468" y="78415"/>
                </a:lnTo>
                <a:cubicBezTo>
                  <a:pt x="194468" y="73218"/>
                  <a:pt x="190255" y="69005"/>
                  <a:pt x="185058" y="69005"/>
                </a:cubicBezTo>
                <a:cubicBezTo>
                  <a:pt x="179862" y="69005"/>
                  <a:pt x="175649" y="73218"/>
                  <a:pt x="175649" y="78415"/>
                </a:cubicBezTo>
                <a:lnTo>
                  <a:pt x="175649" y="87824"/>
                </a:lnTo>
                <a:cubicBezTo>
                  <a:pt x="163814" y="72014"/>
                  <a:pt x="145213" y="62714"/>
                  <a:pt x="125463" y="62732"/>
                </a:cubicBezTo>
                <a:cubicBezTo>
                  <a:pt x="106180" y="62732"/>
                  <a:pt x="89029" y="71012"/>
                  <a:pt x="77449" y="84939"/>
                </a:cubicBezTo>
                <a:cubicBezTo>
                  <a:pt x="74122" y="88937"/>
                  <a:pt x="74667" y="94874"/>
                  <a:pt x="78666" y="98200"/>
                </a:cubicBezTo>
                <a:cubicBezTo>
                  <a:pt x="82664" y="101526"/>
                  <a:pt x="88601" y="100982"/>
                  <a:pt x="91927" y="96983"/>
                </a:cubicBezTo>
                <a:cubicBezTo>
                  <a:pt x="99906" y="87360"/>
                  <a:pt x="111750" y="81551"/>
                  <a:pt x="125463" y="81551"/>
                </a:cubicBezTo>
                <a:cubicBezTo>
                  <a:pt x="144182" y="81551"/>
                  <a:pt x="160179" y="93269"/>
                  <a:pt x="166490" y="109780"/>
                </a:cubicBezTo>
                <a:close/>
                <a:moveTo>
                  <a:pt x="75278" y="172512"/>
                </a:moveTo>
                <a:lnTo>
                  <a:pt x="75278" y="163102"/>
                </a:lnTo>
                <a:cubicBezTo>
                  <a:pt x="96165" y="190856"/>
                  <a:pt x="135597" y="196423"/>
                  <a:pt x="163351" y="175536"/>
                </a:cubicBezTo>
                <a:cubicBezTo>
                  <a:pt x="167039" y="172761"/>
                  <a:pt x="170409" y="169589"/>
                  <a:pt x="173403" y="166076"/>
                </a:cubicBezTo>
                <a:cubicBezTo>
                  <a:pt x="176856" y="162193"/>
                  <a:pt x="176507" y="156245"/>
                  <a:pt x="172624" y="152792"/>
                </a:cubicBezTo>
                <a:cubicBezTo>
                  <a:pt x="168739" y="149338"/>
                  <a:pt x="162792" y="149688"/>
                  <a:pt x="159338" y="153571"/>
                </a:cubicBezTo>
                <a:cubicBezTo>
                  <a:pt x="159248" y="153673"/>
                  <a:pt x="159160" y="153775"/>
                  <a:pt x="159075" y="153881"/>
                </a:cubicBezTo>
                <a:cubicBezTo>
                  <a:pt x="143275" y="172399"/>
                  <a:pt x="115456" y="174604"/>
                  <a:pt x="96938" y="158804"/>
                </a:cubicBezTo>
                <a:cubicBezTo>
                  <a:pt x="92243" y="154798"/>
                  <a:pt x="88441" y="149851"/>
                  <a:pt x="85779" y="144283"/>
                </a:cubicBezTo>
                <a:lnTo>
                  <a:pt x="100371" y="144283"/>
                </a:lnTo>
                <a:cubicBezTo>
                  <a:pt x="105567" y="144283"/>
                  <a:pt x="109780" y="140070"/>
                  <a:pt x="109780" y="134873"/>
                </a:cubicBezTo>
                <a:cubicBezTo>
                  <a:pt x="109780" y="129676"/>
                  <a:pt x="105567" y="125463"/>
                  <a:pt x="100371" y="125463"/>
                </a:cubicBezTo>
                <a:lnTo>
                  <a:pt x="65868" y="125463"/>
                </a:lnTo>
                <a:cubicBezTo>
                  <a:pt x="60671" y="125463"/>
                  <a:pt x="56459" y="129676"/>
                  <a:pt x="56459" y="134873"/>
                </a:cubicBezTo>
                <a:lnTo>
                  <a:pt x="56459" y="172512"/>
                </a:lnTo>
                <a:cubicBezTo>
                  <a:pt x="56459" y="177709"/>
                  <a:pt x="60671" y="181922"/>
                  <a:pt x="65868" y="181922"/>
                </a:cubicBezTo>
                <a:cubicBezTo>
                  <a:pt x="71065" y="181922"/>
                  <a:pt x="75278" y="177709"/>
                  <a:pt x="75278" y="172512"/>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Graphic 168">
            <a:extLst>
              <a:ext uri="{FF2B5EF4-FFF2-40B4-BE49-F238E27FC236}">
                <a16:creationId xmlns:a16="http://schemas.microsoft.com/office/drawing/2014/main" id="{24154DCB-FF6C-689D-9666-57F4E6F5962D}"/>
              </a:ext>
              <a:ext uri="{C183D7F6-B498-43B3-948B-1728B52AA6E4}">
                <adec:decorative xmlns:adec="http://schemas.microsoft.com/office/drawing/2017/decorative" val="1"/>
              </a:ext>
            </a:extLst>
          </p:cNvPr>
          <p:cNvSpPr/>
          <p:nvPr/>
        </p:nvSpPr>
        <p:spPr>
          <a:xfrm>
            <a:off x="9061404" y="4905100"/>
            <a:ext cx="279270" cy="279164"/>
          </a:xfrm>
          <a:custGeom>
            <a:avLst/>
            <a:gdLst>
              <a:gd name="connsiteX0" fmla="*/ 125862 w 254043"/>
              <a:gd name="connsiteY0" fmla="*/ 152349 h 253949"/>
              <a:gd name="connsiteX1" fmla="*/ 225469 w 254043"/>
              <a:gd name="connsiteY1" fmla="*/ 152349 h 253949"/>
              <a:gd name="connsiteX2" fmla="*/ 254044 w 254043"/>
              <a:gd name="connsiteY2" fmla="*/ 180924 h 253949"/>
              <a:gd name="connsiteX3" fmla="*/ 254044 w 254043"/>
              <a:gd name="connsiteY3" fmla="*/ 192418 h 253949"/>
              <a:gd name="connsiteX4" fmla="*/ 237445 w 254043"/>
              <a:gd name="connsiteY4" fmla="*/ 228549 h 253949"/>
              <a:gd name="connsiteX5" fmla="*/ 152405 w 254043"/>
              <a:gd name="connsiteY5" fmla="*/ 253949 h 253949"/>
              <a:gd name="connsiteX6" fmla="*/ 150132 w 254043"/>
              <a:gd name="connsiteY6" fmla="*/ 253949 h 253949"/>
              <a:gd name="connsiteX7" fmla="*/ 147325 w 254043"/>
              <a:gd name="connsiteY7" fmla="*/ 229857 h 253949"/>
              <a:gd name="connsiteX8" fmla="*/ 145916 w 254043"/>
              <a:gd name="connsiteY8" fmla="*/ 228333 h 253949"/>
              <a:gd name="connsiteX9" fmla="*/ 117595 w 254043"/>
              <a:gd name="connsiteY9" fmla="*/ 200089 h 253949"/>
              <a:gd name="connsiteX10" fmla="*/ 125850 w 254043"/>
              <a:gd name="connsiteY10" fmla="*/ 152337 h 253949"/>
              <a:gd name="connsiteX11" fmla="*/ 57155 w 254043"/>
              <a:gd name="connsiteY11" fmla="*/ 107899 h 253949"/>
              <a:gd name="connsiteX12" fmla="*/ 114293 w 254043"/>
              <a:gd name="connsiteY12" fmla="*/ 165062 h 253949"/>
              <a:gd name="connsiteX13" fmla="*/ 101097 w 254043"/>
              <a:gd name="connsiteY13" fmla="*/ 201574 h 253949"/>
              <a:gd name="connsiteX14" fmla="*/ 136950 w 254043"/>
              <a:gd name="connsiteY14" fmla="*/ 237312 h 253949"/>
              <a:gd name="connsiteX15" fmla="*/ 137020 w 254043"/>
              <a:gd name="connsiteY15" fmla="*/ 250782 h 253949"/>
              <a:gd name="connsiteX16" fmla="*/ 124567 w 254043"/>
              <a:gd name="connsiteY16" fmla="*/ 251727 h 253949"/>
              <a:gd name="connsiteX17" fmla="*/ 123488 w 254043"/>
              <a:gd name="connsiteY17" fmla="*/ 250800 h 253949"/>
              <a:gd name="connsiteX18" fmla="*/ 86619 w 254043"/>
              <a:gd name="connsiteY18" fmla="*/ 214020 h 253949"/>
              <a:gd name="connsiteX19" fmla="*/ 8187 w 254043"/>
              <a:gd name="connsiteY19" fmla="*/ 194510 h 253949"/>
              <a:gd name="connsiteX20" fmla="*/ 27698 w 254043"/>
              <a:gd name="connsiteY20" fmla="*/ 116078 h 253949"/>
              <a:gd name="connsiteX21" fmla="*/ 57155 w 254043"/>
              <a:gd name="connsiteY21" fmla="*/ 107899 h 253949"/>
              <a:gd name="connsiteX22" fmla="*/ 57155 w 254043"/>
              <a:gd name="connsiteY22" fmla="*/ 126949 h 253949"/>
              <a:gd name="connsiteX23" fmla="*/ 19055 w 254043"/>
              <a:gd name="connsiteY23" fmla="*/ 165049 h 253949"/>
              <a:gd name="connsiteX24" fmla="*/ 57155 w 254043"/>
              <a:gd name="connsiteY24" fmla="*/ 203149 h 253949"/>
              <a:gd name="connsiteX25" fmla="*/ 95255 w 254043"/>
              <a:gd name="connsiteY25" fmla="*/ 165049 h 253949"/>
              <a:gd name="connsiteX26" fmla="*/ 57155 w 254043"/>
              <a:gd name="connsiteY26" fmla="*/ 126949 h 253949"/>
              <a:gd name="connsiteX27" fmla="*/ 152405 w 254043"/>
              <a:gd name="connsiteY27" fmla="*/ 0 h 253949"/>
              <a:gd name="connsiteX28" fmla="*/ 215905 w 254043"/>
              <a:gd name="connsiteY28" fmla="*/ 63500 h 253949"/>
              <a:gd name="connsiteX29" fmla="*/ 152405 w 254043"/>
              <a:gd name="connsiteY29" fmla="*/ 127000 h 253949"/>
              <a:gd name="connsiteX30" fmla="*/ 88905 w 254043"/>
              <a:gd name="connsiteY30" fmla="*/ 63500 h 253949"/>
              <a:gd name="connsiteX31" fmla="*/ 152405 w 254043"/>
              <a:gd name="connsiteY31" fmla="*/ 0 h 2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43" h="253949">
                <a:moveTo>
                  <a:pt x="125862" y="152349"/>
                </a:moveTo>
                <a:lnTo>
                  <a:pt x="225469" y="152349"/>
                </a:lnTo>
                <a:cubicBezTo>
                  <a:pt x="241250" y="152349"/>
                  <a:pt x="254044" y="165143"/>
                  <a:pt x="254044" y="180924"/>
                </a:cubicBezTo>
                <a:lnTo>
                  <a:pt x="254044" y="192418"/>
                </a:lnTo>
                <a:cubicBezTo>
                  <a:pt x="254043" y="206306"/>
                  <a:pt x="247981" y="219502"/>
                  <a:pt x="237445" y="228549"/>
                </a:cubicBezTo>
                <a:cubicBezTo>
                  <a:pt x="217556" y="245618"/>
                  <a:pt x="189108" y="253949"/>
                  <a:pt x="152405" y="253949"/>
                </a:cubicBezTo>
                <a:lnTo>
                  <a:pt x="150132" y="253949"/>
                </a:lnTo>
                <a:cubicBezTo>
                  <a:pt x="154041" y="246070"/>
                  <a:pt x="152941" y="236627"/>
                  <a:pt x="147325" y="229857"/>
                </a:cubicBezTo>
                <a:lnTo>
                  <a:pt x="145916" y="228333"/>
                </a:lnTo>
                <a:lnTo>
                  <a:pt x="117595" y="200089"/>
                </a:lnTo>
                <a:cubicBezTo>
                  <a:pt x="125976" y="185673"/>
                  <a:pt x="128905" y="168729"/>
                  <a:pt x="125850" y="152337"/>
                </a:cubicBezTo>
                <a:close/>
                <a:moveTo>
                  <a:pt x="57155" y="107899"/>
                </a:moveTo>
                <a:cubicBezTo>
                  <a:pt x="88719" y="107906"/>
                  <a:pt x="114300" y="133499"/>
                  <a:pt x="114293" y="165062"/>
                </a:cubicBezTo>
                <a:cubicBezTo>
                  <a:pt x="114290" y="178400"/>
                  <a:pt x="109622" y="191316"/>
                  <a:pt x="101097" y="201574"/>
                </a:cubicBezTo>
                <a:lnTo>
                  <a:pt x="136950" y="237312"/>
                </a:lnTo>
                <a:cubicBezTo>
                  <a:pt x="140689" y="241012"/>
                  <a:pt x="140720" y="247043"/>
                  <a:pt x="137020" y="250782"/>
                </a:cubicBezTo>
                <a:cubicBezTo>
                  <a:pt x="133683" y="254154"/>
                  <a:pt x="128374" y="254557"/>
                  <a:pt x="124567" y="251727"/>
                </a:cubicBezTo>
                <a:lnTo>
                  <a:pt x="123488" y="250800"/>
                </a:lnTo>
                <a:lnTo>
                  <a:pt x="86619" y="214020"/>
                </a:lnTo>
                <a:cubicBezTo>
                  <a:pt x="59573" y="230291"/>
                  <a:pt x="24458" y="221556"/>
                  <a:pt x="8187" y="194510"/>
                </a:cubicBezTo>
                <a:cubicBezTo>
                  <a:pt x="-8083" y="167464"/>
                  <a:pt x="652" y="132349"/>
                  <a:pt x="27698" y="116078"/>
                </a:cubicBezTo>
                <a:cubicBezTo>
                  <a:pt x="36592" y="110727"/>
                  <a:pt x="46776" y="107900"/>
                  <a:pt x="57155" y="107899"/>
                </a:cubicBezTo>
                <a:close/>
                <a:moveTo>
                  <a:pt x="57155" y="126949"/>
                </a:moveTo>
                <a:cubicBezTo>
                  <a:pt x="36113" y="126949"/>
                  <a:pt x="19055" y="144007"/>
                  <a:pt x="19055" y="165049"/>
                </a:cubicBezTo>
                <a:cubicBezTo>
                  <a:pt x="19055" y="186091"/>
                  <a:pt x="36113" y="203149"/>
                  <a:pt x="57155" y="203149"/>
                </a:cubicBezTo>
                <a:cubicBezTo>
                  <a:pt x="78198" y="203149"/>
                  <a:pt x="95255" y="186091"/>
                  <a:pt x="95255" y="165049"/>
                </a:cubicBezTo>
                <a:cubicBezTo>
                  <a:pt x="95255" y="144007"/>
                  <a:pt x="78198" y="126949"/>
                  <a:pt x="57155" y="126949"/>
                </a:cubicBezTo>
                <a:close/>
                <a:moveTo>
                  <a:pt x="152405" y="0"/>
                </a:moveTo>
                <a:cubicBezTo>
                  <a:pt x="187476" y="0"/>
                  <a:pt x="215905" y="28430"/>
                  <a:pt x="215905" y="63500"/>
                </a:cubicBezTo>
                <a:cubicBezTo>
                  <a:pt x="215905" y="98570"/>
                  <a:pt x="187476" y="127000"/>
                  <a:pt x="152405" y="127000"/>
                </a:cubicBezTo>
                <a:cubicBezTo>
                  <a:pt x="117335" y="127000"/>
                  <a:pt x="88905" y="98570"/>
                  <a:pt x="88905" y="63500"/>
                </a:cubicBezTo>
                <a:cubicBezTo>
                  <a:pt x="88905" y="28430"/>
                  <a:pt x="117335" y="0"/>
                  <a:pt x="152405"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2" name="Group 1">
            <a:extLst>
              <a:ext uri="{FF2B5EF4-FFF2-40B4-BE49-F238E27FC236}">
                <a16:creationId xmlns:a16="http://schemas.microsoft.com/office/drawing/2014/main" id="{CC8BEAAA-0B1E-3207-96C8-0A7365270750}"/>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3" name="Straight Connector 2">
              <a:extLst>
                <a:ext uri="{FF2B5EF4-FFF2-40B4-BE49-F238E27FC236}">
                  <a16:creationId xmlns:a16="http://schemas.microsoft.com/office/drawing/2014/main" id="{086E6E43-BB33-C319-9313-458549A114FA}"/>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CE621A-54B0-669C-184E-E88EB6FE3401}"/>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3" name="Text Placeholder 11">
            <a:extLst>
              <a:ext uri="{FF2B5EF4-FFF2-40B4-BE49-F238E27FC236}">
                <a16:creationId xmlns:a16="http://schemas.microsoft.com/office/drawing/2014/main" id="{62E480EF-9A79-C323-53B9-754ADB23532E}"/>
              </a:ext>
            </a:extLst>
          </p:cNvPr>
          <p:cNvSpPr txBox="1">
            <a:spLocks noGrp="1"/>
          </p:cNvSpPr>
          <p:nvPr>
            <p:ph type="title" idx="4294967295"/>
          </p:nvPr>
        </p:nvSpPr>
        <p:spPr>
          <a:xfrm>
            <a:off x="293687" y="2019300"/>
            <a:ext cx="2551113"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Public utility Evergy saves over 120,000 hours per year with Power Platform</a:t>
            </a:r>
          </a:p>
        </p:txBody>
      </p:sp>
      <p:pic>
        <p:nvPicPr>
          <p:cNvPr id="38" name="Picture 2" descr="Evergy logo">
            <a:extLst>
              <a:ext uri="{FF2B5EF4-FFF2-40B4-BE49-F238E27FC236}">
                <a16:creationId xmlns:a16="http://schemas.microsoft.com/office/drawing/2014/main" id="{A5939F0D-032C-4107-71B5-B63C0068D5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3687" y="723923"/>
            <a:ext cx="2068302" cy="41689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hlinkClick r:id="rId4"/>
            <a:extLst>
              <a:ext uri="{FF2B5EF4-FFF2-40B4-BE49-F238E27FC236}">
                <a16:creationId xmlns:a16="http://schemas.microsoft.com/office/drawing/2014/main" id="{4531D60E-D5DB-2A2E-A2B5-5F09A45D165D}"/>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35" name="Picture 34" descr="Power lines and towers across green open field.">
            <a:extLst>
              <a:ext uri="{FF2B5EF4-FFF2-40B4-BE49-F238E27FC236}">
                <a16:creationId xmlns:a16="http://schemas.microsoft.com/office/drawing/2014/main" id="{3C404341-9DDE-DAD1-6649-A131918F99C6}"/>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21384" y="419480"/>
            <a:ext cx="8638575" cy="2611318"/>
          </a:xfrm>
          <a:prstGeom prst="roundRect">
            <a:avLst>
              <a:gd name="adj" fmla="val 4146"/>
            </a:avLst>
          </a:prstGeom>
        </p:spPr>
      </p:pic>
      <p:sp>
        <p:nvSpPr>
          <p:cNvPr id="9" name="Text Placeholder 9">
            <a:extLst>
              <a:ext uri="{FF2B5EF4-FFF2-40B4-BE49-F238E27FC236}">
                <a16:creationId xmlns:a16="http://schemas.microsoft.com/office/drawing/2014/main" id="{E9093479-4F00-0AF7-1142-8ADE8D0CDD04}"/>
              </a:ext>
            </a:extLst>
          </p:cNvPr>
          <p:cNvSpPr txBox="1">
            <a:spLocks/>
          </p:cNvSpPr>
          <p:nvPr/>
        </p:nvSpPr>
        <p:spPr>
          <a:xfrm>
            <a:off x="3121384" y="3207069"/>
            <a:ext cx="8638575" cy="83099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We’ve had users across departments and various technical capabilities quickly pick up and enjoy using Power Platform. It has become a key tool in our technology strategy.”</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Chad Carsten,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Director, Operations Technology, Evergy</a:t>
            </a:r>
          </a:p>
        </p:txBody>
      </p:sp>
      <p:sp>
        <p:nvSpPr>
          <p:cNvPr id="6" name="TextBox 24_1">
            <a:extLst>
              <a:ext uri="{FF2B5EF4-FFF2-40B4-BE49-F238E27FC236}">
                <a16:creationId xmlns:a16="http://schemas.microsoft.com/office/drawing/2014/main" id="{ECE7F73E-5EAF-EA37-4EF4-D35CDDC6AC60}"/>
              </a:ext>
            </a:extLst>
          </p:cNvPr>
          <p:cNvSpPr txBox="1">
            <a:spLocks/>
          </p:cNvSpPr>
          <p:nvPr/>
        </p:nvSpPr>
        <p:spPr>
          <a:xfrm>
            <a:off x="3132293"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8" name="TextBox 7">
            <a:extLst>
              <a:ext uri="{FF2B5EF4-FFF2-40B4-BE49-F238E27FC236}">
                <a16:creationId xmlns:a16="http://schemas.microsoft.com/office/drawing/2014/main" id="{DE59A28D-C203-AD45-5EA0-9385472EEA52}"/>
              </a:ext>
            </a:extLst>
          </p:cNvPr>
          <p:cNvSpPr txBox="1">
            <a:spLocks/>
          </p:cNvSpPr>
          <p:nvPr/>
        </p:nvSpPr>
        <p:spPr>
          <a:xfrm>
            <a:off x="3118519" y="5291424"/>
            <a:ext cx="2695690" cy="60529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ncreased productivit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20,000 hours per year saved since 2020 with automation</a:t>
            </a:r>
          </a:p>
        </p:txBody>
      </p:sp>
      <p:sp>
        <p:nvSpPr>
          <p:cNvPr id="12" name="TextBox 11">
            <a:extLst>
              <a:ext uri="{FF2B5EF4-FFF2-40B4-BE49-F238E27FC236}">
                <a16:creationId xmlns:a16="http://schemas.microsoft.com/office/drawing/2014/main" id="{8A29B681-C992-070C-F17D-E92FD2C2DF93}"/>
              </a:ext>
            </a:extLst>
          </p:cNvPr>
          <p:cNvSpPr txBox="1">
            <a:spLocks/>
          </p:cNvSpPr>
          <p:nvPr/>
        </p:nvSpPr>
        <p:spPr>
          <a:xfrm>
            <a:off x="6089961" y="5291424"/>
            <a:ext cx="2759758" cy="77457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Process automation</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reated a new Power App that verifies work orders, gathers approved records, and enters them into the ERP system</a:t>
            </a:r>
          </a:p>
        </p:txBody>
      </p:sp>
      <p:sp>
        <p:nvSpPr>
          <p:cNvPr id="13" name="TextBox 12">
            <a:extLst>
              <a:ext uri="{FF2B5EF4-FFF2-40B4-BE49-F238E27FC236}">
                <a16:creationId xmlns:a16="http://schemas.microsoft.com/office/drawing/2014/main" id="{47BDB737-7011-68F2-D73C-1D0C06579D2C}"/>
              </a:ext>
            </a:extLst>
          </p:cNvPr>
          <p:cNvSpPr txBox="1">
            <a:spLocks/>
          </p:cNvSpPr>
          <p:nvPr/>
        </p:nvSpPr>
        <p:spPr>
          <a:xfrm>
            <a:off x="9061404" y="5291424"/>
            <a:ext cx="2695690" cy="60529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Successful user adoption</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1x increase in use of Power Automate, with over 900+ Power apps</a:t>
            </a:r>
          </a:p>
        </p:txBody>
      </p:sp>
    </p:spTree>
    <p:extLst>
      <p:ext uri="{BB962C8B-B14F-4D97-AF65-F5344CB8AC3E}">
        <p14:creationId xmlns:p14="http://schemas.microsoft.com/office/powerpoint/2010/main" val="124620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5F3CD-DD9B-9AC9-A5BA-F3B830CECDC2}"/>
            </a:ext>
          </a:extLst>
        </p:cNvPr>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86086D8-A8D8-1FA2-1F77-C985D1765F2E}"/>
              </a:ext>
              <a:ext uri="{C183D7F6-B498-43B3-948B-1728B52AA6E4}">
                <adec:decorative xmlns:adec="http://schemas.microsoft.com/office/drawing/2017/decorative" val="1"/>
              </a:ext>
            </a:extLst>
          </p:cNvPr>
          <p:cNvSpPr>
            <a:spLocks/>
          </p:cNvSpPr>
          <p:nvPr/>
        </p:nvSpPr>
        <p:spPr bwMode="auto">
          <a:xfrm>
            <a:off x="558128" y="1246501"/>
            <a:ext cx="11048655" cy="5154299"/>
          </a:xfrm>
          <a:prstGeom prst="roundRect">
            <a:avLst>
              <a:gd name="adj" fmla="val 2870"/>
            </a:avLst>
          </a:prstGeom>
          <a:solidFill>
            <a:schemeClr val="bg1">
              <a:alpha val="65000"/>
            </a:schemeClr>
          </a:solidFill>
          <a:ln w="3175">
            <a:noFill/>
            <a:headEnd type="none" w="med" len="med"/>
            <a:tailEnd type="none" w="med" len="med"/>
          </a:ln>
          <a:effectLst>
            <a:outerShdw blurRad="38100" algn="ct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marR="0" lvl="0" indent="-171450" algn="l" defTabSz="1243234" rtl="0" eaLnBrk="1" fontAlgn="base" latinLnBrk="0" hangingPunct="1">
              <a:lnSpc>
                <a:spcPct val="100000"/>
              </a:lnSpc>
              <a:spcBef>
                <a:spcPts val="600"/>
              </a:spcBef>
              <a:spcAft>
                <a:spcPts val="0"/>
              </a:spcAft>
              <a:buClr>
                <a:srgbClr val="091F2C"/>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18" name="Rectangle: Rounded Corners 117">
            <a:extLst>
              <a:ext uri="{FF2B5EF4-FFF2-40B4-BE49-F238E27FC236}">
                <a16:creationId xmlns:a16="http://schemas.microsoft.com/office/drawing/2014/main" id="{549EFC65-CE03-06A6-2AB3-E60788575198}"/>
              </a:ext>
              <a:ext uri="{C183D7F6-B498-43B3-948B-1728B52AA6E4}">
                <adec:decorative xmlns:adec="http://schemas.microsoft.com/office/drawing/2017/decorative" val="1"/>
              </a:ext>
            </a:extLst>
          </p:cNvPr>
          <p:cNvSpPr>
            <a:spLocks/>
          </p:cNvSpPr>
          <p:nvPr/>
        </p:nvSpPr>
        <p:spPr bwMode="auto">
          <a:xfrm>
            <a:off x="2609850" y="1353451"/>
            <a:ext cx="8889880" cy="2415906"/>
          </a:xfrm>
          <a:prstGeom prst="roundRect">
            <a:avLst>
              <a:gd name="adj" fmla="val 5194"/>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78D4"/>
              </a:solidFill>
              <a:effectLst/>
              <a:uLnTx/>
              <a:uFillTx/>
              <a:latin typeface="Segoe Sans Display Semibold"/>
              <a:ea typeface="+mn-ea"/>
              <a:cs typeface="Segoe UI" pitchFamily="34" charset="0"/>
            </a:endParaRPr>
          </a:p>
        </p:txBody>
      </p:sp>
      <p:sp>
        <p:nvSpPr>
          <p:cNvPr id="160" name="Rectangle: Rounded Corners 159">
            <a:extLst>
              <a:ext uri="{FF2B5EF4-FFF2-40B4-BE49-F238E27FC236}">
                <a16:creationId xmlns:a16="http://schemas.microsoft.com/office/drawing/2014/main" id="{AEAFF2B0-CA5A-A71C-F412-1FD11480B6F7}"/>
              </a:ext>
              <a:ext uri="{C183D7F6-B498-43B3-948B-1728B52AA6E4}">
                <adec:decorative xmlns:adec="http://schemas.microsoft.com/office/drawing/2017/decorative" val="1"/>
              </a:ext>
            </a:extLst>
          </p:cNvPr>
          <p:cNvSpPr>
            <a:spLocks/>
          </p:cNvSpPr>
          <p:nvPr/>
        </p:nvSpPr>
        <p:spPr bwMode="auto">
          <a:xfrm>
            <a:off x="2609850" y="3877943"/>
            <a:ext cx="8889880" cy="2415906"/>
          </a:xfrm>
          <a:prstGeom prst="roundRect">
            <a:avLst>
              <a:gd name="adj" fmla="val 5194"/>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78D4"/>
              </a:solidFill>
              <a:effectLst/>
              <a:uLnTx/>
              <a:uFillTx/>
              <a:latin typeface="Segoe Sans Display Semibold"/>
              <a:ea typeface="+mn-ea"/>
              <a:cs typeface="Segoe UI" pitchFamily="34" charset="0"/>
            </a:endParaRPr>
          </a:p>
        </p:txBody>
      </p:sp>
      <p:grpSp>
        <p:nvGrpSpPr>
          <p:cNvPr id="177" name="Group 176">
            <a:extLst>
              <a:ext uri="{FF2B5EF4-FFF2-40B4-BE49-F238E27FC236}">
                <a16:creationId xmlns:a16="http://schemas.microsoft.com/office/drawing/2014/main" id="{AD0F4A08-4FBE-B93F-8D9E-15635E54E114}"/>
              </a:ext>
              <a:ext uri="{C183D7F6-B498-43B3-948B-1728B52AA6E4}">
                <adec:decorative xmlns:adec="http://schemas.microsoft.com/office/drawing/2017/decorative" val="1"/>
              </a:ext>
            </a:extLst>
          </p:cNvPr>
          <p:cNvGrpSpPr/>
          <p:nvPr/>
        </p:nvGrpSpPr>
        <p:grpSpPr>
          <a:xfrm>
            <a:off x="2733675" y="1589756"/>
            <a:ext cx="514966" cy="514958"/>
            <a:chOff x="4130668" y="1723577"/>
            <a:chExt cx="514966" cy="514958"/>
          </a:xfrm>
        </p:grpSpPr>
        <p:sp>
          <p:nvSpPr>
            <p:cNvPr id="163" name="Oval 34_1">
              <a:extLst>
                <a:ext uri="{FF2B5EF4-FFF2-40B4-BE49-F238E27FC236}">
                  <a16:creationId xmlns:a16="http://schemas.microsoft.com/office/drawing/2014/main" id="{D1225118-C3DB-99E3-EC47-450A6D1D5C00}"/>
                </a:ext>
                <a:ext uri="{C183D7F6-B498-43B3-948B-1728B52AA6E4}">
                  <adec:decorative xmlns:adec="http://schemas.microsoft.com/office/drawing/2017/decorative" val="1"/>
                </a:ext>
              </a:extLst>
            </p:cNvPr>
            <p:cNvSpPr>
              <a:spLocks/>
            </p:cNvSpPr>
            <p:nvPr/>
          </p:nvSpPr>
          <p:spPr bwMode="auto">
            <a:xfrm>
              <a:off x="4130668" y="1723577"/>
              <a:ext cx="514966" cy="51495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166" name="Freeform: Shape 165" descr="Icon of a blank document">
              <a:extLst>
                <a:ext uri="{FF2B5EF4-FFF2-40B4-BE49-F238E27FC236}">
                  <a16:creationId xmlns:a16="http://schemas.microsoft.com/office/drawing/2014/main" id="{97247B4E-A056-50A9-DDFA-2A2D94AC21DD}"/>
                </a:ext>
              </a:extLst>
            </p:cNvPr>
            <p:cNvSpPr>
              <a:spLocks/>
            </p:cNvSpPr>
            <p:nvPr/>
          </p:nvSpPr>
          <p:spPr>
            <a:xfrm>
              <a:off x="4279329" y="1845028"/>
              <a:ext cx="217645" cy="272056"/>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nvGrpSpPr>
          <p:cNvPr id="176" name="Group 175">
            <a:extLst>
              <a:ext uri="{FF2B5EF4-FFF2-40B4-BE49-F238E27FC236}">
                <a16:creationId xmlns:a16="http://schemas.microsoft.com/office/drawing/2014/main" id="{31EA34FD-E441-2281-CD7B-2F290354BEBB}"/>
              </a:ext>
              <a:ext uri="{C183D7F6-B498-43B3-948B-1728B52AA6E4}">
                <adec:decorative xmlns:adec="http://schemas.microsoft.com/office/drawing/2017/decorative" val="1"/>
              </a:ext>
            </a:extLst>
          </p:cNvPr>
          <p:cNvGrpSpPr/>
          <p:nvPr/>
        </p:nvGrpSpPr>
        <p:grpSpPr>
          <a:xfrm>
            <a:off x="5667979" y="1589756"/>
            <a:ext cx="514966" cy="514958"/>
            <a:chOff x="6640882" y="1723577"/>
            <a:chExt cx="514966" cy="514958"/>
          </a:xfrm>
        </p:grpSpPr>
        <p:sp>
          <p:nvSpPr>
            <p:cNvPr id="164" name="Oval 34_1">
              <a:extLst>
                <a:ext uri="{FF2B5EF4-FFF2-40B4-BE49-F238E27FC236}">
                  <a16:creationId xmlns:a16="http://schemas.microsoft.com/office/drawing/2014/main" id="{D05C2B55-3DD8-EC76-DA4D-FDE510391060}"/>
                </a:ext>
                <a:ext uri="{C183D7F6-B498-43B3-948B-1728B52AA6E4}">
                  <adec:decorative xmlns:adec="http://schemas.microsoft.com/office/drawing/2017/decorative" val="1"/>
                </a:ext>
              </a:extLst>
            </p:cNvPr>
            <p:cNvSpPr>
              <a:spLocks/>
            </p:cNvSpPr>
            <p:nvPr/>
          </p:nvSpPr>
          <p:spPr bwMode="auto">
            <a:xfrm>
              <a:off x="6640882" y="1723577"/>
              <a:ext cx="514966" cy="51495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167" name="Graphic 33" descr="Icon of a document of a checkmark">
              <a:extLst>
                <a:ext uri="{FF2B5EF4-FFF2-40B4-BE49-F238E27FC236}">
                  <a16:creationId xmlns:a16="http://schemas.microsoft.com/office/drawing/2014/main" id="{E49E3E00-78FE-F441-659B-163888F4E7EC}"/>
                </a:ext>
              </a:extLst>
            </p:cNvPr>
            <p:cNvSpPr>
              <a:spLocks/>
            </p:cNvSpPr>
            <p:nvPr/>
          </p:nvSpPr>
          <p:spPr>
            <a:xfrm>
              <a:off x="6780966" y="1851299"/>
              <a:ext cx="234798" cy="259514"/>
            </a:xfrm>
            <a:custGeom>
              <a:avLst/>
              <a:gdLst>
                <a:gd name="connsiteX0" fmla="*/ 715257 w 937232"/>
                <a:gd name="connsiteY0" fmla="*/ 752253 h 1035888"/>
                <a:gd name="connsiteX1" fmla="*/ 715257 w 937232"/>
                <a:gd name="connsiteY1" fmla="*/ 690593 h 1035888"/>
                <a:gd name="connsiteX2" fmla="*/ 583358 w 937232"/>
                <a:gd name="connsiteY2" fmla="*/ 690593 h 1035888"/>
                <a:gd name="connsiteX3" fmla="*/ 591937 w 937232"/>
                <a:gd name="connsiteY3" fmla="*/ 764585 h 1035888"/>
                <a:gd name="connsiteX4" fmla="*/ 702925 w 937232"/>
                <a:gd name="connsiteY4" fmla="*/ 764585 h 1035888"/>
                <a:gd name="connsiteX5" fmla="*/ 715257 w 937232"/>
                <a:gd name="connsiteY5" fmla="*/ 752253 h 1035888"/>
                <a:gd name="connsiteX6" fmla="*/ 715257 w 937232"/>
                <a:gd name="connsiteY6" fmla="*/ 616601 h 1035888"/>
                <a:gd name="connsiteX7" fmla="*/ 555819 w 937232"/>
                <a:gd name="connsiteY7" fmla="*/ 616601 h 1035888"/>
                <a:gd name="connsiteX8" fmla="*/ 517944 w 937232"/>
                <a:gd name="connsiteY8" fmla="*/ 559696 h 1035888"/>
                <a:gd name="connsiteX9" fmla="*/ 517944 w 937232"/>
                <a:gd name="connsiteY9" fmla="*/ 542608 h 1035888"/>
                <a:gd name="connsiteX10" fmla="*/ 702925 w 937232"/>
                <a:gd name="connsiteY10" fmla="*/ 542608 h 1035888"/>
                <a:gd name="connsiteX11" fmla="*/ 715257 w 937232"/>
                <a:gd name="connsiteY11" fmla="*/ 554940 h 1035888"/>
                <a:gd name="connsiteX12" fmla="*/ 715257 w 937232"/>
                <a:gd name="connsiteY12" fmla="*/ 616601 h 1035888"/>
                <a:gd name="connsiteX13" fmla="*/ 271304 w 937232"/>
                <a:gd name="connsiteY13" fmla="*/ 443952 h 1035888"/>
                <a:gd name="connsiteX14" fmla="*/ 394841 w 937232"/>
                <a:gd name="connsiteY14" fmla="*/ 468616 h 1035888"/>
                <a:gd name="connsiteX15" fmla="*/ 702925 w 937232"/>
                <a:gd name="connsiteY15" fmla="*/ 468616 h 1035888"/>
                <a:gd name="connsiteX16" fmla="*/ 789249 w 937232"/>
                <a:gd name="connsiteY16" fmla="*/ 554940 h 1035888"/>
                <a:gd name="connsiteX17" fmla="*/ 789249 w 937232"/>
                <a:gd name="connsiteY17" fmla="*/ 752253 h 1035888"/>
                <a:gd name="connsiteX18" fmla="*/ 702925 w 937232"/>
                <a:gd name="connsiteY18" fmla="*/ 838577 h 1035888"/>
                <a:gd name="connsiteX19" fmla="*/ 583358 w 937232"/>
                <a:gd name="connsiteY19" fmla="*/ 838577 h 1035888"/>
                <a:gd name="connsiteX20" fmla="*/ 502672 w 937232"/>
                <a:gd name="connsiteY20" fmla="*/ 986561 h 1035888"/>
                <a:gd name="connsiteX21" fmla="*/ 838577 w 937232"/>
                <a:gd name="connsiteY21" fmla="*/ 986561 h 1035888"/>
                <a:gd name="connsiteX22" fmla="*/ 937233 w 937232"/>
                <a:gd name="connsiteY22" fmla="*/ 887905 h 1035888"/>
                <a:gd name="connsiteX23" fmla="*/ 937233 w 937232"/>
                <a:gd name="connsiteY23" fmla="*/ 394624 h 1035888"/>
                <a:gd name="connsiteX24" fmla="*/ 641265 w 937232"/>
                <a:gd name="connsiteY24" fmla="*/ 394624 h 1035888"/>
                <a:gd name="connsiteX25" fmla="*/ 542608 w 937232"/>
                <a:gd name="connsiteY25" fmla="*/ 295968 h 1035888"/>
                <a:gd name="connsiteX26" fmla="*/ 542608 w 937232"/>
                <a:gd name="connsiteY26" fmla="*/ 0 h 1035888"/>
                <a:gd name="connsiteX27" fmla="*/ 246640 w 937232"/>
                <a:gd name="connsiteY27" fmla="*/ 0 h 1035888"/>
                <a:gd name="connsiteX28" fmla="*/ 147984 w 937232"/>
                <a:gd name="connsiteY28" fmla="*/ 98656 h 1035888"/>
                <a:gd name="connsiteX29" fmla="*/ 147984 w 937232"/>
                <a:gd name="connsiteY29" fmla="*/ 468528 h 1035888"/>
                <a:gd name="connsiteX30" fmla="*/ 271304 w 937232"/>
                <a:gd name="connsiteY30" fmla="*/ 443952 h 1035888"/>
                <a:gd name="connsiteX31" fmla="*/ 616601 w 937232"/>
                <a:gd name="connsiteY31" fmla="*/ 295968 h 1035888"/>
                <a:gd name="connsiteX32" fmla="*/ 616601 w 937232"/>
                <a:gd name="connsiteY32" fmla="*/ 24664 h 1035888"/>
                <a:gd name="connsiteX33" fmla="*/ 912569 w 937232"/>
                <a:gd name="connsiteY33" fmla="*/ 320632 h 1035888"/>
                <a:gd name="connsiteX34" fmla="*/ 641265 w 937232"/>
                <a:gd name="connsiteY34" fmla="*/ 320632 h 1035888"/>
                <a:gd name="connsiteX35" fmla="*/ 616601 w 937232"/>
                <a:gd name="connsiteY35" fmla="*/ 295968 h 1035888"/>
                <a:gd name="connsiteX36" fmla="*/ 542608 w 937232"/>
                <a:gd name="connsiteY36" fmla="*/ 764585 h 1035888"/>
                <a:gd name="connsiteX37" fmla="*/ 271304 w 937232"/>
                <a:gd name="connsiteY37" fmla="*/ 1035889 h 1035888"/>
                <a:gd name="connsiteX38" fmla="*/ 0 w 937232"/>
                <a:gd name="connsiteY38" fmla="*/ 764585 h 1035888"/>
                <a:gd name="connsiteX39" fmla="*/ 271304 w 937232"/>
                <a:gd name="connsiteY39" fmla="*/ 493280 h 1035888"/>
                <a:gd name="connsiteX40" fmla="*/ 542608 w 937232"/>
                <a:gd name="connsiteY40" fmla="*/ 764585 h 1035888"/>
                <a:gd name="connsiteX41" fmla="*/ 436728 w 937232"/>
                <a:gd name="connsiteY41" fmla="*/ 648486 h 1035888"/>
                <a:gd name="connsiteX42" fmla="*/ 401848 w 937232"/>
                <a:gd name="connsiteY42" fmla="*/ 648486 h 1035888"/>
                <a:gd name="connsiteX43" fmla="*/ 221976 w 937232"/>
                <a:gd name="connsiteY43" fmla="*/ 828361 h 1035888"/>
                <a:gd name="connsiteX44" fmla="*/ 140760 w 937232"/>
                <a:gd name="connsiteY44" fmla="*/ 747142 h 1035888"/>
                <a:gd name="connsiteX45" fmla="*/ 105880 w 937232"/>
                <a:gd name="connsiteY45" fmla="*/ 747142 h 1035888"/>
                <a:gd name="connsiteX46" fmla="*/ 105880 w 937232"/>
                <a:gd name="connsiteY46" fmla="*/ 782027 h 1035888"/>
                <a:gd name="connsiteX47" fmla="*/ 204536 w 937232"/>
                <a:gd name="connsiteY47" fmla="*/ 880683 h 1035888"/>
                <a:gd name="connsiteX48" fmla="*/ 239416 w 937232"/>
                <a:gd name="connsiteY48" fmla="*/ 880683 h 1035888"/>
                <a:gd name="connsiteX49" fmla="*/ 436728 w 937232"/>
                <a:gd name="connsiteY49" fmla="*/ 683371 h 1035888"/>
                <a:gd name="connsiteX50" fmla="*/ 436728 w 937232"/>
                <a:gd name="connsiteY50" fmla="*/ 648486 h 103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37232" h="1035888">
                  <a:moveTo>
                    <a:pt x="715257" y="752253"/>
                  </a:moveTo>
                  <a:lnTo>
                    <a:pt x="715257" y="690593"/>
                  </a:lnTo>
                  <a:lnTo>
                    <a:pt x="583358" y="690593"/>
                  </a:lnTo>
                  <a:cubicBezTo>
                    <a:pt x="588967" y="714344"/>
                    <a:pt x="591937" y="739117"/>
                    <a:pt x="591937" y="764585"/>
                  </a:cubicBezTo>
                  <a:lnTo>
                    <a:pt x="702925" y="764585"/>
                  </a:lnTo>
                  <a:cubicBezTo>
                    <a:pt x="709737" y="764585"/>
                    <a:pt x="715257" y="759065"/>
                    <a:pt x="715257" y="752253"/>
                  </a:cubicBezTo>
                  <a:close/>
                  <a:moveTo>
                    <a:pt x="715257" y="616601"/>
                  </a:moveTo>
                  <a:lnTo>
                    <a:pt x="555819" y="616601"/>
                  </a:lnTo>
                  <a:cubicBezTo>
                    <a:pt x="545213" y="596258"/>
                    <a:pt x="532491" y="577192"/>
                    <a:pt x="517944" y="559696"/>
                  </a:cubicBezTo>
                  <a:lnTo>
                    <a:pt x="517944" y="542608"/>
                  </a:lnTo>
                  <a:lnTo>
                    <a:pt x="702925" y="542608"/>
                  </a:lnTo>
                  <a:cubicBezTo>
                    <a:pt x="709737" y="542608"/>
                    <a:pt x="715257" y="548128"/>
                    <a:pt x="715257" y="554940"/>
                  </a:cubicBezTo>
                  <a:lnTo>
                    <a:pt x="715257" y="616601"/>
                  </a:lnTo>
                  <a:close/>
                  <a:moveTo>
                    <a:pt x="271304" y="443952"/>
                  </a:moveTo>
                  <a:cubicBezTo>
                    <a:pt x="315087" y="443952"/>
                    <a:pt x="356821" y="452728"/>
                    <a:pt x="394841" y="468616"/>
                  </a:cubicBezTo>
                  <a:lnTo>
                    <a:pt x="702925" y="468616"/>
                  </a:lnTo>
                  <a:cubicBezTo>
                    <a:pt x="750600" y="468616"/>
                    <a:pt x="789249" y="507265"/>
                    <a:pt x="789249" y="554940"/>
                  </a:cubicBezTo>
                  <a:lnTo>
                    <a:pt x="789249" y="752253"/>
                  </a:lnTo>
                  <a:cubicBezTo>
                    <a:pt x="789249" y="799928"/>
                    <a:pt x="750600" y="838577"/>
                    <a:pt x="702925" y="838577"/>
                  </a:cubicBezTo>
                  <a:lnTo>
                    <a:pt x="583358" y="838577"/>
                  </a:lnTo>
                  <a:cubicBezTo>
                    <a:pt x="569986" y="895176"/>
                    <a:pt x="541617" y="945979"/>
                    <a:pt x="502672" y="986561"/>
                  </a:cubicBezTo>
                  <a:lnTo>
                    <a:pt x="838577" y="986561"/>
                  </a:lnTo>
                  <a:cubicBezTo>
                    <a:pt x="893065" y="986561"/>
                    <a:pt x="937233" y="942393"/>
                    <a:pt x="937233" y="887905"/>
                  </a:cubicBezTo>
                  <a:lnTo>
                    <a:pt x="937233" y="394624"/>
                  </a:lnTo>
                  <a:lnTo>
                    <a:pt x="641265" y="394624"/>
                  </a:lnTo>
                  <a:cubicBezTo>
                    <a:pt x="586777" y="394624"/>
                    <a:pt x="542608" y="350455"/>
                    <a:pt x="542608" y="295968"/>
                  </a:cubicBezTo>
                  <a:lnTo>
                    <a:pt x="542608" y="0"/>
                  </a:lnTo>
                  <a:lnTo>
                    <a:pt x="246640" y="0"/>
                  </a:lnTo>
                  <a:cubicBezTo>
                    <a:pt x="192154" y="0"/>
                    <a:pt x="147984" y="44170"/>
                    <a:pt x="147984" y="98656"/>
                  </a:cubicBezTo>
                  <a:lnTo>
                    <a:pt x="147984" y="468528"/>
                  </a:lnTo>
                  <a:cubicBezTo>
                    <a:pt x="185946" y="452693"/>
                    <a:pt x="227605" y="443952"/>
                    <a:pt x="271304" y="443952"/>
                  </a:cubicBezTo>
                  <a:close/>
                  <a:moveTo>
                    <a:pt x="616601" y="295968"/>
                  </a:moveTo>
                  <a:lnTo>
                    <a:pt x="616601" y="24664"/>
                  </a:lnTo>
                  <a:lnTo>
                    <a:pt x="912569" y="320632"/>
                  </a:lnTo>
                  <a:lnTo>
                    <a:pt x="641265" y="320632"/>
                  </a:lnTo>
                  <a:cubicBezTo>
                    <a:pt x="627645" y="320632"/>
                    <a:pt x="616601" y="309590"/>
                    <a:pt x="616601" y="295968"/>
                  </a:cubicBezTo>
                  <a:close/>
                  <a:moveTo>
                    <a:pt x="542608" y="764585"/>
                  </a:moveTo>
                  <a:cubicBezTo>
                    <a:pt x="542608" y="914424"/>
                    <a:pt x="421142" y="1035889"/>
                    <a:pt x="271304" y="1035889"/>
                  </a:cubicBezTo>
                  <a:cubicBezTo>
                    <a:pt x="121467" y="1035889"/>
                    <a:pt x="0" y="914424"/>
                    <a:pt x="0" y="764585"/>
                  </a:cubicBezTo>
                  <a:cubicBezTo>
                    <a:pt x="0" y="614746"/>
                    <a:pt x="121467" y="493280"/>
                    <a:pt x="271304" y="493280"/>
                  </a:cubicBezTo>
                  <a:cubicBezTo>
                    <a:pt x="421142" y="493280"/>
                    <a:pt x="542608" y="614746"/>
                    <a:pt x="542608" y="764585"/>
                  </a:cubicBezTo>
                  <a:close/>
                  <a:moveTo>
                    <a:pt x="436728" y="648486"/>
                  </a:moveTo>
                  <a:cubicBezTo>
                    <a:pt x="427097" y="638857"/>
                    <a:pt x="411480" y="638857"/>
                    <a:pt x="401848" y="648486"/>
                  </a:cubicBezTo>
                  <a:lnTo>
                    <a:pt x="221976" y="828361"/>
                  </a:lnTo>
                  <a:lnTo>
                    <a:pt x="140760" y="747142"/>
                  </a:lnTo>
                  <a:cubicBezTo>
                    <a:pt x="131128" y="737513"/>
                    <a:pt x="115512" y="737513"/>
                    <a:pt x="105880" y="747142"/>
                  </a:cubicBezTo>
                  <a:cubicBezTo>
                    <a:pt x="96248" y="756776"/>
                    <a:pt x="96248" y="772393"/>
                    <a:pt x="105880" y="782027"/>
                  </a:cubicBezTo>
                  <a:lnTo>
                    <a:pt x="204536" y="880683"/>
                  </a:lnTo>
                  <a:cubicBezTo>
                    <a:pt x="214168" y="890312"/>
                    <a:pt x="229784" y="890312"/>
                    <a:pt x="239416" y="880683"/>
                  </a:cubicBezTo>
                  <a:lnTo>
                    <a:pt x="436728" y="683371"/>
                  </a:lnTo>
                  <a:cubicBezTo>
                    <a:pt x="446360" y="673737"/>
                    <a:pt x="446360" y="658120"/>
                    <a:pt x="436728" y="648486"/>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nvGrpSpPr>
          <p:cNvPr id="175" name="Group 174">
            <a:extLst>
              <a:ext uri="{FF2B5EF4-FFF2-40B4-BE49-F238E27FC236}">
                <a16:creationId xmlns:a16="http://schemas.microsoft.com/office/drawing/2014/main" id="{5CF95697-4859-09C6-5872-D2DCDC6A4F24}"/>
              </a:ext>
              <a:ext uri="{C183D7F6-B498-43B3-948B-1728B52AA6E4}">
                <adec:decorative xmlns:adec="http://schemas.microsoft.com/office/drawing/2017/decorative" val="1"/>
              </a:ext>
            </a:extLst>
          </p:cNvPr>
          <p:cNvGrpSpPr/>
          <p:nvPr/>
        </p:nvGrpSpPr>
        <p:grpSpPr>
          <a:xfrm>
            <a:off x="8602285" y="1589756"/>
            <a:ext cx="514966" cy="514958"/>
            <a:chOff x="9151096" y="1723577"/>
            <a:chExt cx="514966" cy="514958"/>
          </a:xfrm>
        </p:grpSpPr>
        <p:sp>
          <p:nvSpPr>
            <p:cNvPr id="165" name="Oval 34_1">
              <a:extLst>
                <a:ext uri="{FF2B5EF4-FFF2-40B4-BE49-F238E27FC236}">
                  <a16:creationId xmlns:a16="http://schemas.microsoft.com/office/drawing/2014/main" id="{8361F7BE-3828-5BF7-EE68-5F901F634243}"/>
                </a:ext>
                <a:ext uri="{C183D7F6-B498-43B3-948B-1728B52AA6E4}">
                  <adec:decorative xmlns:adec="http://schemas.microsoft.com/office/drawing/2017/decorative" val="1"/>
                </a:ext>
              </a:extLst>
            </p:cNvPr>
            <p:cNvSpPr>
              <a:spLocks/>
            </p:cNvSpPr>
            <p:nvPr/>
          </p:nvSpPr>
          <p:spPr bwMode="auto">
            <a:xfrm>
              <a:off x="9151096" y="1723577"/>
              <a:ext cx="514966" cy="51495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168" name="Graphic 16" descr="Icon of a document with a magnifying glass">
              <a:extLst>
                <a:ext uri="{FF2B5EF4-FFF2-40B4-BE49-F238E27FC236}">
                  <a16:creationId xmlns:a16="http://schemas.microsoft.com/office/drawing/2014/main" id="{9AE8FA1E-0E43-D62A-F6E3-66032F9E1FC8}"/>
                </a:ext>
              </a:extLst>
            </p:cNvPr>
            <p:cNvSpPr>
              <a:spLocks/>
            </p:cNvSpPr>
            <p:nvPr/>
          </p:nvSpPr>
          <p:spPr>
            <a:xfrm>
              <a:off x="9284533" y="1849438"/>
              <a:ext cx="248093" cy="263237"/>
            </a:xfrm>
            <a:custGeom>
              <a:avLst/>
              <a:gdLst>
                <a:gd name="connsiteX0" fmla="*/ 601461 w 1206108"/>
                <a:gd name="connsiteY0" fmla="*/ 1079149 h 1333064"/>
                <a:gd name="connsiteX1" fmla="*/ 904581 w 1206108"/>
                <a:gd name="connsiteY1" fmla="*/ 1079149 h 1333064"/>
                <a:gd name="connsiteX2" fmla="*/ 1015670 w 1206108"/>
                <a:gd name="connsiteY2" fmla="*/ 968060 h 1333064"/>
                <a:gd name="connsiteX3" fmla="*/ 1015670 w 1206108"/>
                <a:gd name="connsiteY3" fmla="*/ 714143 h 1333064"/>
                <a:gd name="connsiteX4" fmla="*/ 904581 w 1206108"/>
                <a:gd name="connsiteY4" fmla="*/ 603054 h 1333064"/>
                <a:gd name="connsiteX5" fmla="*/ 491965 w 1206108"/>
                <a:gd name="connsiteY5" fmla="*/ 603054 h 1333064"/>
                <a:gd name="connsiteX6" fmla="*/ 448859 w 1206108"/>
                <a:gd name="connsiteY6" fmla="*/ 611725 h 1333064"/>
                <a:gd name="connsiteX7" fmla="*/ 285657 w 1206108"/>
                <a:gd name="connsiteY7" fmla="*/ 571314 h 1333064"/>
                <a:gd name="connsiteX8" fmla="*/ 190438 w 1206108"/>
                <a:gd name="connsiteY8" fmla="*/ 584454 h 1333064"/>
                <a:gd name="connsiteX9" fmla="*/ 190438 w 1206108"/>
                <a:gd name="connsiteY9" fmla="*/ 126959 h 1333064"/>
                <a:gd name="connsiteX10" fmla="*/ 317397 w 1206108"/>
                <a:gd name="connsiteY10" fmla="*/ 0 h 1333064"/>
                <a:gd name="connsiteX11" fmla="*/ 698273 w 1206108"/>
                <a:gd name="connsiteY11" fmla="*/ 0 h 1333064"/>
                <a:gd name="connsiteX12" fmla="*/ 698273 w 1206108"/>
                <a:gd name="connsiteY12" fmla="*/ 380876 h 1333064"/>
                <a:gd name="connsiteX13" fmla="*/ 825232 w 1206108"/>
                <a:gd name="connsiteY13" fmla="*/ 507835 h 1333064"/>
                <a:gd name="connsiteX14" fmla="*/ 1206108 w 1206108"/>
                <a:gd name="connsiteY14" fmla="*/ 507835 h 1333064"/>
                <a:gd name="connsiteX15" fmla="*/ 1206108 w 1206108"/>
                <a:gd name="connsiteY15" fmla="*/ 1142629 h 1333064"/>
                <a:gd name="connsiteX16" fmla="*/ 1079149 w 1206108"/>
                <a:gd name="connsiteY16" fmla="*/ 1269587 h 1333064"/>
                <a:gd name="connsiteX17" fmla="*/ 760623 w 1206108"/>
                <a:gd name="connsiteY17" fmla="*/ 1269587 h 1333064"/>
                <a:gd name="connsiteX18" fmla="*/ 729213 w 1206108"/>
                <a:gd name="connsiteY18" fmla="*/ 1206908 h 1333064"/>
                <a:gd name="connsiteX19" fmla="*/ 601461 w 1206108"/>
                <a:gd name="connsiteY19" fmla="*/ 1079149 h 1333064"/>
                <a:gd name="connsiteX20" fmla="*/ 920451 w 1206108"/>
                <a:gd name="connsiteY20" fmla="*/ 888711 h 1333064"/>
                <a:gd name="connsiteX21" fmla="*/ 920451 w 1206108"/>
                <a:gd name="connsiteY21" fmla="*/ 968060 h 1333064"/>
                <a:gd name="connsiteX22" fmla="*/ 904581 w 1206108"/>
                <a:gd name="connsiteY22" fmla="*/ 983930 h 1333064"/>
                <a:gd name="connsiteX23" fmla="*/ 666533 w 1206108"/>
                <a:gd name="connsiteY23" fmla="*/ 983930 h 1333064"/>
                <a:gd name="connsiteX24" fmla="*/ 666533 w 1206108"/>
                <a:gd name="connsiteY24" fmla="*/ 888711 h 1333064"/>
                <a:gd name="connsiteX25" fmla="*/ 920451 w 1206108"/>
                <a:gd name="connsiteY25" fmla="*/ 888711 h 1333064"/>
                <a:gd name="connsiteX26" fmla="*/ 666533 w 1206108"/>
                <a:gd name="connsiteY26" fmla="*/ 793492 h 1333064"/>
                <a:gd name="connsiteX27" fmla="*/ 666533 w 1206108"/>
                <a:gd name="connsiteY27" fmla="*/ 698273 h 1333064"/>
                <a:gd name="connsiteX28" fmla="*/ 904581 w 1206108"/>
                <a:gd name="connsiteY28" fmla="*/ 698273 h 1333064"/>
                <a:gd name="connsiteX29" fmla="*/ 920451 w 1206108"/>
                <a:gd name="connsiteY29" fmla="*/ 714143 h 1333064"/>
                <a:gd name="connsiteX30" fmla="*/ 920451 w 1206108"/>
                <a:gd name="connsiteY30" fmla="*/ 793492 h 1333064"/>
                <a:gd name="connsiteX31" fmla="*/ 666533 w 1206108"/>
                <a:gd name="connsiteY31" fmla="*/ 793492 h 1333064"/>
                <a:gd name="connsiteX32" fmla="*/ 793492 w 1206108"/>
                <a:gd name="connsiteY32" fmla="*/ 31740 h 1333064"/>
                <a:gd name="connsiteX33" fmla="*/ 793492 w 1206108"/>
                <a:gd name="connsiteY33" fmla="*/ 380876 h 1333064"/>
                <a:gd name="connsiteX34" fmla="*/ 825232 w 1206108"/>
                <a:gd name="connsiteY34" fmla="*/ 412616 h 1333064"/>
                <a:gd name="connsiteX35" fmla="*/ 1174369 w 1206108"/>
                <a:gd name="connsiteY35" fmla="*/ 412616 h 1333064"/>
                <a:gd name="connsiteX36" fmla="*/ 793492 w 1206108"/>
                <a:gd name="connsiteY36" fmla="*/ 31740 h 1333064"/>
                <a:gd name="connsiteX37" fmla="*/ 518503 w 1206108"/>
                <a:gd name="connsiteY37" fmla="*/ 1085967 h 1333064"/>
                <a:gd name="connsiteX38" fmla="*/ 571314 w 1206108"/>
                <a:gd name="connsiteY38" fmla="*/ 920451 h 1333064"/>
                <a:gd name="connsiteX39" fmla="*/ 285657 w 1206108"/>
                <a:gd name="connsiteY39" fmla="*/ 634794 h 1333064"/>
                <a:gd name="connsiteX40" fmla="*/ 0 w 1206108"/>
                <a:gd name="connsiteY40" fmla="*/ 920451 h 1333064"/>
                <a:gd name="connsiteX41" fmla="*/ 285657 w 1206108"/>
                <a:gd name="connsiteY41" fmla="*/ 1206108 h 1333064"/>
                <a:gd name="connsiteX42" fmla="*/ 451173 w 1206108"/>
                <a:gd name="connsiteY42" fmla="*/ 1153299 h 1333064"/>
                <a:gd name="connsiteX43" fmla="*/ 617001 w 1206108"/>
                <a:gd name="connsiteY43" fmla="*/ 1319120 h 1333064"/>
                <a:gd name="connsiteX44" fmla="*/ 684327 w 1206108"/>
                <a:gd name="connsiteY44" fmla="*/ 1319120 h 1333064"/>
                <a:gd name="connsiteX45" fmla="*/ 684327 w 1206108"/>
                <a:gd name="connsiteY45" fmla="*/ 1251794 h 1333064"/>
                <a:gd name="connsiteX46" fmla="*/ 518503 w 1206108"/>
                <a:gd name="connsiteY46" fmla="*/ 1085967 h 1333064"/>
                <a:gd name="connsiteX47" fmla="*/ 476095 w 1206108"/>
                <a:gd name="connsiteY47" fmla="*/ 920451 h 1333064"/>
                <a:gd name="connsiteX48" fmla="*/ 285657 w 1206108"/>
                <a:gd name="connsiteY48" fmla="*/ 1110889 h 1333064"/>
                <a:gd name="connsiteX49" fmla="*/ 95219 w 1206108"/>
                <a:gd name="connsiteY49" fmla="*/ 920451 h 1333064"/>
                <a:gd name="connsiteX50" fmla="*/ 285657 w 1206108"/>
                <a:gd name="connsiteY50" fmla="*/ 730013 h 1333064"/>
                <a:gd name="connsiteX51" fmla="*/ 476095 w 1206108"/>
                <a:gd name="connsiteY51" fmla="*/ 920451 h 133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06108" h="1333064">
                  <a:moveTo>
                    <a:pt x="601461" y="1079149"/>
                  </a:moveTo>
                  <a:lnTo>
                    <a:pt x="904581" y="1079149"/>
                  </a:lnTo>
                  <a:cubicBezTo>
                    <a:pt x="965934" y="1079149"/>
                    <a:pt x="1015670" y="1029413"/>
                    <a:pt x="1015670" y="968060"/>
                  </a:cubicBezTo>
                  <a:lnTo>
                    <a:pt x="1015670" y="714143"/>
                  </a:lnTo>
                  <a:cubicBezTo>
                    <a:pt x="1015670" y="652790"/>
                    <a:pt x="965934" y="603054"/>
                    <a:pt x="904581" y="603054"/>
                  </a:cubicBezTo>
                  <a:lnTo>
                    <a:pt x="491965" y="603054"/>
                  </a:lnTo>
                  <a:cubicBezTo>
                    <a:pt x="476679" y="603054"/>
                    <a:pt x="462113" y="606139"/>
                    <a:pt x="448859" y="611725"/>
                  </a:cubicBezTo>
                  <a:cubicBezTo>
                    <a:pt x="400154" y="585927"/>
                    <a:pt x="344612" y="571314"/>
                    <a:pt x="285657" y="571314"/>
                  </a:cubicBezTo>
                  <a:cubicBezTo>
                    <a:pt x="252647" y="571314"/>
                    <a:pt x="220707" y="575897"/>
                    <a:pt x="190438" y="584454"/>
                  </a:cubicBezTo>
                  <a:lnTo>
                    <a:pt x="190438" y="126959"/>
                  </a:lnTo>
                  <a:cubicBezTo>
                    <a:pt x="190438" y="56841"/>
                    <a:pt x="247279" y="0"/>
                    <a:pt x="317397" y="0"/>
                  </a:cubicBezTo>
                  <a:lnTo>
                    <a:pt x="698273" y="0"/>
                  </a:lnTo>
                  <a:lnTo>
                    <a:pt x="698273" y="380876"/>
                  </a:lnTo>
                  <a:cubicBezTo>
                    <a:pt x="698273" y="450994"/>
                    <a:pt x="755113" y="507835"/>
                    <a:pt x="825232" y="507835"/>
                  </a:cubicBezTo>
                  <a:lnTo>
                    <a:pt x="1206108" y="507835"/>
                  </a:lnTo>
                  <a:lnTo>
                    <a:pt x="1206108" y="1142629"/>
                  </a:lnTo>
                  <a:cubicBezTo>
                    <a:pt x="1206108" y="1212748"/>
                    <a:pt x="1149269" y="1269587"/>
                    <a:pt x="1079149" y="1269587"/>
                  </a:cubicBezTo>
                  <a:lnTo>
                    <a:pt x="760623" y="1269587"/>
                  </a:lnTo>
                  <a:cubicBezTo>
                    <a:pt x="757328" y="1246652"/>
                    <a:pt x="746860" y="1224549"/>
                    <a:pt x="729213" y="1206908"/>
                  </a:cubicBezTo>
                  <a:lnTo>
                    <a:pt x="601461" y="1079149"/>
                  </a:lnTo>
                  <a:close/>
                  <a:moveTo>
                    <a:pt x="920451" y="888711"/>
                  </a:moveTo>
                  <a:lnTo>
                    <a:pt x="920451" y="968060"/>
                  </a:lnTo>
                  <a:cubicBezTo>
                    <a:pt x="920451" y="976827"/>
                    <a:pt x="913348" y="983930"/>
                    <a:pt x="904581" y="983930"/>
                  </a:cubicBezTo>
                  <a:lnTo>
                    <a:pt x="666533" y="983930"/>
                  </a:lnTo>
                  <a:lnTo>
                    <a:pt x="666533" y="888711"/>
                  </a:lnTo>
                  <a:lnTo>
                    <a:pt x="920451" y="888711"/>
                  </a:lnTo>
                  <a:close/>
                  <a:moveTo>
                    <a:pt x="666533" y="793492"/>
                  </a:moveTo>
                  <a:lnTo>
                    <a:pt x="666533" y="698273"/>
                  </a:lnTo>
                  <a:lnTo>
                    <a:pt x="904581" y="698273"/>
                  </a:lnTo>
                  <a:cubicBezTo>
                    <a:pt x="913348" y="698273"/>
                    <a:pt x="920451" y="705376"/>
                    <a:pt x="920451" y="714143"/>
                  </a:cubicBezTo>
                  <a:lnTo>
                    <a:pt x="920451" y="793492"/>
                  </a:lnTo>
                  <a:lnTo>
                    <a:pt x="666533" y="793492"/>
                  </a:lnTo>
                  <a:close/>
                  <a:moveTo>
                    <a:pt x="793492" y="31740"/>
                  </a:moveTo>
                  <a:lnTo>
                    <a:pt x="793492" y="380876"/>
                  </a:lnTo>
                  <a:cubicBezTo>
                    <a:pt x="793492" y="398405"/>
                    <a:pt x="807705" y="412616"/>
                    <a:pt x="825232" y="412616"/>
                  </a:cubicBezTo>
                  <a:lnTo>
                    <a:pt x="1174369" y="412616"/>
                  </a:lnTo>
                  <a:lnTo>
                    <a:pt x="793492" y="31740"/>
                  </a:lnTo>
                  <a:close/>
                  <a:moveTo>
                    <a:pt x="518503" y="1085967"/>
                  </a:moveTo>
                  <a:cubicBezTo>
                    <a:pt x="551757" y="1039271"/>
                    <a:pt x="571314" y="982146"/>
                    <a:pt x="571314" y="920451"/>
                  </a:cubicBezTo>
                  <a:cubicBezTo>
                    <a:pt x="571314" y="762685"/>
                    <a:pt x="443421" y="634794"/>
                    <a:pt x="285657" y="634794"/>
                  </a:cubicBezTo>
                  <a:cubicBezTo>
                    <a:pt x="127893" y="634794"/>
                    <a:pt x="0" y="762685"/>
                    <a:pt x="0" y="920451"/>
                  </a:cubicBezTo>
                  <a:cubicBezTo>
                    <a:pt x="0" y="1078216"/>
                    <a:pt x="127893" y="1206108"/>
                    <a:pt x="285657" y="1206108"/>
                  </a:cubicBezTo>
                  <a:cubicBezTo>
                    <a:pt x="347351" y="1206108"/>
                    <a:pt x="404477" y="1186550"/>
                    <a:pt x="451173" y="1153299"/>
                  </a:cubicBezTo>
                  <a:lnTo>
                    <a:pt x="617001" y="1319120"/>
                  </a:lnTo>
                  <a:cubicBezTo>
                    <a:pt x="635594" y="1337713"/>
                    <a:pt x="665734" y="1337713"/>
                    <a:pt x="684327" y="1319120"/>
                  </a:cubicBezTo>
                  <a:cubicBezTo>
                    <a:pt x="702920" y="1300527"/>
                    <a:pt x="702920" y="1270387"/>
                    <a:pt x="684327" y="1251794"/>
                  </a:cubicBezTo>
                  <a:lnTo>
                    <a:pt x="518503" y="1085967"/>
                  </a:lnTo>
                  <a:close/>
                  <a:moveTo>
                    <a:pt x="476095" y="920451"/>
                  </a:moveTo>
                  <a:cubicBezTo>
                    <a:pt x="476095" y="1025630"/>
                    <a:pt x="390833" y="1110889"/>
                    <a:pt x="285657" y="1110889"/>
                  </a:cubicBezTo>
                  <a:cubicBezTo>
                    <a:pt x="180481" y="1110889"/>
                    <a:pt x="95219" y="1025630"/>
                    <a:pt x="95219" y="920451"/>
                  </a:cubicBezTo>
                  <a:cubicBezTo>
                    <a:pt x="95219" y="815272"/>
                    <a:pt x="180481" y="730013"/>
                    <a:pt x="285657" y="730013"/>
                  </a:cubicBezTo>
                  <a:cubicBezTo>
                    <a:pt x="390833" y="730013"/>
                    <a:pt x="476095" y="815272"/>
                    <a:pt x="476095" y="920451"/>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cxnSp>
        <p:nvCxnSpPr>
          <p:cNvPr id="185" name="Straight Connector 184">
            <a:extLst>
              <a:ext uri="{FF2B5EF4-FFF2-40B4-BE49-F238E27FC236}">
                <a16:creationId xmlns:a16="http://schemas.microsoft.com/office/drawing/2014/main" id="{7AED68DB-8A46-8AF9-3856-04B63EBB40E3}"/>
              </a:ext>
              <a:ext uri="{C183D7F6-B498-43B3-948B-1728B52AA6E4}">
                <adec:decorative xmlns:adec="http://schemas.microsoft.com/office/drawing/2017/decorative" val="1"/>
              </a:ext>
            </a:extLst>
          </p:cNvPr>
          <p:cNvCxnSpPr>
            <a:cxnSpLocks/>
          </p:cNvCxnSpPr>
          <p:nvPr/>
        </p:nvCxnSpPr>
        <p:spPr>
          <a:xfrm>
            <a:off x="5600397" y="2293020"/>
            <a:ext cx="0" cy="1385167"/>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0F9A68A-EB72-4696-3A0A-00C1EEC4938B}"/>
              </a:ext>
              <a:ext uri="{C183D7F6-B498-43B3-948B-1728B52AA6E4}">
                <adec:decorative xmlns:adec="http://schemas.microsoft.com/office/drawing/2017/decorative" val="1"/>
              </a:ext>
            </a:extLst>
          </p:cNvPr>
          <p:cNvCxnSpPr>
            <a:cxnSpLocks/>
          </p:cNvCxnSpPr>
          <p:nvPr/>
        </p:nvCxnSpPr>
        <p:spPr>
          <a:xfrm>
            <a:off x="8534701" y="2293020"/>
            <a:ext cx="0" cy="1385167"/>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15137DA2-E13F-4684-C44D-1EC4186217B2}"/>
              </a:ext>
              <a:ext uri="{C183D7F6-B498-43B3-948B-1728B52AA6E4}">
                <adec:decorative xmlns:adec="http://schemas.microsoft.com/office/drawing/2017/decorative" val="1"/>
              </a:ext>
            </a:extLst>
          </p:cNvPr>
          <p:cNvGrpSpPr/>
          <p:nvPr/>
        </p:nvGrpSpPr>
        <p:grpSpPr>
          <a:xfrm>
            <a:off x="2733675" y="4114248"/>
            <a:ext cx="514966" cy="514958"/>
            <a:chOff x="2831981" y="4114248"/>
            <a:chExt cx="514966" cy="514958"/>
          </a:xfrm>
        </p:grpSpPr>
        <p:sp>
          <p:nvSpPr>
            <p:cNvPr id="204" name="Oval 34_1">
              <a:extLst>
                <a:ext uri="{FF2B5EF4-FFF2-40B4-BE49-F238E27FC236}">
                  <a16:creationId xmlns:a16="http://schemas.microsoft.com/office/drawing/2014/main" id="{29BBFB42-05E9-6190-2FF8-2B352EF0BEB8}"/>
                </a:ext>
                <a:ext uri="{C183D7F6-B498-43B3-948B-1728B52AA6E4}">
                  <adec:decorative xmlns:adec="http://schemas.microsoft.com/office/drawing/2017/decorative" val="1"/>
                </a:ext>
              </a:extLst>
            </p:cNvPr>
            <p:cNvSpPr>
              <a:spLocks/>
            </p:cNvSpPr>
            <p:nvPr/>
          </p:nvSpPr>
          <p:spPr bwMode="auto">
            <a:xfrm>
              <a:off x="2831981" y="4114248"/>
              <a:ext cx="514966" cy="51495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222" name="Freeform: Shape 221" descr="Icon of money">
              <a:extLst>
                <a:ext uri="{FF2B5EF4-FFF2-40B4-BE49-F238E27FC236}">
                  <a16:creationId xmlns:a16="http://schemas.microsoft.com/office/drawing/2014/main" id="{478FAF2C-5B88-C959-99A2-50B2BA6D0A06}"/>
                </a:ext>
              </a:extLst>
            </p:cNvPr>
            <p:cNvSpPr>
              <a:spLocks/>
            </p:cNvSpPr>
            <p:nvPr/>
          </p:nvSpPr>
          <p:spPr>
            <a:xfrm>
              <a:off x="2956801" y="4272230"/>
              <a:ext cx="265326" cy="198994"/>
            </a:xfrm>
            <a:custGeom>
              <a:avLst/>
              <a:gdLst>
                <a:gd name="connsiteX0" fmla="*/ 1838127 w 2492376"/>
                <a:gd name="connsiteY0" fmla="*/ 934641 h 1869282"/>
                <a:gd name="connsiteX1" fmla="*/ 1557734 w 2492376"/>
                <a:gd name="connsiteY1" fmla="*/ 1215033 h 1869282"/>
                <a:gd name="connsiteX2" fmla="*/ 1557734 w 2492376"/>
                <a:gd name="connsiteY2" fmla="*/ 1339652 h 1869282"/>
                <a:gd name="connsiteX3" fmla="*/ 1744663 w 2492376"/>
                <a:gd name="connsiteY3" fmla="*/ 1339652 h 1869282"/>
                <a:gd name="connsiteX4" fmla="*/ 1744663 w 2492376"/>
                <a:gd name="connsiteY4" fmla="*/ 1215033 h 1869282"/>
                <a:gd name="connsiteX5" fmla="*/ 1838127 w 2492376"/>
                <a:gd name="connsiteY5" fmla="*/ 1121569 h 1869282"/>
                <a:gd name="connsiteX6" fmla="*/ 1962745 w 2492376"/>
                <a:gd name="connsiteY6" fmla="*/ 1121569 h 1869282"/>
                <a:gd name="connsiteX7" fmla="*/ 1962745 w 2492376"/>
                <a:gd name="connsiteY7" fmla="*/ 934641 h 1869282"/>
                <a:gd name="connsiteX8" fmla="*/ 155773 w 2492376"/>
                <a:gd name="connsiteY8" fmla="*/ 934641 h 1869282"/>
                <a:gd name="connsiteX9" fmla="*/ 155773 w 2492376"/>
                <a:gd name="connsiteY9" fmla="*/ 1121569 h 1869282"/>
                <a:gd name="connsiteX10" fmla="*/ 280392 w 2492376"/>
                <a:gd name="connsiteY10" fmla="*/ 1121569 h 1869282"/>
                <a:gd name="connsiteX11" fmla="*/ 373856 w 2492376"/>
                <a:gd name="connsiteY11" fmla="*/ 1215033 h 1869282"/>
                <a:gd name="connsiteX12" fmla="*/ 373856 w 2492376"/>
                <a:gd name="connsiteY12" fmla="*/ 1339652 h 1869282"/>
                <a:gd name="connsiteX13" fmla="*/ 560784 w 2492376"/>
                <a:gd name="connsiteY13" fmla="*/ 1339652 h 1869282"/>
                <a:gd name="connsiteX14" fmla="*/ 560784 w 2492376"/>
                <a:gd name="connsiteY14" fmla="*/ 1215033 h 1869282"/>
                <a:gd name="connsiteX15" fmla="*/ 280392 w 2492376"/>
                <a:gd name="connsiteY15" fmla="*/ 934641 h 1869282"/>
                <a:gd name="connsiteX16" fmla="*/ 1059259 w 2492376"/>
                <a:gd name="connsiteY16" fmla="*/ 498475 h 1869282"/>
                <a:gd name="connsiteX17" fmla="*/ 778867 w 2492376"/>
                <a:gd name="connsiteY17" fmla="*/ 778867 h 1869282"/>
                <a:gd name="connsiteX18" fmla="*/ 1059259 w 2492376"/>
                <a:gd name="connsiteY18" fmla="*/ 1059259 h 1869282"/>
                <a:gd name="connsiteX19" fmla="*/ 1339652 w 2492376"/>
                <a:gd name="connsiteY19" fmla="*/ 778867 h 1869282"/>
                <a:gd name="connsiteX20" fmla="*/ 1059259 w 2492376"/>
                <a:gd name="connsiteY20" fmla="*/ 498475 h 1869282"/>
                <a:gd name="connsiteX21" fmla="*/ 2305447 w 2492376"/>
                <a:gd name="connsiteY21" fmla="*/ 299210 h 1869282"/>
                <a:gd name="connsiteX22" fmla="*/ 2492376 w 2492376"/>
                <a:gd name="connsiteY22" fmla="*/ 623094 h 1869282"/>
                <a:gd name="connsiteX23" fmla="*/ 2492376 w 2492376"/>
                <a:gd name="connsiteY23" fmla="*/ 1277343 h 1869282"/>
                <a:gd name="connsiteX24" fmla="*/ 1900436 w 2492376"/>
                <a:gd name="connsiteY24" fmla="*/ 1869282 h 1869282"/>
                <a:gd name="connsiteX25" fmla="*/ 623094 w 2492376"/>
                <a:gd name="connsiteY25" fmla="*/ 1869282 h 1869282"/>
                <a:gd name="connsiteX26" fmla="*/ 299210 w 2492376"/>
                <a:gd name="connsiteY26" fmla="*/ 1682354 h 1869282"/>
                <a:gd name="connsiteX27" fmla="*/ 1900436 w 2492376"/>
                <a:gd name="connsiteY27" fmla="*/ 1682354 h 1869282"/>
                <a:gd name="connsiteX28" fmla="*/ 2305447 w 2492376"/>
                <a:gd name="connsiteY28" fmla="*/ 1277343 h 1869282"/>
                <a:gd name="connsiteX29" fmla="*/ 1557734 w 2492376"/>
                <a:gd name="connsiteY29" fmla="*/ 155773 h 1869282"/>
                <a:gd name="connsiteX30" fmla="*/ 1557734 w 2492376"/>
                <a:gd name="connsiteY30" fmla="*/ 280392 h 1869282"/>
                <a:gd name="connsiteX31" fmla="*/ 1838127 w 2492376"/>
                <a:gd name="connsiteY31" fmla="*/ 560784 h 1869282"/>
                <a:gd name="connsiteX32" fmla="*/ 1962745 w 2492376"/>
                <a:gd name="connsiteY32" fmla="*/ 560784 h 1869282"/>
                <a:gd name="connsiteX33" fmla="*/ 1962745 w 2492376"/>
                <a:gd name="connsiteY33" fmla="*/ 373856 h 1869282"/>
                <a:gd name="connsiteX34" fmla="*/ 1838127 w 2492376"/>
                <a:gd name="connsiteY34" fmla="*/ 373856 h 1869282"/>
                <a:gd name="connsiteX35" fmla="*/ 1744663 w 2492376"/>
                <a:gd name="connsiteY35" fmla="*/ 280392 h 1869282"/>
                <a:gd name="connsiteX36" fmla="*/ 1744663 w 2492376"/>
                <a:gd name="connsiteY36" fmla="*/ 155773 h 1869282"/>
                <a:gd name="connsiteX37" fmla="*/ 373856 w 2492376"/>
                <a:gd name="connsiteY37" fmla="*/ 155773 h 1869282"/>
                <a:gd name="connsiteX38" fmla="*/ 373856 w 2492376"/>
                <a:gd name="connsiteY38" fmla="*/ 280392 h 1869282"/>
                <a:gd name="connsiteX39" fmla="*/ 280392 w 2492376"/>
                <a:gd name="connsiteY39" fmla="*/ 373856 h 1869282"/>
                <a:gd name="connsiteX40" fmla="*/ 155773 w 2492376"/>
                <a:gd name="connsiteY40" fmla="*/ 373856 h 1869282"/>
                <a:gd name="connsiteX41" fmla="*/ 155773 w 2492376"/>
                <a:gd name="connsiteY41" fmla="*/ 560784 h 1869282"/>
                <a:gd name="connsiteX42" fmla="*/ 280392 w 2492376"/>
                <a:gd name="connsiteY42" fmla="*/ 560784 h 1869282"/>
                <a:gd name="connsiteX43" fmla="*/ 560784 w 2492376"/>
                <a:gd name="connsiteY43" fmla="*/ 280392 h 1869282"/>
                <a:gd name="connsiteX44" fmla="*/ 560784 w 2492376"/>
                <a:gd name="connsiteY44" fmla="*/ 155773 h 1869282"/>
                <a:gd name="connsiteX45" fmla="*/ 218083 w 2492376"/>
                <a:gd name="connsiteY45" fmla="*/ 0 h 1869282"/>
                <a:gd name="connsiteX46" fmla="*/ 1900436 w 2492376"/>
                <a:gd name="connsiteY46" fmla="*/ 0 h 1869282"/>
                <a:gd name="connsiteX47" fmla="*/ 2118519 w 2492376"/>
                <a:gd name="connsiteY47" fmla="*/ 218083 h 1869282"/>
                <a:gd name="connsiteX48" fmla="*/ 2118519 w 2492376"/>
                <a:gd name="connsiteY48" fmla="*/ 1277342 h 1869282"/>
                <a:gd name="connsiteX49" fmla="*/ 1900436 w 2492376"/>
                <a:gd name="connsiteY49" fmla="*/ 1495425 h 1869282"/>
                <a:gd name="connsiteX50" fmla="*/ 218083 w 2492376"/>
                <a:gd name="connsiteY50" fmla="*/ 1495425 h 1869282"/>
                <a:gd name="connsiteX51" fmla="*/ 0 w 2492376"/>
                <a:gd name="connsiteY51" fmla="*/ 1277342 h 1869282"/>
                <a:gd name="connsiteX52" fmla="*/ 0 w 2492376"/>
                <a:gd name="connsiteY52" fmla="*/ 218083 h 1869282"/>
                <a:gd name="connsiteX53" fmla="*/ 218083 w 2492376"/>
                <a:gd name="connsiteY53" fmla="*/ 0 h 186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492376" h="1869282">
                  <a:moveTo>
                    <a:pt x="1838127" y="934641"/>
                  </a:moveTo>
                  <a:cubicBezTo>
                    <a:pt x="1683275" y="934641"/>
                    <a:pt x="1557734" y="1060182"/>
                    <a:pt x="1557734" y="1215033"/>
                  </a:cubicBezTo>
                  <a:lnTo>
                    <a:pt x="1557734" y="1339652"/>
                  </a:lnTo>
                  <a:lnTo>
                    <a:pt x="1744663" y="1339652"/>
                  </a:lnTo>
                  <a:lnTo>
                    <a:pt x="1744663" y="1215033"/>
                  </a:lnTo>
                  <a:cubicBezTo>
                    <a:pt x="1744663" y="1163416"/>
                    <a:pt x="1786510" y="1121569"/>
                    <a:pt x="1838127" y="1121569"/>
                  </a:cubicBezTo>
                  <a:lnTo>
                    <a:pt x="1962745" y="1121569"/>
                  </a:lnTo>
                  <a:lnTo>
                    <a:pt x="1962745" y="934641"/>
                  </a:lnTo>
                  <a:close/>
                  <a:moveTo>
                    <a:pt x="155773" y="934641"/>
                  </a:moveTo>
                  <a:lnTo>
                    <a:pt x="155773" y="1121569"/>
                  </a:lnTo>
                  <a:lnTo>
                    <a:pt x="280392" y="1121569"/>
                  </a:lnTo>
                  <a:cubicBezTo>
                    <a:pt x="332011" y="1121569"/>
                    <a:pt x="373856" y="1163416"/>
                    <a:pt x="373856" y="1215033"/>
                  </a:cubicBezTo>
                  <a:lnTo>
                    <a:pt x="373856" y="1339652"/>
                  </a:lnTo>
                  <a:lnTo>
                    <a:pt x="560784" y="1339652"/>
                  </a:lnTo>
                  <a:lnTo>
                    <a:pt x="560784" y="1215033"/>
                  </a:lnTo>
                  <a:cubicBezTo>
                    <a:pt x="560784" y="1060182"/>
                    <a:pt x="435248" y="934641"/>
                    <a:pt x="280392" y="934641"/>
                  </a:cubicBezTo>
                  <a:close/>
                  <a:moveTo>
                    <a:pt x="1059259" y="498475"/>
                  </a:moveTo>
                  <a:cubicBezTo>
                    <a:pt x="904403" y="498475"/>
                    <a:pt x="778867" y="624016"/>
                    <a:pt x="778867" y="778867"/>
                  </a:cubicBezTo>
                  <a:cubicBezTo>
                    <a:pt x="778867" y="933719"/>
                    <a:pt x="904403" y="1059259"/>
                    <a:pt x="1059259" y="1059259"/>
                  </a:cubicBezTo>
                  <a:cubicBezTo>
                    <a:pt x="1214111" y="1059259"/>
                    <a:pt x="1339652" y="933719"/>
                    <a:pt x="1339652" y="778867"/>
                  </a:cubicBezTo>
                  <a:cubicBezTo>
                    <a:pt x="1339652" y="624016"/>
                    <a:pt x="1214111" y="498475"/>
                    <a:pt x="1059259" y="498475"/>
                  </a:cubicBezTo>
                  <a:close/>
                  <a:moveTo>
                    <a:pt x="2305447" y="299210"/>
                  </a:moveTo>
                  <a:cubicBezTo>
                    <a:pt x="2417230" y="363887"/>
                    <a:pt x="2492376" y="484767"/>
                    <a:pt x="2492376" y="623094"/>
                  </a:cubicBezTo>
                  <a:lnTo>
                    <a:pt x="2492376" y="1277343"/>
                  </a:lnTo>
                  <a:cubicBezTo>
                    <a:pt x="2492376" y="1604267"/>
                    <a:pt x="2227361" y="1869282"/>
                    <a:pt x="1900436" y="1869282"/>
                  </a:cubicBezTo>
                  <a:lnTo>
                    <a:pt x="623094" y="1869282"/>
                  </a:lnTo>
                  <a:cubicBezTo>
                    <a:pt x="489480" y="1869344"/>
                    <a:pt x="365994" y="1798075"/>
                    <a:pt x="299210" y="1682354"/>
                  </a:cubicBezTo>
                  <a:lnTo>
                    <a:pt x="1900436" y="1682354"/>
                  </a:lnTo>
                  <a:cubicBezTo>
                    <a:pt x="2124115" y="1682354"/>
                    <a:pt x="2305447" y="1501021"/>
                    <a:pt x="2305447" y="1277343"/>
                  </a:cubicBezTo>
                  <a:close/>
                  <a:moveTo>
                    <a:pt x="1557734" y="155773"/>
                  </a:moveTo>
                  <a:lnTo>
                    <a:pt x="1557734" y="280392"/>
                  </a:lnTo>
                  <a:cubicBezTo>
                    <a:pt x="1557734" y="435248"/>
                    <a:pt x="1683275" y="560784"/>
                    <a:pt x="1838127" y="560784"/>
                  </a:cubicBezTo>
                  <a:lnTo>
                    <a:pt x="1962745" y="560784"/>
                  </a:lnTo>
                  <a:lnTo>
                    <a:pt x="1962745" y="373856"/>
                  </a:lnTo>
                  <a:lnTo>
                    <a:pt x="1838127" y="373856"/>
                  </a:lnTo>
                  <a:cubicBezTo>
                    <a:pt x="1786510" y="373856"/>
                    <a:pt x="1744663" y="332011"/>
                    <a:pt x="1744663" y="280392"/>
                  </a:cubicBezTo>
                  <a:lnTo>
                    <a:pt x="1744663" y="155773"/>
                  </a:lnTo>
                  <a:close/>
                  <a:moveTo>
                    <a:pt x="373856" y="155773"/>
                  </a:moveTo>
                  <a:lnTo>
                    <a:pt x="373856" y="280392"/>
                  </a:lnTo>
                  <a:cubicBezTo>
                    <a:pt x="373856" y="332011"/>
                    <a:pt x="332011" y="373856"/>
                    <a:pt x="280392" y="373856"/>
                  </a:cubicBezTo>
                  <a:lnTo>
                    <a:pt x="155773" y="373856"/>
                  </a:lnTo>
                  <a:lnTo>
                    <a:pt x="155773" y="560784"/>
                  </a:lnTo>
                  <a:lnTo>
                    <a:pt x="280392" y="560784"/>
                  </a:lnTo>
                  <a:cubicBezTo>
                    <a:pt x="435248" y="560784"/>
                    <a:pt x="560784" y="435248"/>
                    <a:pt x="560784" y="280392"/>
                  </a:cubicBezTo>
                  <a:lnTo>
                    <a:pt x="560784" y="155773"/>
                  </a:lnTo>
                  <a:close/>
                  <a:moveTo>
                    <a:pt x="218083" y="0"/>
                  </a:moveTo>
                  <a:lnTo>
                    <a:pt x="1900436" y="0"/>
                  </a:lnTo>
                  <a:cubicBezTo>
                    <a:pt x="2020818" y="0"/>
                    <a:pt x="2118519" y="97701"/>
                    <a:pt x="2118519" y="218083"/>
                  </a:cubicBezTo>
                  <a:lnTo>
                    <a:pt x="2118519" y="1277342"/>
                  </a:lnTo>
                  <a:cubicBezTo>
                    <a:pt x="2118519" y="1397786"/>
                    <a:pt x="2020880" y="1495425"/>
                    <a:pt x="1900436" y="1495425"/>
                  </a:cubicBezTo>
                  <a:lnTo>
                    <a:pt x="218083" y="1495425"/>
                  </a:lnTo>
                  <a:cubicBezTo>
                    <a:pt x="97639" y="1495425"/>
                    <a:pt x="0" y="1397786"/>
                    <a:pt x="0" y="1277342"/>
                  </a:cubicBezTo>
                  <a:lnTo>
                    <a:pt x="0" y="218083"/>
                  </a:lnTo>
                  <a:cubicBezTo>
                    <a:pt x="0" y="97701"/>
                    <a:pt x="97701" y="0"/>
                    <a:pt x="218083" y="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nvGrpSpPr>
          <p:cNvPr id="226" name="Group 225">
            <a:extLst>
              <a:ext uri="{FF2B5EF4-FFF2-40B4-BE49-F238E27FC236}">
                <a16:creationId xmlns:a16="http://schemas.microsoft.com/office/drawing/2014/main" id="{4798F6AD-0BC6-CAC8-BCAA-C74B951140FB}"/>
              </a:ext>
              <a:ext uri="{C183D7F6-B498-43B3-948B-1728B52AA6E4}">
                <adec:decorative xmlns:adec="http://schemas.microsoft.com/office/drawing/2017/decorative" val="1"/>
              </a:ext>
            </a:extLst>
          </p:cNvPr>
          <p:cNvGrpSpPr/>
          <p:nvPr/>
        </p:nvGrpSpPr>
        <p:grpSpPr>
          <a:xfrm>
            <a:off x="7169719" y="4114248"/>
            <a:ext cx="514966" cy="514958"/>
            <a:chOff x="7154342" y="4114248"/>
            <a:chExt cx="514966" cy="514958"/>
          </a:xfrm>
        </p:grpSpPr>
        <p:sp>
          <p:nvSpPr>
            <p:cNvPr id="200" name="Oval 34_1">
              <a:extLst>
                <a:ext uri="{FF2B5EF4-FFF2-40B4-BE49-F238E27FC236}">
                  <a16:creationId xmlns:a16="http://schemas.microsoft.com/office/drawing/2014/main" id="{0DE00652-00F2-ABAA-614B-B77399AF3678}"/>
                </a:ext>
                <a:ext uri="{C183D7F6-B498-43B3-948B-1728B52AA6E4}">
                  <adec:decorative xmlns:adec="http://schemas.microsoft.com/office/drawing/2017/decorative" val="1"/>
                </a:ext>
              </a:extLst>
            </p:cNvPr>
            <p:cNvSpPr>
              <a:spLocks/>
            </p:cNvSpPr>
            <p:nvPr/>
          </p:nvSpPr>
          <p:spPr bwMode="auto">
            <a:xfrm>
              <a:off x="7154342" y="4114248"/>
              <a:ext cx="514966" cy="51495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8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223" name="Graphic 33" descr="Icon of four diagonal arrows pointing away from each other">
              <a:extLst>
                <a:ext uri="{FF2B5EF4-FFF2-40B4-BE49-F238E27FC236}">
                  <a16:creationId xmlns:a16="http://schemas.microsoft.com/office/drawing/2014/main" id="{3D3C455F-D001-B8F6-4274-27C199ED928B}"/>
                </a:ext>
              </a:extLst>
            </p:cNvPr>
            <p:cNvSpPr>
              <a:spLocks/>
            </p:cNvSpPr>
            <p:nvPr/>
          </p:nvSpPr>
          <p:spPr>
            <a:xfrm>
              <a:off x="7302532" y="4262438"/>
              <a:ext cx="218586" cy="218578"/>
            </a:xfrm>
            <a:custGeom>
              <a:avLst/>
              <a:gdLst>
                <a:gd name="connsiteX0" fmla="*/ 44472 w 171497"/>
                <a:gd name="connsiteY0" fmla="*/ 113567 h 171488"/>
                <a:gd name="connsiteX1" fmla="*/ 57941 w 171497"/>
                <a:gd name="connsiteY1" fmla="*/ 113801 h 171488"/>
                <a:gd name="connsiteX2" fmla="*/ 57941 w 171497"/>
                <a:gd name="connsiteY2" fmla="*/ 127035 h 171488"/>
                <a:gd name="connsiteX3" fmla="*/ 32528 w 171497"/>
                <a:gd name="connsiteY3" fmla="*/ 152438 h 171488"/>
                <a:gd name="connsiteX4" fmla="*/ 47625 w 171497"/>
                <a:gd name="connsiteY4" fmla="*/ 152438 h 171488"/>
                <a:gd name="connsiteX5" fmla="*/ 57083 w 171497"/>
                <a:gd name="connsiteY5" fmla="*/ 160858 h 171488"/>
                <a:gd name="connsiteX6" fmla="*/ 57150 w 171497"/>
                <a:gd name="connsiteY6" fmla="*/ 161963 h 171488"/>
                <a:gd name="connsiteX7" fmla="*/ 47625 w 171497"/>
                <a:gd name="connsiteY7" fmla="*/ 171488 h 171488"/>
                <a:gd name="connsiteX8" fmla="*/ 9525 w 171497"/>
                <a:gd name="connsiteY8" fmla="*/ 171488 h 171488"/>
                <a:gd name="connsiteX9" fmla="*/ 0 w 171497"/>
                <a:gd name="connsiteY9" fmla="*/ 161963 h 171488"/>
                <a:gd name="connsiteX10" fmla="*/ 0 w 171497"/>
                <a:gd name="connsiteY10" fmla="*/ 123863 h 171488"/>
                <a:gd name="connsiteX11" fmla="*/ 9525 w 171497"/>
                <a:gd name="connsiteY11" fmla="*/ 114338 h 171488"/>
                <a:gd name="connsiteX12" fmla="*/ 19050 w 171497"/>
                <a:gd name="connsiteY12" fmla="*/ 123863 h 171488"/>
                <a:gd name="connsiteX13" fmla="*/ 19050 w 171497"/>
                <a:gd name="connsiteY13" fmla="*/ 138979 h 171488"/>
                <a:gd name="connsiteX14" fmla="*/ 44472 w 171497"/>
                <a:gd name="connsiteY14" fmla="*/ 113567 h 171488"/>
                <a:gd name="connsiteX15" fmla="*/ 123873 w 171497"/>
                <a:gd name="connsiteY15" fmla="*/ 171488 h 171488"/>
                <a:gd name="connsiteX16" fmla="*/ 114348 w 171497"/>
                <a:gd name="connsiteY16" fmla="*/ 161963 h 171488"/>
                <a:gd name="connsiteX17" fmla="*/ 123873 w 171497"/>
                <a:gd name="connsiteY17" fmla="*/ 152438 h 171488"/>
                <a:gd name="connsiteX18" fmla="*/ 138951 w 171497"/>
                <a:gd name="connsiteY18" fmla="*/ 152438 h 171488"/>
                <a:gd name="connsiteX19" fmla="*/ 113567 w 171497"/>
                <a:gd name="connsiteY19" fmla="*/ 127035 h 171488"/>
                <a:gd name="connsiteX20" fmla="*/ 112776 w 171497"/>
                <a:gd name="connsiteY20" fmla="*/ 114462 h 171488"/>
                <a:gd name="connsiteX21" fmla="*/ 113567 w 171497"/>
                <a:gd name="connsiteY21" fmla="*/ 113567 h 171488"/>
                <a:gd name="connsiteX22" fmla="*/ 127035 w 171497"/>
                <a:gd name="connsiteY22" fmla="*/ 113567 h 171488"/>
                <a:gd name="connsiteX23" fmla="*/ 152448 w 171497"/>
                <a:gd name="connsiteY23" fmla="*/ 138998 h 171488"/>
                <a:gd name="connsiteX24" fmla="*/ 152448 w 171497"/>
                <a:gd name="connsiteY24" fmla="*/ 123863 h 171488"/>
                <a:gd name="connsiteX25" fmla="*/ 160858 w 171497"/>
                <a:gd name="connsiteY25" fmla="*/ 114405 h 171488"/>
                <a:gd name="connsiteX26" fmla="*/ 161973 w 171497"/>
                <a:gd name="connsiteY26" fmla="*/ 114338 h 171488"/>
                <a:gd name="connsiteX27" fmla="*/ 171498 w 171497"/>
                <a:gd name="connsiteY27" fmla="*/ 123863 h 171488"/>
                <a:gd name="connsiteX28" fmla="*/ 171498 w 171497"/>
                <a:gd name="connsiteY28" fmla="*/ 161963 h 171488"/>
                <a:gd name="connsiteX29" fmla="*/ 161973 w 171497"/>
                <a:gd name="connsiteY29" fmla="*/ 171488 h 171488"/>
                <a:gd name="connsiteX30" fmla="*/ 123873 w 171497"/>
                <a:gd name="connsiteY30" fmla="*/ 171488 h 171488"/>
                <a:gd name="connsiteX31" fmla="*/ 47625 w 171497"/>
                <a:gd name="connsiteY31" fmla="*/ 0 h 171488"/>
                <a:gd name="connsiteX32" fmla="*/ 57150 w 171497"/>
                <a:gd name="connsiteY32" fmla="*/ 9525 h 171488"/>
                <a:gd name="connsiteX33" fmla="*/ 47625 w 171497"/>
                <a:gd name="connsiteY33" fmla="*/ 19050 h 171488"/>
                <a:gd name="connsiteX34" fmla="*/ 32547 w 171497"/>
                <a:gd name="connsiteY34" fmla="*/ 19050 h 171488"/>
                <a:gd name="connsiteX35" fmla="*/ 57931 w 171497"/>
                <a:gd name="connsiteY35" fmla="*/ 44463 h 171488"/>
                <a:gd name="connsiteX36" fmla="*/ 58722 w 171497"/>
                <a:gd name="connsiteY36" fmla="*/ 57036 h 171488"/>
                <a:gd name="connsiteX37" fmla="*/ 57931 w 171497"/>
                <a:gd name="connsiteY37" fmla="*/ 57931 h 171488"/>
                <a:gd name="connsiteX38" fmla="*/ 44463 w 171497"/>
                <a:gd name="connsiteY38" fmla="*/ 57931 h 171488"/>
                <a:gd name="connsiteX39" fmla="*/ 19050 w 171497"/>
                <a:gd name="connsiteY39" fmla="*/ 32499 h 171488"/>
                <a:gd name="connsiteX40" fmla="*/ 19050 w 171497"/>
                <a:gd name="connsiteY40" fmla="*/ 47625 h 171488"/>
                <a:gd name="connsiteX41" fmla="*/ 10639 w 171497"/>
                <a:gd name="connsiteY41" fmla="*/ 57083 h 171488"/>
                <a:gd name="connsiteX42" fmla="*/ 9525 w 171497"/>
                <a:gd name="connsiteY42" fmla="*/ 57150 h 171488"/>
                <a:gd name="connsiteX43" fmla="*/ 0 w 171497"/>
                <a:gd name="connsiteY43" fmla="*/ 47625 h 171488"/>
                <a:gd name="connsiteX44" fmla="*/ 0 w 171497"/>
                <a:gd name="connsiteY44" fmla="*/ 9525 h 171488"/>
                <a:gd name="connsiteX45" fmla="*/ 9525 w 171497"/>
                <a:gd name="connsiteY45" fmla="*/ 0 h 171488"/>
                <a:gd name="connsiteX46" fmla="*/ 47625 w 171497"/>
                <a:gd name="connsiteY46" fmla="*/ 0 h 171488"/>
                <a:gd name="connsiteX47" fmla="*/ 161973 w 171497"/>
                <a:gd name="connsiteY47" fmla="*/ 0 h 171488"/>
                <a:gd name="connsiteX48" fmla="*/ 171498 w 171497"/>
                <a:gd name="connsiteY48" fmla="*/ 9525 h 171488"/>
                <a:gd name="connsiteX49" fmla="*/ 171498 w 171497"/>
                <a:gd name="connsiteY49" fmla="*/ 47625 h 171488"/>
                <a:gd name="connsiteX50" fmla="*/ 161973 w 171497"/>
                <a:gd name="connsiteY50" fmla="*/ 57150 h 171488"/>
                <a:gd name="connsiteX51" fmla="*/ 152448 w 171497"/>
                <a:gd name="connsiteY51" fmla="*/ 47625 h 171488"/>
                <a:gd name="connsiteX52" fmla="*/ 152448 w 171497"/>
                <a:gd name="connsiteY52" fmla="*/ 32499 h 171488"/>
                <a:gd name="connsiteX53" fmla="*/ 127035 w 171497"/>
                <a:gd name="connsiteY53" fmla="*/ 57931 h 171488"/>
                <a:gd name="connsiteX54" fmla="*/ 114462 w 171497"/>
                <a:gd name="connsiteY54" fmla="*/ 58722 h 171488"/>
                <a:gd name="connsiteX55" fmla="*/ 113567 w 171497"/>
                <a:gd name="connsiteY55" fmla="*/ 57931 h 171488"/>
                <a:gd name="connsiteX56" fmla="*/ 113567 w 171497"/>
                <a:gd name="connsiteY56" fmla="*/ 44463 h 171488"/>
                <a:gd name="connsiteX57" fmla="*/ 138960 w 171497"/>
                <a:gd name="connsiteY57" fmla="*/ 19050 h 171488"/>
                <a:gd name="connsiteX58" fmla="*/ 123873 w 171497"/>
                <a:gd name="connsiteY58" fmla="*/ 19050 h 171488"/>
                <a:gd name="connsiteX59" fmla="*/ 114414 w 171497"/>
                <a:gd name="connsiteY59" fmla="*/ 10639 h 171488"/>
                <a:gd name="connsiteX60" fmla="*/ 114348 w 171497"/>
                <a:gd name="connsiteY60" fmla="*/ 9525 h 171488"/>
                <a:gd name="connsiteX61" fmla="*/ 123873 w 171497"/>
                <a:gd name="connsiteY61" fmla="*/ 0 h 171488"/>
                <a:gd name="connsiteX62" fmla="*/ 161973 w 171497"/>
                <a:gd name="connsiteY62" fmla="*/ 0 h 17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71497" h="171488">
                  <a:moveTo>
                    <a:pt x="44472" y="113567"/>
                  </a:moveTo>
                  <a:cubicBezTo>
                    <a:pt x="48256" y="109912"/>
                    <a:pt x="54286" y="110017"/>
                    <a:pt x="57941" y="113801"/>
                  </a:cubicBezTo>
                  <a:cubicBezTo>
                    <a:pt x="61506" y="117492"/>
                    <a:pt x="61506" y="123344"/>
                    <a:pt x="57941" y="127035"/>
                  </a:cubicBezTo>
                  <a:lnTo>
                    <a:pt x="32528" y="152438"/>
                  </a:lnTo>
                  <a:lnTo>
                    <a:pt x="47625" y="152438"/>
                  </a:lnTo>
                  <a:cubicBezTo>
                    <a:pt x="52457" y="152439"/>
                    <a:pt x="56523" y="156059"/>
                    <a:pt x="57083" y="160858"/>
                  </a:cubicBezTo>
                  <a:lnTo>
                    <a:pt x="57150" y="161963"/>
                  </a:lnTo>
                  <a:cubicBezTo>
                    <a:pt x="57150" y="167224"/>
                    <a:pt x="52886" y="171488"/>
                    <a:pt x="47625" y="171488"/>
                  </a:cubicBezTo>
                  <a:lnTo>
                    <a:pt x="9525" y="171488"/>
                  </a:lnTo>
                  <a:cubicBezTo>
                    <a:pt x="4265" y="171488"/>
                    <a:pt x="0" y="167224"/>
                    <a:pt x="0" y="161963"/>
                  </a:cubicBezTo>
                  <a:lnTo>
                    <a:pt x="0" y="123863"/>
                  </a:lnTo>
                  <a:cubicBezTo>
                    <a:pt x="0" y="118602"/>
                    <a:pt x="4265" y="114338"/>
                    <a:pt x="9525" y="114338"/>
                  </a:cubicBezTo>
                  <a:cubicBezTo>
                    <a:pt x="14785" y="114338"/>
                    <a:pt x="19050" y="118602"/>
                    <a:pt x="19050" y="123863"/>
                  </a:cubicBezTo>
                  <a:lnTo>
                    <a:pt x="19050" y="138979"/>
                  </a:lnTo>
                  <a:lnTo>
                    <a:pt x="44472" y="113567"/>
                  </a:lnTo>
                  <a:close/>
                  <a:moveTo>
                    <a:pt x="123873" y="171488"/>
                  </a:moveTo>
                  <a:cubicBezTo>
                    <a:pt x="118612" y="171488"/>
                    <a:pt x="114348" y="167224"/>
                    <a:pt x="114348" y="161963"/>
                  </a:cubicBezTo>
                  <a:cubicBezTo>
                    <a:pt x="114348" y="156702"/>
                    <a:pt x="118612" y="152438"/>
                    <a:pt x="123873" y="152438"/>
                  </a:cubicBezTo>
                  <a:lnTo>
                    <a:pt x="138951" y="152438"/>
                  </a:lnTo>
                  <a:lnTo>
                    <a:pt x="113567" y="127035"/>
                  </a:lnTo>
                  <a:cubicBezTo>
                    <a:pt x="110174" y="123641"/>
                    <a:pt x="109835" y="118254"/>
                    <a:pt x="112776" y="114462"/>
                  </a:cubicBezTo>
                  <a:lnTo>
                    <a:pt x="113567" y="113567"/>
                  </a:lnTo>
                  <a:cubicBezTo>
                    <a:pt x="117286" y="109848"/>
                    <a:pt x="123315" y="109848"/>
                    <a:pt x="127035" y="113567"/>
                  </a:cubicBezTo>
                  <a:lnTo>
                    <a:pt x="152448" y="138998"/>
                  </a:lnTo>
                  <a:lnTo>
                    <a:pt x="152448" y="123863"/>
                  </a:lnTo>
                  <a:cubicBezTo>
                    <a:pt x="152449" y="119034"/>
                    <a:pt x="156062" y="114970"/>
                    <a:pt x="160858" y="114405"/>
                  </a:cubicBezTo>
                  <a:lnTo>
                    <a:pt x="161973" y="114338"/>
                  </a:lnTo>
                  <a:cubicBezTo>
                    <a:pt x="167233" y="114338"/>
                    <a:pt x="171498" y="118602"/>
                    <a:pt x="171498" y="123863"/>
                  </a:cubicBezTo>
                  <a:lnTo>
                    <a:pt x="171498" y="161963"/>
                  </a:lnTo>
                  <a:cubicBezTo>
                    <a:pt x="171498" y="167224"/>
                    <a:pt x="167233" y="171488"/>
                    <a:pt x="161973" y="171488"/>
                  </a:cubicBezTo>
                  <a:lnTo>
                    <a:pt x="123873" y="171488"/>
                  </a:lnTo>
                  <a:close/>
                  <a:moveTo>
                    <a:pt x="47625" y="0"/>
                  </a:moveTo>
                  <a:cubicBezTo>
                    <a:pt x="52886" y="0"/>
                    <a:pt x="57150" y="4265"/>
                    <a:pt x="57150" y="9525"/>
                  </a:cubicBezTo>
                  <a:cubicBezTo>
                    <a:pt x="57150" y="14785"/>
                    <a:pt x="52886" y="19050"/>
                    <a:pt x="47625" y="19050"/>
                  </a:cubicBezTo>
                  <a:lnTo>
                    <a:pt x="32547" y="19050"/>
                  </a:lnTo>
                  <a:lnTo>
                    <a:pt x="57931" y="44463"/>
                  </a:lnTo>
                  <a:cubicBezTo>
                    <a:pt x="61324" y="47856"/>
                    <a:pt x="61663" y="53244"/>
                    <a:pt x="58722" y="57036"/>
                  </a:cubicBezTo>
                  <a:lnTo>
                    <a:pt x="57931" y="57931"/>
                  </a:lnTo>
                  <a:cubicBezTo>
                    <a:pt x="54212" y="61649"/>
                    <a:pt x="48182" y="61649"/>
                    <a:pt x="44463" y="57931"/>
                  </a:cubicBezTo>
                  <a:lnTo>
                    <a:pt x="19050" y="32499"/>
                  </a:lnTo>
                  <a:lnTo>
                    <a:pt x="19050" y="47625"/>
                  </a:lnTo>
                  <a:cubicBezTo>
                    <a:pt x="19049" y="52454"/>
                    <a:pt x="15435" y="56518"/>
                    <a:pt x="10639" y="57083"/>
                  </a:cubicBezTo>
                  <a:lnTo>
                    <a:pt x="9525" y="57150"/>
                  </a:lnTo>
                  <a:cubicBezTo>
                    <a:pt x="4265" y="57150"/>
                    <a:pt x="0" y="52886"/>
                    <a:pt x="0" y="47625"/>
                  </a:cubicBezTo>
                  <a:lnTo>
                    <a:pt x="0" y="9525"/>
                  </a:lnTo>
                  <a:cubicBezTo>
                    <a:pt x="0" y="4265"/>
                    <a:pt x="4265" y="0"/>
                    <a:pt x="9525" y="0"/>
                  </a:cubicBezTo>
                  <a:lnTo>
                    <a:pt x="47625" y="0"/>
                  </a:lnTo>
                  <a:close/>
                  <a:moveTo>
                    <a:pt x="161973" y="0"/>
                  </a:moveTo>
                  <a:cubicBezTo>
                    <a:pt x="167233" y="0"/>
                    <a:pt x="171498" y="4265"/>
                    <a:pt x="171498" y="9525"/>
                  </a:cubicBezTo>
                  <a:lnTo>
                    <a:pt x="171498" y="47625"/>
                  </a:lnTo>
                  <a:cubicBezTo>
                    <a:pt x="171498" y="52886"/>
                    <a:pt x="167233" y="57150"/>
                    <a:pt x="161973" y="57150"/>
                  </a:cubicBezTo>
                  <a:cubicBezTo>
                    <a:pt x="156712" y="57150"/>
                    <a:pt x="152448" y="52886"/>
                    <a:pt x="152448" y="47625"/>
                  </a:cubicBezTo>
                  <a:lnTo>
                    <a:pt x="152448" y="32499"/>
                  </a:lnTo>
                  <a:lnTo>
                    <a:pt x="127035" y="57931"/>
                  </a:lnTo>
                  <a:cubicBezTo>
                    <a:pt x="123641" y="61324"/>
                    <a:pt x="118254" y="61663"/>
                    <a:pt x="114462" y="58722"/>
                  </a:cubicBezTo>
                  <a:lnTo>
                    <a:pt x="113567" y="57931"/>
                  </a:lnTo>
                  <a:cubicBezTo>
                    <a:pt x="109848" y="54212"/>
                    <a:pt x="109848" y="48182"/>
                    <a:pt x="113567" y="44463"/>
                  </a:cubicBezTo>
                  <a:lnTo>
                    <a:pt x="138960" y="19050"/>
                  </a:lnTo>
                  <a:lnTo>
                    <a:pt x="123873" y="19050"/>
                  </a:lnTo>
                  <a:cubicBezTo>
                    <a:pt x="119043" y="19049"/>
                    <a:pt x="114979" y="15435"/>
                    <a:pt x="114414" y="10639"/>
                  </a:cubicBezTo>
                  <a:lnTo>
                    <a:pt x="114348" y="9525"/>
                  </a:lnTo>
                  <a:cubicBezTo>
                    <a:pt x="114348" y="4265"/>
                    <a:pt x="118612" y="0"/>
                    <a:pt x="123873" y="0"/>
                  </a:cubicBezTo>
                  <a:lnTo>
                    <a:pt x="161973" y="0"/>
                  </a:ln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cxnSp>
        <p:nvCxnSpPr>
          <p:cNvPr id="198" name="Straight Connector 197">
            <a:extLst>
              <a:ext uri="{FF2B5EF4-FFF2-40B4-BE49-F238E27FC236}">
                <a16:creationId xmlns:a16="http://schemas.microsoft.com/office/drawing/2014/main" id="{C9181C51-A29A-FDE6-5E9B-5D12683A13EA}"/>
              </a:ext>
              <a:ext uri="{C183D7F6-B498-43B3-948B-1728B52AA6E4}">
                <adec:decorative xmlns:adec="http://schemas.microsoft.com/office/drawing/2017/decorative" val="1"/>
              </a:ext>
            </a:extLst>
          </p:cNvPr>
          <p:cNvCxnSpPr>
            <a:cxnSpLocks/>
          </p:cNvCxnSpPr>
          <p:nvPr/>
        </p:nvCxnSpPr>
        <p:spPr>
          <a:xfrm>
            <a:off x="7067550" y="4817512"/>
            <a:ext cx="0" cy="1385167"/>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EA1B25FA-FB3C-D478-5FF7-88B91578C48A}"/>
              </a:ext>
              <a:ext uri="{C183D7F6-B498-43B3-948B-1728B52AA6E4}">
                <adec:decorative xmlns:adec="http://schemas.microsoft.com/office/drawing/2017/decorative" val="0"/>
              </a:ext>
            </a:extLst>
          </p:cNvPr>
          <p:cNvSpPr>
            <a:spLocks noGrp="1"/>
          </p:cNvSpPr>
          <p:nvPr>
            <p:ph type="title"/>
          </p:nvPr>
        </p:nvSpPr>
        <p:spPr/>
        <p:txBody>
          <a:bodyPr/>
          <a:lstStyle/>
          <a:p>
            <a:r>
              <a:rPr lang="en-US">
                <a:ea typeface="+mj-ea"/>
                <a:cs typeface="+mj-cs"/>
              </a:rPr>
              <a:t>Energy and Resources Gen AI Permitting Accelerator</a:t>
            </a:r>
          </a:p>
        </p:txBody>
      </p:sp>
      <p:sp>
        <p:nvSpPr>
          <p:cNvPr id="19" name="Rectangle: Rounded Corners 18">
            <a:extLst>
              <a:ext uri="{FF2B5EF4-FFF2-40B4-BE49-F238E27FC236}">
                <a16:creationId xmlns:a16="http://schemas.microsoft.com/office/drawing/2014/main" id="{962A335C-2015-7EFD-3158-905F1BC0D885}"/>
              </a:ext>
              <a:ext uri="{C183D7F6-B498-43B3-948B-1728B52AA6E4}">
                <adec:decorative xmlns:adec="http://schemas.microsoft.com/office/drawing/2017/decorative" val="0"/>
              </a:ext>
            </a:extLst>
          </p:cNvPr>
          <p:cNvSpPr/>
          <p:nvPr/>
        </p:nvSpPr>
        <p:spPr bwMode="auto">
          <a:xfrm>
            <a:off x="665179" y="1353451"/>
            <a:ext cx="1839895" cy="2415906"/>
          </a:xfrm>
          <a:prstGeom prst="roundRect">
            <a:avLst>
              <a:gd name="adj" fmla="val 5304"/>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Generative AI accelerator capabilities for</a:t>
            </a:r>
            <a:b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b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applicants and regulators</a:t>
            </a:r>
          </a:p>
        </p:txBody>
      </p:sp>
      <p:sp>
        <p:nvSpPr>
          <p:cNvPr id="178" name="Rectangle 177">
            <a:extLst>
              <a:ext uri="{FF2B5EF4-FFF2-40B4-BE49-F238E27FC236}">
                <a16:creationId xmlns:a16="http://schemas.microsoft.com/office/drawing/2014/main" id="{AAD322E1-F017-0436-95D1-4A133D45718B}"/>
              </a:ext>
              <a:ext uri="{C183D7F6-B498-43B3-948B-1728B52AA6E4}">
                <adec:decorative xmlns:adec="http://schemas.microsoft.com/office/drawing/2017/decorative" val="0"/>
              </a:ext>
            </a:extLst>
          </p:cNvPr>
          <p:cNvSpPr>
            <a:spLocks/>
          </p:cNvSpPr>
          <p:nvPr/>
        </p:nvSpPr>
        <p:spPr bwMode="auto">
          <a:xfrm>
            <a:off x="2733675" y="2293020"/>
            <a:ext cx="2799140" cy="138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Assess documents to quickly spot missing information, discrepancies, or areas of incompliance</a:t>
            </a:r>
          </a:p>
        </p:txBody>
      </p:sp>
      <p:sp>
        <p:nvSpPr>
          <p:cNvPr id="179" name="TextBox 178">
            <a:extLst>
              <a:ext uri="{FF2B5EF4-FFF2-40B4-BE49-F238E27FC236}">
                <a16:creationId xmlns:a16="http://schemas.microsoft.com/office/drawing/2014/main" id="{3D8FFCE0-0473-91DC-7097-0F80E5D805DF}"/>
              </a:ext>
              <a:ext uri="{C183D7F6-B498-43B3-948B-1728B52AA6E4}">
                <adec:decorative xmlns:adec="http://schemas.microsoft.com/office/drawing/2017/decorative" val="0"/>
              </a:ext>
            </a:extLst>
          </p:cNvPr>
          <p:cNvSpPr txBox="1">
            <a:spLocks/>
          </p:cNvSpPr>
          <p:nvPr/>
        </p:nvSpPr>
        <p:spPr>
          <a:xfrm>
            <a:off x="5667979" y="2293020"/>
            <a:ext cx="2799140" cy="138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1600">
                <a:solidFill>
                  <a:schemeClr val="tx1"/>
                </a:solidFill>
                <a:cs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a:rPr>
              <a:t>Draft new documents by pulling in and refining relevant data for human review</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a:ea typeface="+mn-ea"/>
              <a:cs typeface="Segoe UI"/>
            </a:endParaRPr>
          </a:p>
        </p:txBody>
      </p:sp>
      <p:sp>
        <p:nvSpPr>
          <p:cNvPr id="180" name="TextBox 179">
            <a:extLst>
              <a:ext uri="{FF2B5EF4-FFF2-40B4-BE49-F238E27FC236}">
                <a16:creationId xmlns:a16="http://schemas.microsoft.com/office/drawing/2014/main" id="{FC17D752-09EA-096D-F9CD-A5951EF9265D}"/>
              </a:ext>
              <a:ext uri="{C183D7F6-B498-43B3-948B-1728B52AA6E4}">
                <adec:decorative xmlns:adec="http://schemas.microsoft.com/office/drawing/2017/decorative" val="0"/>
              </a:ext>
            </a:extLst>
          </p:cNvPr>
          <p:cNvSpPr txBox="1">
            <a:spLocks/>
          </p:cNvSpPr>
          <p:nvPr/>
        </p:nvSpPr>
        <p:spPr>
          <a:xfrm>
            <a:off x="8602285" y="2293020"/>
            <a:ext cx="2799140" cy="138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1600">
                <a:solidFill>
                  <a:schemeClr val="tx1"/>
                </a:solidFill>
                <a:cs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a:rPr>
              <a:t>Query Copilot to search data sets and regulations to support permitting engineers and regulatory experts </a:t>
            </a:r>
          </a:p>
        </p:txBody>
      </p:sp>
      <p:sp>
        <p:nvSpPr>
          <p:cNvPr id="159" name="Rectangle: Rounded Corners 158">
            <a:extLst>
              <a:ext uri="{FF2B5EF4-FFF2-40B4-BE49-F238E27FC236}">
                <a16:creationId xmlns:a16="http://schemas.microsoft.com/office/drawing/2014/main" id="{0FEDE66E-6EB0-DC36-640D-7F0C2AFC8338}"/>
              </a:ext>
              <a:ext uri="{C183D7F6-B498-43B3-948B-1728B52AA6E4}">
                <adec:decorative xmlns:adec="http://schemas.microsoft.com/office/drawing/2017/decorative" val="0"/>
              </a:ext>
            </a:extLst>
          </p:cNvPr>
          <p:cNvSpPr/>
          <p:nvPr/>
        </p:nvSpPr>
        <p:spPr bwMode="auto">
          <a:xfrm>
            <a:off x="665179" y="3877943"/>
            <a:ext cx="1839895" cy="2415906"/>
          </a:xfrm>
          <a:prstGeom prst="roundRect">
            <a:avLst>
              <a:gd name="adj" fmla="val 5304"/>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5"/>
              </a:spcBef>
              <a:spcAft>
                <a:spcPts val="0"/>
              </a:spcAft>
              <a:buClrTx/>
              <a:buSzTx/>
              <a:buFontTx/>
              <a:buNone/>
              <a:tabLst>
                <a:tab pos="5665570" algn="l"/>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mn-cs"/>
              </a:rPr>
              <a:t>Value</a:t>
            </a:r>
          </a:p>
        </p:txBody>
      </p:sp>
      <p:sp>
        <p:nvSpPr>
          <p:cNvPr id="207" name="Rectangle 206">
            <a:extLst>
              <a:ext uri="{FF2B5EF4-FFF2-40B4-BE49-F238E27FC236}">
                <a16:creationId xmlns:a16="http://schemas.microsoft.com/office/drawing/2014/main" id="{5D2F9853-0AE5-EE4E-34D8-06A27112F787}"/>
              </a:ext>
              <a:ext uri="{C183D7F6-B498-43B3-948B-1728B52AA6E4}">
                <adec:decorative xmlns:adec="http://schemas.microsoft.com/office/drawing/2017/decorative" val="0"/>
              </a:ext>
            </a:extLst>
          </p:cNvPr>
          <p:cNvSpPr>
            <a:spLocks/>
          </p:cNvSpPr>
          <p:nvPr/>
        </p:nvSpPr>
        <p:spPr bwMode="auto">
          <a:xfrm>
            <a:off x="2733675" y="4817512"/>
            <a:ext cx="4231706" cy="138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Saving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The solution can significantly reduce the </a:t>
            </a: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cost and time</a:t>
            </a:r>
            <a:r>
              <a:rPr kumimoji="0" lang="en-US" sz="1600" b="0" i="0" u="none" strike="noStrike" kern="1200" cap="none" spc="0" normalizeH="0" baseline="0" noProof="0">
                <a:ln>
                  <a:noFill/>
                </a:ln>
                <a:solidFill>
                  <a:srgbClr val="000000"/>
                </a:solidFill>
                <a:effectLst/>
                <a:uLnTx/>
                <a:uFillTx/>
                <a:latin typeface="Segoe Sans Display"/>
                <a:ea typeface="+mn-ea"/>
                <a:cs typeface="+mn-cs"/>
              </a:rPr>
              <a:t> to complete permitting applications and regulatory review and approval for energy infrastructure</a:t>
            </a:r>
          </a:p>
        </p:txBody>
      </p:sp>
      <p:sp>
        <p:nvSpPr>
          <p:cNvPr id="208" name="TextBox 207">
            <a:extLst>
              <a:ext uri="{FF2B5EF4-FFF2-40B4-BE49-F238E27FC236}">
                <a16:creationId xmlns:a16="http://schemas.microsoft.com/office/drawing/2014/main" id="{29760A3F-2D33-858C-426D-E2BC0B20B52B}"/>
              </a:ext>
              <a:ext uri="{C183D7F6-B498-43B3-948B-1728B52AA6E4}">
                <adec:decorative xmlns:adec="http://schemas.microsoft.com/office/drawing/2017/decorative" val="0"/>
              </a:ext>
            </a:extLst>
          </p:cNvPr>
          <p:cNvSpPr txBox="1">
            <a:spLocks/>
          </p:cNvSpPr>
          <p:nvPr/>
        </p:nvSpPr>
        <p:spPr>
          <a:xfrm>
            <a:off x="7169719" y="4817512"/>
            <a:ext cx="4231706" cy="138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1600">
                <a:solidFill>
                  <a:schemeClr val="tx1"/>
                </a:solidFill>
                <a:cs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Segoe UI"/>
              </a:rPr>
              <a:t>Expanded opportuniti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a:rPr>
              <a:t>The solution can be extended to further scenarios (e.g., New Document Types, Translating Documents between languages or regions globally, Site Selection, etc.)</a:t>
            </a:r>
          </a:p>
        </p:txBody>
      </p:sp>
    </p:spTree>
    <p:extLst>
      <p:ext uri="{BB962C8B-B14F-4D97-AF65-F5344CB8AC3E}">
        <p14:creationId xmlns:p14="http://schemas.microsoft.com/office/powerpoint/2010/main" val="4828226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2C8C3-A2CD-7843-393E-A16C8611EEA5}"/>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1605EF19-5D6C-F28E-6D58-D0DC191884D2}"/>
              </a:ext>
              <a:ext uri="{C183D7F6-B498-43B3-948B-1728B52AA6E4}">
                <adec:decorative xmlns:adec="http://schemas.microsoft.com/office/drawing/2017/decorative" val="1"/>
              </a:ext>
            </a:extLst>
          </p:cNvPr>
          <p:cNvSpPr/>
          <p:nvPr/>
        </p:nvSpPr>
        <p:spPr bwMode="auto">
          <a:xfrm>
            <a:off x="749115" y="676912"/>
            <a:ext cx="10693771" cy="5504176"/>
          </a:xfrm>
          <a:prstGeom prst="roundRect">
            <a:avLst>
              <a:gd name="adj" fmla="val 6028"/>
            </a:avLst>
          </a:prstGeom>
          <a:solidFill>
            <a:srgbClr val="194449">
              <a:alpha val="10000"/>
            </a:srgbClr>
          </a:solidFill>
        </p:spPr>
        <p:txBody>
          <a:bodyPr wrap="square" lIns="0" tIns="0" rIns="0" bIns="45720" rtlCol="0" anchor="ctr" anchorCtr="0">
            <a:noAutofit/>
          </a:body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err="1">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pic>
        <p:nvPicPr>
          <p:cNvPr id="4" name="Picture 3">
            <a:extLst>
              <a:ext uri="{FF2B5EF4-FFF2-40B4-BE49-F238E27FC236}">
                <a16:creationId xmlns:a16="http://schemas.microsoft.com/office/drawing/2014/main" id="{3430B4B2-9203-C598-52AD-06433D820F78}"/>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a:fillRect/>
          </a:stretch>
        </p:blipFill>
        <p:spPr>
          <a:xfrm>
            <a:off x="1130917" y="1025706"/>
            <a:ext cx="3300875" cy="4809744"/>
          </a:xfrm>
          <a:prstGeom prst="roundRect">
            <a:avLst>
              <a:gd name="adj" fmla="val 7730"/>
            </a:avLst>
          </a:prstGeom>
          <a:ln w="19050">
            <a:noFill/>
          </a:ln>
        </p:spPr>
      </p:pic>
      <p:sp>
        <p:nvSpPr>
          <p:cNvPr id="2" name="Title 1">
            <a:extLst>
              <a:ext uri="{FF2B5EF4-FFF2-40B4-BE49-F238E27FC236}">
                <a16:creationId xmlns:a16="http://schemas.microsoft.com/office/drawing/2014/main" id="{E32E48E7-9EA9-8F86-7C82-024236C7E29E}"/>
              </a:ext>
            </a:extLst>
          </p:cNvPr>
          <p:cNvSpPr txBox="1">
            <a:spLocks noGrp="1"/>
          </p:cNvSpPr>
          <p:nvPr>
            <p:ph type="title" idx="4294967295"/>
          </p:nvPr>
        </p:nvSpPr>
        <p:spPr>
          <a:xfrm>
            <a:off x="4857276" y="1986296"/>
            <a:ext cx="4079643" cy="288540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defTabSz="914400">
              <a:lnSpc>
                <a:spcPts val="7500"/>
              </a:lnSpc>
              <a:spcBef>
                <a:spcPts val="0"/>
              </a:spcBef>
              <a:defRPr/>
            </a:pPr>
            <a:r>
              <a:rPr lang="en-US" sz="6600" spc="0">
                <a:ln>
                  <a:noFill/>
                </a:ln>
                <a:latin typeface="+mn-lt"/>
                <a:cs typeface="+mn-cs"/>
              </a:rPr>
              <a:t>Bend the</a:t>
            </a:r>
            <a:br>
              <a:rPr lang="en-US" sz="6600" spc="0">
                <a:ln>
                  <a:noFill/>
                </a:ln>
                <a:latin typeface="+mn-lt"/>
                <a:cs typeface="+mn-cs"/>
              </a:rPr>
            </a:br>
            <a:r>
              <a:rPr lang="en-US" sz="6600" spc="0">
                <a:ln>
                  <a:noFill/>
                </a:ln>
                <a:latin typeface="+mn-lt"/>
                <a:cs typeface="+mn-cs"/>
              </a:rPr>
              <a:t>curve on</a:t>
            </a:r>
            <a:br>
              <a:rPr lang="en-US" sz="6600" spc="0">
                <a:ln>
                  <a:noFill/>
                </a:ln>
                <a:latin typeface="+mn-lt"/>
                <a:cs typeface="+mn-cs"/>
              </a:rPr>
            </a:br>
            <a:r>
              <a:rPr lang="en-US" sz="6600" spc="0">
                <a:ln>
                  <a:noFill/>
                </a:ln>
                <a:latin typeface="+mn-lt"/>
                <a:cs typeface="+mn-cs"/>
              </a:rPr>
              <a:t>innovation</a:t>
            </a:r>
            <a:endParaRPr kumimoji="0" lang="en-US" sz="6600" b="0" i="0" u="none" strike="noStrike" kern="1200" cap="none" spc="0" normalizeH="0" baseline="0" noProof="0">
              <a:ln>
                <a:noFill/>
              </a:ln>
              <a:effectLst/>
              <a:uLnTx/>
              <a:uFillTx/>
              <a:latin typeface="+mn-lt"/>
              <a:cs typeface="+mn-cs"/>
            </a:endParaRPr>
          </a:p>
        </p:txBody>
      </p:sp>
      <p:pic>
        <p:nvPicPr>
          <p:cNvPr id="7" name="Picture 6">
            <a:extLst>
              <a:ext uri="{FF2B5EF4-FFF2-40B4-BE49-F238E27FC236}">
                <a16:creationId xmlns:a16="http://schemas.microsoft.com/office/drawing/2014/main" id="{BCA4EC90-81D0-3B4C-5ED8-5D960FB5702C}"/>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8000"/>
                    </a14:imgEffect>
                  </a14:imgLayer>
                </a14:imgProps>
              </a:ext>
              <a:ext uri="{28A0092B-C50C-407E-A947-70E740481C1C}">
                <a14:useLocalDpi xmlns:a14="http://schemas.microsoft.com/office/drawing/2010/main"/>
              </a:ext>
            </a:extLst>
          </a:blip>
          <a:srcRect/>
          <a:stretch>
            <a:fillRect/>
          </a:stretch>
        </p:blipFill>
        <p:spPr>
          <a:xfrm>
            <a:off x="1130917" y="1025706"/>
            <a:ext cx="3300874" cy="4809744"/>
          </a:xfrm>
          <a:prstGeom prst="roundRect">
            <a:avLst>
              <a:gd name="adj" fmla="val 8008"/>
            </a:avLst>
          </a:prstGeom>
          <a:ln>
            <a:noFill/>
          </a:ln>
        </p:spPr>
      </p:pic>
    </p:spTree>
    <p:extLst>
      <p:ext uri="{BB962C8B-B14F-4D97-AF65-F5344CB8AC3E}">
        <p14:creationId xmlns:p14="http://schemas.microsoft.com/office/powerpoint/2010/main" val="202725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45ABC-4114-F3BC-7ACD-ECF98A3DD834}"/>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2A8F151A-1E03-0632-D8D7-1EEA0B8E6320}"/>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4" name="Rectangle: Rounded Corners 3">
            <a:extLst>
              <a:ext uri="{FF2B5EF4-FFF2-40B4-BE49-F238E27FC236}">
                <a16:creationId xmlns:a16="http://schemas.microsoft.com/office/drawing/2014/main" id="{59002C0B-1EF1-F4E0-9F2A-87BB57B8E656}"/>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 name="Freeform: Shape 2">
            <a:extLst>
              <a:ext uri="{FF2B5EF4-FFF2-40B4-BE49-F238E27FC236}">
                <a16:creationId xmlns:a16="http://schemas.microsoft.com/office/drawing/2014/main" id="{1F1A46CB-BFD3-9EFF-1A5E-6786771B0360}"/>
              </a:ext>
              <a:ext uri="{C183D7F6-B498-43B3-948B-1728B52AA6E4}">
                <adec:decorative xmlns:adec="http://schemas.microsoft.com/office/drawing/2017/decorative" val="1"/>
              </a:ext>
            </a:extLst>
          </p:cNvPr>
          <p:cNvSpPr>
            <a:spLocks/>
          </p:cNvSpPr>
          <p:nvPr/>
        </p:nvSpPr>
        <p:spPr>
          <a:xfrm>
            <a:off x="6102302" y="4908951"/>
            <a:ext cx="244318" cy="271462"/>
          </a:xfrm>
          <a:custGeom>
            <a:avLst/>
            <a:gdLst>
              <a:gd name="connsiteX0" fmla="*/ 48627 w 171424"/>
              <a:gd name="connsiteY0" fmla="*/ 67703 h 190500"/>
              <a:gd name="connsiteX1" fmla="*/ 58447 w 171424"/>
              <a:gd name="connsiteY1" fmla="*/ 70075 h 190500"/>
              <a:gd name="connsiteX2" fmla="*/ 58504 w 171424"/>
              <a:gd name="connsiteY2" fmla="*/ 70170 h 190500"/>
              <a:gd name="connsiteX3" fmla="*/ 58981 w 171424"/>
              <a:gd name="connsiteY3" fmla="*/ 71151 h 190500"/>
              <a:gd name="connsiteX4" fmla="*/ 81965 w 171424"/>
              <a:gd name="connsiteY4" fmla="*/ 128568 h 190500"/>
              <a:gd name="connsiteX5" fmla="*/ 95557 w 171424"/>
              <a:gd name="connsiteY5" fmla="*/ 108565 h 190500"/>
              <a:gd name="connsiteX6" fmla="*/ 100757 w 171424"/>
              <a:gd name="connsiteY6" fmla="*/ 104860 h 190500"/>
              <a:gd name="connsiteX7" fmla="*/ 100853 w 171424"/>
              <a:gd name="connsiteY7" fmla="*/ 104841 h 190500"/>
              <a:gd name="connsiteX8" fmla="*/ 101862 w 171424"/>
              <a:gd name="connsiteY8" fmla="*/ 104775 h 190500"/>
              <a:gd name="connsiteX9" fmla="*/ 120912 w 171424"/>
              <a:gd name="connsiteY9" fmla="*/ 104775 h 190500"/>
              <a:gd name="connsiteX10" fmla="*/ 127944 w 171424"/>
              <a:gd name="connsiteY10" fmla="*/ 110815 h 190500"/>
              <a:gd name="connsiteX11" fmla="*/ 121989 w 171424"/>
              <a:gd name="connsiteY11" fmla="*/ 118976 h 190500"/>
              <a:gd name="connsiteX12" fmla="*/ 121893 w 171424"/>
              <a:gd name="connsiteY12" fmla="*/ 118995 h 190500"/>
              <a:gd name="connsiteX13" fmla="*/ 120912 w 171424"/>
              <a:gd name="connsiteY13" fmla="*/ 119062 h 190500"/>
              <a:gd name="connsiteX14" fmla="*/ 106110 w 171424"/>
              <a:gd name="connsiteY14" fmla="*/ 119062 h 190500"/>
              <a:gd name="connsiteX15" fmla="*/ 87260 w 171424"/>
              <a:gd name="connsiteY15" fmla="*/ 148532 h 190500"/>
              <a:gd name="connsiteX16" fmla="*/ 84632 w 171424"/>
              <a:gd name="connsiteY16" fmla="*/ 151331 h 190500"/>
              <a:gd name="connsiteX17" fmla="*/ 74821 w 171424"/>
              <a:gd name="connsiteY17" fmla="*/ 148923 h 190500"/>
              <a:gd name="connsiteX18" fmla="*/ 74773 w 171424"/>
              <a:gd name="connsiteY18" fmla="*/ 148828 h 190500"/>
              <a:gd name="connsiteX19" fmla="*/ 74306 w 171424"/>
              <a:gd name="connsiteY19" fmla="*/ 147866 h 190500"/>
              <a:gd name="connsiteX20" fmla="*/ 52046 w 171424"/>
              <a:gd name="connsiteY20" fmla="*/ 92287 h 190500"/>
              <a:gd name="connsiteX21" fmla="*/ 42198 w 171424"/>
              <a:gd name="connsiteY21" fmla="*/ 114785 h 190500"/>
              <a:gd name="connsiteX22" fmla="*/ 36816 w 171424"/>
              <a:gd name="connsiteY22" fmla="*/ 118967 h 190500"/>
              <a:gd name="connsiteX23" fmla="*/ 36702 w 171424"/>
              <a:gd name="connsiteY23" fmla="*/ 118986 h 190500"/>
              <a:gd name="connsiteX24" fmla="*/ 35644 w 171424"/>
              <a:gd name="connsiteY24" fmla="*/ 119062 h 190500"/>
              <a:gd name="connsiteX25" fmla="*/ 7117 w 171424"/>
              <a:gd name="connsiteY25" fmla="*/ 119062 h 190500"/>
              <a:gd name="connsiteX26" fmla="*/ 86 w 171424"/>
              <a:gd name="connsiteY26" fmla="*/ 113021 h 190500"/>
              <a:gd name="connsiteX27" fmla="*/ 6041 w 171424"/>
              <a:gd name="connsiteY27" fmla="*/ 104860 h 190500"/>
              <a:gd name="connsiteX28" fmla="*/ 6136 w 171424"/>
              <a:gd name="connsiteY28" fmla="*/ 104841 h 190500"/>
              <a:gd name="connsiteX29" fmla="*/ 7117 w 171424"/>
              <a:gd name="connsiteY29" fmla="*/ 104775 h 190500"/>
              <a:gd name="connsiteX30" fmla="*/ 30977 w 171424"/>
              <a:gd name="connsiteY30" fmla="*/ 104775 h 190500"/>
              <a:gd name="connsiteX31" fmla="*/ 45808 w 171424"/>
              <a:gd name="connsiteY31" fmla="*/ 70932 h 190500"/>
              <a:gd name="connsiteX32" fmla="*/ 48627 w 171424"/>
              <a:gd name="connsiteY32" fmla="*/ 67703 h 190500"/>
              <a:gd name="connsiteX33" fmla="*/ 109511 w 171424"/>
              <a:gd name="connsiteY33" fmla="*/ 4762 h 190500"/>
              <a:gd name="connsiteX34" fmla="*/ 166661 w 171424"/>
              <a:gd name="connsiteY34" fmla="*/ 61912 h 190500"/>
              <a:gd name="connsiteX35" fmla="*/ 114273 w 171424"/>
              <a:gd name="connsiteY35" fmla="*/ 61912 h 190500"/>
              <a:gd name="connsiteX36" fmla="*/ 109511 w 171424"/>
              <a:gd name="connsiteY36" fmla="*/ 57150 h 190500"/>
              <a:gd name="connsiteX37" fmla="*/ 38074 w 171424"/>
              <a:gd name="connsiteY37" fmla="*/ 0 h 190500"/>
              <a:gd name="connsiteX38" fmla="*/ 95224 w 171424"/>
              <a:gd name="connsiteY38" fmla="*/ 0 h 190500"/>
              <a:gd name="connsiteX39" fmla="*/ 95224 w 171424"/>
              <a:gd name="connsiteY39" fmla="*/ 57188 h 190500"/>
              <a:gd name="connsiteX40" fmla="*/ 114274 w 171424"/>
              <a:gd name="connsiteY40" fmla="*/ 76200 h 190500"/>
              <a:gd name="connsiteX41" fmla="*/ 171424 w 171424"/>
              <a:gd name="connsiteY41" fmla="*/ 76200 h 190500"/>
              <a:gd name="connsiteX42" fmla="*/ 171424 w 171424"/>
              <a:gd name="connsiteY42" fmla="*/ 171450 h 190500"/>
              <a:gd name="connsiteX43" fmla="*/ 152374 w 171424"/>
              <a:gd name="connsiteY43" fmla="*/ 190500 h 190500"/>
              <a:gd name="connsiteX44" fmla="*/ 38074 w 171424"/>
              <a:gd name="connsiteY44" fmla="*/ 190500 h 190500"/>
              <a:gd name="connsiteX45" fmla="*/ 19024 w 171424"/>
              <a:gd name="connsiteY45" fmla="*/ 171450 h 190500"/>
              <a:gd name="connsiteX46" fmla="*/ 19024 w 171424"/>
              <a:gd name="connsiteY46" fmla="*/ 128588 h 190500"/>
              <a:gd name="connsiteX47" fmla="*/ 35998 w 171424"/>
              <a:gd name="connsiteY47" fmla="*/ 128588 h 190500"/>
              <a:gd name="connsiteX48" fmla="*/ 37836 w 171424"/>
              <a:gd name="connsiteY48" fmla="*/ 128454 h 190500"/>
              <a:gd name="connsiteX49" fmla="*/ 38369 w 171424"/>
              <a:gd name="connsiteY49" fmla="*/ 128368 h 190500"/>
              <a:gd name="connsiteX50" fmla="*/ 50914 w 171424"/>
              <a:gd name="connsiteY50" fmla="*/ 118615 h 190500"/>
              <a:gd name="connsiteX51" fmla="*/ 51657 w 171424"/>
              <a:gd name="connsiteY51" fmla="*/ 116919 h 190500"/>
              <a:gd name="connsiteX52" fmla="*/ 65582 w 171424"/>
              <a:gd name="connsiteY52" fmla="*/ 151714 h 190500"/>
              <a:gd name="connsiteX53" fmla="*/ 66373 w 171424"/>
              <a:gd name="connsiteY53" fmla="*/ 153353 h 190500"/>
              <a:gd name="connsiteX54" fmla="*/ 66639 w 171424"/>
              <a:gd name="connsiteY54" fmla="*/ 153791 h 190500"/>
              <a:gd name="connsiteX55" fmla="*/ 95472 w 171424"/>
              <a:gd name="connsiteY55" fmla="*/ 153381 h 190500"/>
              <a:gd name="connsiteX56" fmla="*/ 111331 w 171424"/>
              <a:gd name="connsiteY56" fmla="*/ 128588 h 190500"/>
              <a:gd name="connsiteX57" fmla="*/ 121237 w 171424"/>
              <a:gd name="connsiteY57" fmla="*/ 128588 h 190500"/>
              <a:gd name="connsiteX58" fmla="*/ 122923 w 171424"/>
              <a:gd name="connsiteY58" fmla="*/ 128473 h 190500"/>
              <a:gd name="connsiteX59" fmla="*/ 123418 w 171424"/>
              <a:gd name="connsiteY59" fmla="*/ 128397 h 190500"/>
              <a:gd name="connsiteX60" fmla="*/ 137574 w 171424"/>
              <a:gd name="connsiteY60" fmla="*/ 111926 h 190500"/>
              <a:gd name="connsiteX61" fmla="*/ 120913 w 171424"/>
              <a:gd name="connsiteY61" fmla="*/ 95250 h 190500"/>
              <a:gd name="connsiteX62" fmla="*/ 101530 w 171424"/>
              <a:gd name="connsiteY62" fmla="*/ 95250 h 190500"/>
              <a:gd name="connsiteX63" fmla="*/ 99777 w 171424"/>
              <a:gd name="connsiteY63" fmla="*/ 95374 h 190500"/>
              <a:gd name="connsiteX64" fmla="*/ 99263 w 171424"/>
              <a:gd name="connsiteY64" fmla="*/ 95450 h 190500"/>
              <a:gd name="connsiteX65" fmla="*/ 87452 w 171424"/>
              <a:gd name="connsiteY65" fmla="*/ 103546 h 190500"/>
              <a:gd name="connsiteX66" fmla="*/ 84156 w 171424"/>
              <a:gd name="connsiteY66" fmla="*/ 108404 h 190500"/>
              <a:gd name="connsiteX67" fmla="*/ 67697 w 171424"/>
              <a:gd name="connsiteY67" fmla="*/ 67313 h 190500"/>
              <a:gd name="connsiteX68" fmla="*/ 66887 w 171424"/>
              <a:gd name="connsiteY68" fmla="*/ 65637 h 190500"/>
              <a:gd name="connsiteX69" fmla="*/ 66611 w 171424"/>
              <a:gd name="connsiteY69" fmla="*/ 65180 h 190500"/>
              <a:gd name="connsiteX70" fmla="*/ 37083 w 171424"/>
              <a:gd name="connsiteY70" fmla="*/ 67123 h 190500"/>
              <a:gd name="connsiteX71" fmla="*/ 24758 w 171424"/>
              <a:gd name="connsiteY71" fmla="*/ 95250 h 190500"/>
              <a:gd name="connsiteX72" fmla="*/ 19024 w 171424"/>
              <a:gd name="connsiteY72" fmla="*/ 95250 h 190500"/>
              <a:gd name="connsiteX73" fmla="*/ 19024 w 171424"/>
              <a:gd name="connsiteY73" fmla="*/ 19050 h 190500"/>
              <a:gd name="connsiteX74" fmla="*/ 38074 w 171424"/>
              <a:gd name="connsiteY74"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1424" h="190500">
                <a:moveTo>
                  <a:pt x="48627" y="67703"/>
                </a:moveTo>
                <a:cubicBezTo>
                  <a:pt x="51994" y="65646"/>
                  <a:pt x="56391" y="66708"/>
                  <a:pt x="58447" y="70075"/>
                </a:cubicBezTo>
                <a:lnTo>
                  <a:pt x="58504" y="70170"/>
                </a:lnTo>
                <a:lnTo>
                  <a:pt x="58981" y="71151"/>
                </a:lnTo>
                <a:lnTo>
                  <a:pt x="81965" y="128568"/>
                </a:lnTo>
                <a:lnTo>
                  <a:pt x="95557" y="108565"/>
                </a:lnTo>
                <a:cubicBezTo>
                  <a:pt x="96611" y="106581"/>
                  <a:pt x="98538" y="105209"/>
                  <a:pt x="100757" y="104860"/>
                </a:cubicBezTo>
                <a:lnTo>
                  <a:pt x="100853" y="104841"/>
                </a:lnTo>
                <a:lnTo>
                  <a:pt x="101862" y="104775"/>
                </a:lnTo>
                <a:lnTo>
                  <a:pt x="120912" y="104775"/>
                </a:lnTo>
                <a:cubicBezTo>
                  <a:pt x="124421" y="104788"/>
                  <a:pt x="127402" y="107348"/>
                  <a:pt x="127944" y="110815"/>
                </a:cubicBezTo>
                <a:cubicBezTo>
                  <a:pt x="128553" y="114713"/>
                  <a:pt x="125886" y="118367"/>
                  <a:pt x="121989" y="118976"/>
                </a:cubicBezTo>
                <a:lnTo>
                  <a:pt x="121893" y="118995"/>
                </a:lnTo>
                <a:lnTo>
                  <a:pt x="120912" y="119062"/>
                </a:lnTo>
                <a:lnTo>
                  <a:pt x="106110" y="119062"/>
                </a:lnTo>
                <a:lnTo>
                  <a:pt x="87260" y="148532"/>
                </a:lnTo>
                <a:cubicBezTo>
                  <a:pt x="86657" y="149688"/>
                  <a:pt x="85747" y="150655"/>
                  <a:pt x="84632" y="151331"/>
                </a:cubicBezTo>
                <a:cubicBezTo>
                  <a:pt x="81258" y="153375"/>
                  <a:pt x="76865" y="152298"/>
                  <a:pt x="74821" y="148923"/>
                </a:cubicBezTo>
                <a:lnTo>
                  <a:pt x="74773" y="148828"/>
                </a:lnTo>
                <a:lnTo>
                  <a:pt x="74306" y="147866"/>
                </a:lnTo>
                <a:lnTo>
                  <a:pt x="52046" y="92287"/>
                </a:lnTo>
                <a:lnTo>
                  <a:pt x="42198" y="114785"/>
                </a:lnTo>
                <a:cubicBezTo>
                  <a:pt x="41227" y="117000"/>
                  <a:pt x="39202" y="118573"/>
                  <a:pt x="36816" y="118967"/>
                </a:cubicBezTo>
                <a:lnTo>
                  <a:pt x="36702" y="118986"/>
                </a:lnTo>
                <a:lnTo>
                  <a:pt x="35644" y="119062"/>
                </a:lnTo>
                <a:lnTo>
                  <a:pt x="7117" y="119062"/>
                </a:lnTo>
                <a:cubicBezTo>
                  <a:pt x="3608" y="119049"/>
                  <a:pt x="628" y="116488"/>
                  <a:pt x="86" y="113021"/>
                </a:cubicBezTo>
                <a:cubicBezTo>
                  <a:pt x="-524" y="109124"/>
                  <a:pt x="2143" y="105470"/>
                  <a:pt x="6041" y="104860"/>
                </a:cubicBezTo>
                <a:lnTo>
                  <a:pt x="6136" y="104841"/>
                </a:lnTo>
                <a:lnTo>
                  <a:pt x="7117" y="104775"/>
                </a:lnTo>
                <a:lnTo>
                  <a:pt x="30977" y="104775"/>
                </a:lnTo>
                <a:lnTo>
                  <a:pt x="45808" y="70932"/>
                </a:lnTo>
                <a:cubicBezTo>
                  <a:pt x="46395" y="69592"/>
                  <a:pt x="47379" y="68465"/>
                  <a:pt x="48627" y="67703"/>
                </a:cubicBezTo>
                <a:close/>
                <a:moveTo>
                  <a:pt x="109511" y="4762"/>
                </a:moveTo>
                <a:lnTo>
                  <a:pt x="166661" y="61912"/>
                </a:lnTo>
                <a:lnTo>
                  <a:pt x="114273" y="61912"/>
                </a:lnTo>
                <a:cubicBezTo>
                  <a:pt x="111643" y="61912"/>
                  <a:pt x="109511" y="59780"/>
                  <a:pt x="109511" y="57150"/>
                </a:cubicBezTo>
                <a:close/>
                <a:moveTo>
                  <a:pt x="38074" y="0"/>
                </a:moveTo>
                <a:lnTo>
                  <a:pt x="95224" y="0"/>
                </a:lnTo>
                <a:lnTo>
                  <a:pt x="95224" y="57188"/>
                </a:lnTo>
                <a:cubicBezTo>
                  <a:pt x="95245" y="67694"/>
                  <a:pt x="103768" y="76200"/>
                  <a:pt x="114274" y="76200"/>
                </a:cubicBezTo>
                <a:lnTo>
                  <a:pt x="171424" y="76200"/>
                </a:lnTo>
                <a:lnTo>
                  <a:pt x="171424" y="171450"/>
                </a:lnTo>
                <a:cubicBezTo>
                  <a:pt x="171424" y="181971"/>
                  <a:pt x="162895" y="190500"/>
                  <a:pt x="152374" y="190500"/>
                </a:cubicBezTo>
                <a:lnTo>
                  <a:pt x="38074" y="190500"/>
                </a:lnTo>
                <a:cubicBezTo>
                  <a:pt x="27553" y="190500"/>
                  <a:pt x="19024" y="181971"/>
                  <a:pt x="19024" y="171450"/>
                </a:cubicBezTo>
                <a:lnTo>
                  <a:pt x="19024" y="128588"/>
                </a:lnTo>
                <a:lnTo>
                  <a:pt x="35998" y="128588"/>
                </a:lnTo>
                <a:lnTo>
                  <a:pt x="37836" y="128454"/>
                </a:lnTo>
                <a:lnTo>
                  <a:pt x="38369" y="128368"/>
                </a:lnTo>
                <a:cubicBezTo>
                  <a:pt x="43931" y="127447"/>
                  <a:pt x="48651" y="123778"/>
                  <a:pt x="50914" y="118615"/>
                </a:cubicBezTo>
                <a:lnTo>
                  <a:pt x="51657" y="116919"/>
                </a:lnTo>
                <a:lnTo>
                  <a:pt x="65582" y="151714"/>
                </a:lnTo>
                <a:lnTo>
                  <a:pt x="66373" y="153353"/>
                </a:lnTo>
                <a:lnTo>
                  <a:pt x="66639" y="153791"/>
                </a:lnTo>
                <a:cubicBezTo>
                  <a:pt x="73078" y="164592"/>
                  <a:pt x="89147" y="164697"/>
                  <a:pt x="95472" y="153381"/>
                </a:cubicBezTo>
                <a:lnTo>
                  <a:pt x="111331" y="128588"/>
                </a:lnTo>
                <a:lnTo>
                  <a:pt x="121237" y="128588"/>
                </a:lnTo>
                <a:lnTo>
                  <a:pt x="122923" y="128473"/>
                </a:lnTo>
                <a:lnTo>
                  <a:pt x="123418" y="128397"/>
                </a:lnTo>
                <a:cubicBezTo>
                  <a:pt x="131556" y="127156"/>
                  <a:pt x="137570" y="120159"/>
                  <a:pt x="137574" y="111926"/>
                </a:cubicBezTo>
                <a:cubicBezTo>
                  <a:pt x="137578" y="102720"/>
                  <a:pt x="130119" y="95255"/>
                  <a:pt x="120913" y="95250"/>
                </a:cubicBezTo>
                <a:lnTo>
                  <a:pt x="101530" y="95250"/>
                </a:lnTo>
                <a:lnTo>
                  <a:pt x="99777" y="95374"/>
                </a:lnTo>
                <a:lnTo>
                  <a:pt x="99263" y="95450"/>
                </a:lnTo>
                <a:cubicBezTo>
                  <a:pt x="94308" y="96234"/>
                  <a:pt x="89970" y="99208"/>
                  <a:pt x="87452" y="103546"/>
                </a:cubicBezTo>
                <a:lnTo>
                  <a:pt x="84156" y="108404"/>
                </a:lnTo>
                <a:lnTo>
                  <a:pt x="67697" y="67313"/>
                </a:lnTo>
                <a:lnTo>
                  <a:pt x="66887" y="65637"/>
                </a:lnTo>
                <a:lnTo>
                  <a:pt x="66611" y="65180"/>
                </a:lnTo>
                <a:cubicBezTo>
                  <a:pt x="59848" y="53902"/>
                  <a:pt x="42636" y="54464"/>
                  <a:pt x="37083" y="67123"/>
                </a:cubicBezTo>
                <a:lnTo>
                  <a:pt x="24758" y="95250"/>
                </a:lnTo>
                <a:lnTo>
                  <a:pt x="19024" y="95250"/>
                </a:lnTo>
                <a:lnTo>
                  <a:pt x="19024" y="19050"/>
                </a:lnTo>
                <a:cubicBezTo>
                  <a:pt x="19024" y="8529"/>
                  <a:pt x="27553" y="0"/>
                  <a:pt x="38074"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6" name="Graphic 56">
            <a:extLst>
              <a:ext uri="{FF2B5EF4-FFF2-40B4-BE49-F238E27FC236}">
                <a16:creationId xmlns:a16="http://schemas.microsoft.com/office/drawing/2014/main" id="{CD02EF48-8B96-4B80-12FF-21E6FC885AAE}"/>
              </a:ext>
              <a:ext uri="{C183D7F6-B498-43B3-948B-1728B52AA6E4}">
                <adec:decorative xmlns:adec="http://schemas.microsoft.com/office/drawing/2017/decorative" val="1"/>
              </a:ext>
            </a:extLst>
          </p:cNvPr>
          <p:cNvSpPr>
            <a:spLocks/>
          </p:cNvSpPr>
          <p:nvPr/>
        </p:nvSpPr>
        <p:spPr>
          <a:xfrm>
            <a:off x="9073745" y="4902866"/>
            <a:ext cx="315066" cy="283632"/>
          </a:xfrm>
          <a:custGeom>
            <a:avLst/>
            <a:gdLst>
              <a:gd name="connsiteX0" fmla="*/ 121444 w 190546"/>
              <a:gd name="connsiteY0" fmla="*/ 114300 h 171535"/>
              <a:gd name="connsiteX1" fmla="*/ 138113 w 190546"/>
              <a:gd name="connsiteY1" fmla="*/ 130969 h 171535"/>
              <a:gd name="connsiteX2" fmla="*/ 138103 w 190546"/>
              <a:gd name="connsiteY2" fmla="*/ 140132 h 171535"/>
              <a:gd name="connsiteX3" fmla="*/ 95888 w 190546"/>
              <a:gd name="connsiteY3" fmla="*/ 171536 h 171535"/>
              <a:gd name="connsiteX4" fmla="*/ 52388 w 190546"/>
              <a:gd name="connsiteY4" fmla="*/ 140494 h 171535"/>
              <a:gd name="connsiteX5" fmla="*/ 52388 w 190546"/>
              <a:gd name="connsiteY5" fmla="*/ 130969 h 171535"/>
              <a:gd name="connsiteX6" fmla="*/ 69056 w 190546"/>
              <a:gd name="connsiteY6" fmla="*/ 114300 h 171535"/>
              <a:gd name="connsiteX7" fmla="*/ 121444 w 190546"/>
              <a:gd name="connsiteY7" fmla="*/ 114300 h 171535"/>
              <a:gd name="connsiteX8" fmla="*/ 16669 w 190546"/>
              <a:gd name="connsiteY8" fmla="*/ 66675 h 171535"/>
              <a:gd name="connsiteX9" fmla="*/ 58350 w 190546"/>
              <a:gd name="connsiteY9" fmla="*/ 66675 h 171535"/>
              <a:gd name="connsiteX10" fmla="*/ 68513 w 190546"/>
              <a:gd name="connsiteY10" fmla="*/ 103346 h 171535"/>
              <a:gd name="connsiteX11" fmla="*/ 70056 w 190546"/>
              <a:gd name="connsiteY11" fmla="*/ 104785 h 171535"/>
              <a:gd name="connsiteX12" fmla="*/ 69056 w 190546"/>
              <a:gd name="connsiteY12" fmla="*/ 104775 h 171535"/>
              <a:gd name="connsiteX13" fmla="*/ 43825 w 190546"/>
              <a:gd name="connsiteY13" fmla="*/ 123901 h 171535"/>
              <a:gd name="connsiteX14" fmla="*/ 43501 w 190546"/>
              <a:gd name="connsiteY14" fmla="*/ 123911 h 171535"/>
              <a:gd name="connsiteX15" fmla="*/ 0 w 190546"/>
              <a:gd name="connsiteY15" fmla="*/ 92869 h 171535"/>
              <a:gd name="connsiteX16" fmla="*/ 0 w 190546"/>
              <a:gd name="connsiteY16" fmla="*/ 83344 h 171535"/>
              <a:gd name="connsiteX17" fmla="*/ 16669 w 190546"/>
              <a:gd name="connsiteY17" fmla="*/ 66675 h 171535"/>
              <a:gd name="connsiteX18" fmla="*/ 173831 w 190546"/>
              <a:gd name="connsiteY18" fmla="*/ 66675 h 171535"/>
              <a:gd name="connsiteX19" fmla="*/ 190500 w 190546"/>
              <a:gd name="connsiteY19" fmla="*/ 83344 h 171535"/>
              <a:gd name="connsiteX20" fmla="*/ 190490 w 190546"/>
              <a:gd name="connsiteY20" fmla="*/ 92507 h 171535"/>
              <a:gd name="connsiteX21" fmla="*/ 148276 w 190546"/>
              <a:gd name="connsiteY21" fmla="*/ 123911 h 171535"/>
              <a:gd name="connsiteX22" fmla="*/ 146666 w 190546"/>
              <a:gd name="connsiteY22" fmla="*/ 123892 h 171535"/>
              <a:gd name="connsiteX23" fmla="*/ 123320 w 190546"/>
              <a:gd name="connsiteY23" fmla="*/ 104842 h 171535"/>
              <a:gd name="connsiteX24" fmla="*/ 121444 w 190546"/>
              <a:gd name="connsiteY24" fmla="*/ 104775 h 171535"/>
              <a:gd name="connsiteX25" fmla="*/ 120444 w 190546"/>
              <a:gd name="connsiteY25" fmla="*/ 104785 h 171535"/>
              <a:gd name="connsiteX26" fmla="*/ 132150 w 190546"/>
              <a:gd name="connsiteY26" fmla="*/ 66685 h 171535"/>
              <a:gd name="connsiteX27" fmla="*/ 173831 w 190546"/>
              <a:gd name="connsiteY27" fmla="*/ 66675 h 171535"/>
              <a:gd name="connsiteX28" fmla="*/ 95250 w 190546"/>
              <a:gd name="connsiteY28" fmla="*/ 47625 h 171535"/>
              <a:gd name="connsiteX29" fmla="*/ 123825 w 190546"/>
              <a:gd name="connsiteY29" fmla="*/ 76200 h 171535"/>
              <a:gd name="connsiteX30" fmla="*/ 95250 w 190546"/>
              <a:gd name="connsiteY30" fmla="*/ 104775 h 171535"/>
              <a:gd name="connsiteX31" fmla="*/ 66675 w 190546"/>
              <a:gd name="connsiteY31" fmla="*/ 76200 h 171535"/>
              <a:gd name="connsiteX32" fmla="*/ 95250 w 190546"/>
              <a:gd name="connsiteY32" fmla="*/ 47625 h 171535"/>
              <a:gd name="connsiteX33" fmla="*/ 42863 w 190546"/>
              <a:gd name="connsiteY33" fmla="*/ 0 h 171535"/>
              <a:gd name="connsiteX34" fmla="*/ 71438 w 190546"/>
              <a:gd name="connsiteY34" fmla="*/ 28575 h 171535"/>
              <a:gd name="connsiteX35" fmla="*/ 42863 w 190546"/>
              <a:gd name="connsiteY35" fmla="*/ 57150 h 171535"/>
              <a:gd name="connsiteX36" fmla="*/ 14288 w 190546"/>
              <a:gd name="connsiteY36" fmla="*/ 28575 h 171535"/>
              <a:gd name="connsiteX37" fmla="*/ 42863 w 190546"/>
              <a:gd name="connsiteY37" fmla="*/ 0 h 171535"/>
              <a:gd name="connsiteX38" fmla="*/ 147638 w 190546"/>
              <a:gd name="connsiteY38" fmla="*/ 0 h 171535"/>
              <a:gd name="connsiteX39" fmla="*/ 176213 w 190546"/>
              <a:gd name="connsiteY39" fmla="*/ 28575 h 171535"/>
              <a:gd name="connsiteX40" fmla="*/ 147638 w 190546"/>
              <a:gd name="connsiteY40" fmla="*/ 57150 h 171535"/>
              <a:gd name="connsiteX41" fmla="*/ 119063 w 190546"/>
              <a:gd name="connsiteY41" fmla="*/ 28575 h 171535"/>
              <a:gd name="connsiteX42" fmla="*/ 147638 w 190546"/>
              <a:gd name="connsiteY42" fmla="*/ 0 h 17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46" h="171535">
                <a:moveTo>
                  <a:pt x="121444" y="114300"/>
                </a:moveTo>
                <a:cubicBezTo>
                  <a:pt x="130645" y="114300"/>
                  <a:pt x="138113" y="121768"/>
                  <a:pt x="138113" y="130969"/>
                </a:cubicBezTo>
                <a:lnTo>
                  <a:pt x="138103" y="140132"/>
                </a:lnTo>
                <a:cubicBezTo>
                  <a:pt x="139217" y="160992"/>
                  <a:pt x="123711" y="171536"/>
                  <a:pt x="95888" y="171536"/>
                </a:cubicBezTo>
                <a:cubicBezTo>
                  <a:pt x="68170" y="171536"/>
                  <a:pt x="52388" y="161153"/>
                  <a:pt x="52388" y="140494"/>
                </a:cubicBezTo>
                <a:lnTo>
                  <a:pt x="52388" y="130969"/>
                </a:lnTo>
                <a:cubicBezTo>
                  <a:pt x="52388" y="121768"/>
                  <a:pt x="59855" y="114300"/>
                  <a:pt x="69056" y="114300"/>
                </a:cubicBezTo>
                <a:lnTo>
                  <a:pt x="121444" y="114300"/>
                </a:lnTo>
                <a:close/>
                <a:moveTo>
                  <a:pt x="16669" y="66675"/>
                </a:moveTo>
                <a:lnTo>
                  <a:pt x="58350" y="66675"/>
                </a:lnTo>
                <a:cubicBezTo>
                  <a:pt x="54968" y="79837"/>
                  <a:pt x="58839" y="93803"/>
                  <a:pt x="68513" y="103346"/>
                </a:cubicBezTo>
                <a:lnTo>
                  <a:pt x="70056" y="104785"/>
                </a:lnTo>
                <a:lnTo>
                  <a:pt x="69056" y="104775"/>
                </a:lnTo>
                <a:cubicBezTo>
                  <a:pt x="57308" y="104771"/>
                  <a:pt x="46994" y="112589"/>
                  <a:pt x="43825" y="123901"/>
                </a:cubicBezTo>
                <a:lnTo>
                  <a:pt x="43501" y="123911"/>
                </a:lnTo>
                <a:cubicBezTo>
                  <a:pt x="15783" y="123911"/>
                  <a:pt x="0" y="113528"/>
                  <a:pt x="0" y="92869"/>
                </a:cubicBezTo>
                <a:lnTo>
                  <a:pt x="0" y="83344"/>
                </a:lnTo>
                <a:cubicBezTo>
                  <a:pt x="0" y="74143"/>
                  <a:pt x="7468" y="66675"/>
                  <a:pt x="16669" y="66675"/>
                </a:cubicBezTo>
                <a:close/>
                <a:moveTo>
                  <a:pt x="173831" y="66675"/>
                </a:moveTo>
                <a:cubicBezTo>
                  <a:pt x="183032" y="66675"/>
                  <a:pt x="190500" y="74143"/>
                  <a:pt x="190500" y="83344"/>
                </a:cubicBezTo>
                <a:lnTo>
                  <a:pt x="190490" y="92507"/>
                </a:lnTo>
                <a:cubicBezTo>
                  <a:pt x="191605" y="113367"/>
                  <a:pt x="176098" y="123911"/>
                  <a:pt x="148276" y="123911"/>
                </a:cubicBezTo>
                <a:lnTo>
                  <a:pt x="146666" y="123892"/>
                </a:lnTo>
                <a:cubicBezTo>
                  <a:pt x="143666" y="113263"/>
                  <a:pt x="134335" y="105648"/>
                  <a:pt x="123320" y="104842"/>
                </a:cubicBezTo>
                <a:lnTo>
                  <a:pt x="121444" y="104775"/>
                </a:lnTo>
                <a:lnTo>
                  <a:pt x="120444" y="104785"/>
                </a:lnTo>
                <a:cubicBezTo>
                  <a:pt x="131227" y="95314"/>
                  <a:pt x="135755" y="80576"/>
                  <a:pt x="132150" y="66685"/>
                </a:cubicBezTo>
                <a:lnTo>
                  <a:pt x="173831" y="66675"/>
                </a:lnTo>
                <a:close/>
                <a:moveTo>
                  <a:pt x="95250" y="47625"/>
                </a:moveTo>
                <a:cubicBezTo>
                  <a:pt x="111032" y="47625"/>
                  <a:pt x="123825" y="60419"/>
                  <a:pt x="123825" y="76200"/>
                </a:cubicBezTo>
                <a:cubicBezTo>
                  <a:pt x="123825" y="91982"/>
                  <a:pt x="111032" y="104775"/>
                  <a:pt x="95250" y="104775"/>
                </a:cubicBezTo>
                <a:cubicBezTo>
                  <a:pt x="79468" y="104775"/>
                  <a:pt x="66675" y="91982"/>
                  <a:pt x="66675" y="76200"/>
                </a:cubicBezTo>
                <a:cubicBezTo>
                  <a:pt x="66675" y="60419"/>
                  <a:pt x="79468" y="47625"/>
                  <a:pt x="95250" y="47625"/>
                </a:cubicBezTo>
                <a:close/>
                <a:moveTo>
                  <a:pt x="42863" y="0"/>
                </a:moveTo>
                <a:cubicBezTo>
                  <a:pt x="58644" y="0"/>
                  <a:pt x="71438" y="12794"/>
                  <a:pt x="71438" y="28575"/>
                </a:cubicBezTo>
                <a:cubicBezTo>
                  <a:pt x="71438" y="44356"/>
                  <a:pt x="58644" y="57150"/>
                  <a:pt x="42863" y="57150"/>
                </a:cubicBezTo>
                <a:cubicBezTo>
                  <a:pt x="27081" y="57150"/>
                  <a:pt x="14288" y="44356"/>
                  <a:pt x="14288" y="28575"/>
                </a:cubicBezTo>
                <a:cubicBezTo>
                  <a:pt x="14288" y="12794"/>
                  <a:pt x="27081" y="0"/>
                  <a:pt x="42863" y="0"/>
                </a:cubicBezTo>
                <a:close/>
                <a:moveTo>
                  <a:pt x="147638" y="0"/>
                </a:moveTo>
                <a:cubicBezTo>
                  <a:pt x="163419" y="0"/>
                  <a:pt x="176213" y="12794"/>
                  <a:pt x="176213" y="28575"/>
                </a:cubicBezTo>
                <a:cubicBezTo>
                  <a:pt x="176213" y="44356"/>
                  <a:pt x="163419" y="57150"/>
                  <a:pt x="147638" y="57150"/>
                </a:cubicBezTo>
                <a:cubicBezTo>
                  <a:pt x="131856" y="57150"/>
                  <a:pt x="119063" y="44356"/>
                  <a:pt x="119063" y="28575"/>
                </a:cubicBezTo>
                <a:cubicBezTo>
                  <a:pt x="119063" y="12794"/>
                  <a:pt x="131856" y="0"/>
                  <a:pt x="147638"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3" name="Graphic 10">
            <a:extLst>
              <a:ext uri="{FF2B5EF4-FFF2-40B4-BE49-F238E27FC236}">
                <a16:creationId xmlns:a16="http://schemas.microsoft.com/office/drawing/2014/main" id="{5BC0B155-AD97-6B87-78E8-FB7DE7772CDC}"/>
              </a:ext>
              <a:ext uri="{C183D7F6-B498-43B3-948B-1728B52AA6E4}">
                <adec:decorative xmlns:adec="http://schemas.microsoft.com/office/drawing/2017/decorative" val="1"/>
              </a:ext>
            </a:extLst>
          </p:cNvPr>
          <p:cNvSpPr>
            <a:spLocks/>
          </p:cNvSpPr>
          <p:nvPr/>
        </p:nvSpPr>
        <p:spPr>
          <a:xfrm>
            <a:off x="3130860" y="4904527"/>
            <a:ext cx="224248" cy="280310"/>
          </a:xfrm>
          <a:custGeom>
            <a:avLst/>
            <a:gdLst>
              <a:gd name="connsiteX0" fmla="*/ 76200 w 152400"/>
              <a:gd name="connsiteY0" fmla="*/ 76200 h 190500"/>
              <a:gd name="connsiteX1" fmla="*/ 152400 w 152400"/>
              <a:gd name="connsiteY1" fmla="*/ 38100 h 190500"/>
              <a:gd name="connsiteX2" fmla="*/ 76200 w 152400"/>
              <a:gd name="connsiteY2" fmla="*/ 0 h 190500"/>
              <a:gd name="connsiteX3" fmla="*/ 0 w 152400"/>
              <a:gd name="connsiteY3" fmla="*/ 38100 h 190500"/>
              <a:gd name="connsiteX4" fmla="*/ 76200 w 152400"/>
              <a:gd name="connsiteY4" fmla="*/ 76200 h 190500"/>
              <a:gd name="connsiteX5" fmla="*/ 136474 w 152400"/>
              <a:gd name="connsiteY5" fmla="*/ 77819 h 190500"/>
              <a:gd name="connsiteX6" fmla="*/ 152400 w 152400"/>
              <a:gd name="connsiteY6" fmla="*/ 67180 h 190500"/>
              <a:gd name="connsiteX7" fmla="*/ 152400 w 152400"/>
              <a:gd name="connsiteY7" fmla="*/ 152400 h 190500"/>
              <a:gd name="connsiteX8" fmla="*/ 76200 w 152400"/>
              <a:gd name="connsiteY8" fmla="*/ 190500 h 190500"/>
              <a:gd name="connsiteX9" fmla="*/ 0 w 152400"/>
              <a:gd name="connsiteY9" fmla="*/ 152400 h 190500"/>
              <a:gd name="connsiteX10" fmla="*/ 0 w 152400"/>
              <a:gd name="connsiteY10" fmla="*/ 67180 h 190500"/>
              <a:gd name="connsiteX11" fmla="*/ 15926 w 152400"/>
              <a:gd name="connsiteY11" fmla="*/ 77819 h 190500"/>
              <a:gd name="connsiteX12" fmla="*/ 76200 w 152400"/>
              <a:gd name="connsiteY12" fmla="*/ 90488 h 190500"/>
              <a:gd name="connsiteX13" fmla="*/ 136474 w 152400"/>
              <a:gd name="connsiteY13" fmla="*/ 77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52400"/>
                </a:lnTo>
                <a:cubicBezTo>
                  <a:pt x="152400" y="173450"/>
                  <a:pt x="118281"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16" name="Group 15">
            <a:extLst>
              <a:ext uri="{FF2B5EF4-FFF2-40B4-BE49-F238E27FC236}">
                <a16:creationId xmlns:a16="http://schemas.microsoft.com/office/drawing/2014/main" id="{12A92B7F-6D98-F037-3B6C-2300009C1F6D}"/>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18" name="Straight Connector 17">
              <a:extLst>
                <a:ext uri="{FF2B5EF4-FFF2-40B4-BE49-F238E27FC236}">
                  <a16:creationId xmlns:a16="http://schemas.microsoft.com/office/drawing/2014/main" id="{2362AF39-EC4D-87D0-4AB4-EF5D2CF70EE6}"/>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0D32FE-77B9-35AB-A46B-67185828DD79}"/>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4" name="Text Placeholder 11">
            <a:extLst>
              <a:ext uri="{FF2B5EF4-FFF2-40B4-BE49-F238E27FC236}">
                <a16:creationId xmlns:a16="http://schemas.microsoft.com/office/drawing/2014/main" id="{3C47EDBD-132C-315A-83F2-5E2F527D3BDE}"/>
              </a:ext>
              <a:ext uri="{C183D7F6-B498-43B3-948B-1728B52AA6E4}">
                <adec:decorative xmlns:adec="http://schemas.microsoft.com/office/drawing/2017/decorative" val="0"/>
              </a:ext>
            </a:extLst>
          </p:cNvPr>
          <p:cNvSpPr txBox="1">
            <a:spLocks noGrp="1"/>
          </p:cNvSpPr>
          <p:nvPr>
            <p:ph type="title" idx="4294967295"/>
          </p:nvPr>
        </p:nvSpPr>
        <p:spPr>
          <a:xfrm>
            <a:off x="306028" y="2019300"/>
            <a:ext cx="2171700"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PETRONAS drives quality decision-making with fast, easy access to intelligent data hub built on Azure</a:t>
            </a:r>
          </a:p>
        </p:txBody>
      </p:sp>
      <p:pic>
        <p:nvPicPr>
          <p:cNvPr id="2" name="Picture 18" descr="PETRONAS logo">
            <a:extLst>
              <a:ext uri="{FF2B5EF4-FFF2-40B4-BE49-F238E27FC236}">
                <a16:creationId xmlns:a16="http://schemas.microsoft.com/office/drawing/2014/main" id="{11E05D29-AC58-9267-3DD0-4822EA424B24}"/>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28" y="545403"/>
            <a:ext cx="2029293" cy="773933"/>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hlinkClick r:id="rId4"/>
            <a:extLst>
              <a:ext uri="{FF2B5EF4-FFF2-40B4-BE49-F238E27FC236}">
                <a16:creationId xmlns:a16="http://schemas.microsoft.com/office/drawing/2014/main" id="{45E44182-3F97-C30F-3C15-EC4578CB4BA2}"/>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7" name="Picture 6">
            <a:extLst>
              <a:ext uri="{FF2B5EF4-FFF2-40B4-BE49-F238E27FC236}">
                <a16:creationId xmlns:a16="http://schemas.microsoft.com/office/drawing/2014/main" id="{4927F142-2D50-11B8-38D9-147D57BF412F}"/>
              </a:ext>
              <a:ext uri="{C183D7F6-B498-43B3-948B-1728B52AA6E4}">
                <adec:decorative xmlns:adec="http://schemas.microsoft.com/office/drawing/2017/decorative" val="1"/>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32293" y="427803"/>
            <a:ext cx="8638575" cy="2611318"/>
          </a:xfrm>
          <a:prstGeom prst="roundRect">
            <a:avLst>
              <a:gd name="adj" fmla="val 4146"/>
            </a:avLst>
          </a:prstGeom>
        </p:spPr>
      </p:pic>
      <p:sp>
        <p:nvSpPr>
          <p:cNvPr id="12" name="Text Placeholder 9">
            <a:extLst>
              <a:ext uri="{FF2B5EF4-FFF2-40B4-BE49-F238E27FC236}">
                <a16:creationId xmlns:a16="http://schemas.microsoft.com/office/drawing/2014/main" id="{91BF435D-D656-59BD-4D43-7A42BF72410D}"/>
              </a:ext>
              <a:ext uri="{C183D7F6-B498-43B3-948B-1728B52AA6E4}">
                <adec:decorative xmlns:adec="http://schemas.microsoft.com/office/drawing/2017/decorative" val="0"/>
              </a:ext>
            </a:extLst>
          </p:cNvPr>
          <p:cNvSpPr txBox="1">
            <a:spLocks/>
          </p:cNvSpPr>
          <p:nvPr/>
        </p:nvSpPr>
        <p:spPr>
          <a:xfrm>
            <a:off x="3133725" y="3207069"/>
            <a:ext cx="8635710" cy="9079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Our employees in different departments can draw new insights, discover new ideas, and take innovative actions without any need for coding knowledge to analyze data.”</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Datin Habsah Nordin,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Head, Enterprise Data, PETRONAS</a:t>
            </a:r>
          </a:p>
        </p:txBody>
      </p:sp>
      <p:sp>
        <p:nvSpPr>
          <p:cNvPr id="5" name="TextBox 24_1">
            <a:extLst>
              <a:ext uri="{FF2B5EF4-FFF2-40B4-BE49-F238E27FC236}">
                <a16:creationId xmlns:a16="http://schemas.microsoft.com/office/drawing/2014/main" id="{071E4A0D-EDD5-25AB-7EB2-1B3C39FC3B4C}"/>
              </a:ext>
              <a:ext uri="{C183D7F6-B498-43B3-948B-1728B52AA6E4}">
                <adec:decorative xmlns:adec="http://schemas.microsoft.com/office/drawing/2017/decorative" val="0"/>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8" name="TextBox 7">
            <a:extLst>
              <a:ext uri="{FF2B5EF4-FFF2-40B4-BE49-F238E27FC236}">
                <a16:creationId xmlns:a16="http://schemas.microsoft.com/office/drawing/2014/main" id="{4489178B-C8B0-5250-CC09-F104886DDED6}"/>
              </a:ext>
              <a:ext uri="{C183D7F6-B498-43B3-948B-1728B52AA6E4}">
                <adec:decorative xmlns:adec="http://schemas.microsoft.com/office/drawing/2017/decorative" val="0"/>
              </a:ext>
            </a:extLst>
          </p:cNvPr>
          <p:cNvSpPr txBox="1">
            <a:spLocks/>
          </p:cNvSpPr>
          <p:nvPr/>
        </p:nvSpPr>
        <p:spPr>
          <a:xfrm>
            <a:off x="3130860" y="5291424"/>
            <a:ext cx="2695690" cy="99001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Liberalized data on a unified platform</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ade data available and accessible to everyone at the company through a unified platform supported by Microsoft Azure</a:t>
            </a:r>
          </a:p>
        </p:txBody>
      </p:sp>
      <p:sp>
        <p:nvSpPr>
          <p:cNvPr id="9" name="TextBox 8">
            <a:extLst>
              <a:ext uri="{FF2B5EF4-FFF2-40B4-BE49-F238E27FC236}">
                <a16:creationId xmlns:a16="http://schemas.microsoft.com/office/drawing/2014/main" id="{30FC6393-AB24-1B7E-33BB-7B8D36E8FEE0}"/>
              </a:ext>
              <a:ext uri="{C183D7F6-B498-43B3-948B-1728B52AA6E4}">
                <adec:decorative xmlns:adec="http://schemas.microsoft.com/office/drawing/2017/decorative" val="0"/>
              </a:ext>
            </a:extLst>
          </p:cNvPr>
          <p:cNvSpPr txBox="1">
            <a:spLocks/>
          </p:cNvSpPr>
          <p:nvPr/>
        </p:nvSpPr>
        <p:spPr>
          <a:xfrm>
            <a:off x="6102302" y="5291424"/>
            <a:ext cx="2695690" cy="8207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abled enterprise analytics </a:t>
            </a:r>
            <a:br>
              <a:rPr kumimoji="0" lang="en-US" sz="1400" b="0" i="0" u="none" strike="noStrike" kern="1200" cap="none" spc="0" normalizeH="0" baseline="0" noProof="0">
                <a:ln>
                  <a:noFill/>
                </a:ln>
                <a:solidFill>
                  <a:srgbClr val="0078D4"/>
                </a:solidFill>
                <a:effectLst/>
                <a:uLnTx/>
                <a:uFillTx/>
                <a:latin typeface="Segoe UI Semibold"/>
                <a:ea typeface="+mn-ea"/>
                <a:cs typeface="+mn-cs"/>
              </a:rPr>
            </a:br>
            <a:r>
              <a:rPr kumimoji="0" lang="en-US" sz="1400" b="0" i="0" u="none" strike="noStrike" kern="1200" cap="none" spc="0" normalizeH="0" baseline="0" noProof="0">
                <a:ln>
                  <a:noFill/>
                </a:ln>
                <a:solidFill>
                  <a:srgbClr val="0078D4"/>
                </a:solidFill>
                <a:effectLst/>
                <a:uLnTx/>
                <a:uFillTx/>
                <a:latin typeface="Segoe UI Semibold"/>
                <a:ea typeface="+mn-ea"/>
                <a:cs typeface="+mn-cs"/>
              </a:rPr>
              <a:t>at scal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90% of users reported spending a shorter amount of time to get information</a:t>
            </a:r>
          </a:p>
        </p:txBody>
      </p:sp>
      <p:sp>
        <p:nvSpPr>
          <p:cNvPr id="10" name="TextBox 9">
            <a:extLst>
              <a:ext uri="{FF2B5EF4-FFF2-40B4-BE49-F238E27FC236}">
                <a16:creationId xmlns:a16="http://schemas.microsoft.com/office/drawing/2014/main" id="{64F1E4E9-D29E-9645-D67B-713DB7D2C7F9}"/>
              </a:ext>
              <a:ext uri="{C183D7F6-B498-43B3-948B-1728B52AA6E4}">
                <adec:decorative xmlns:adec="http://schemas.microsoft.com/office/drawing/2017/decorative" val="0"/>
              </a:ext>
            </a:extLst>
          </p:cNvPr>
          <p:cNvSpPr txBox="1">
            <a:spLocks/>
          </p:cNvSpPr>
          <p:nvPr/>
        </p:nvSpPr>
        <p:spPr>
          <a:xfrm>
            <a:off x="9073745" y="5291424"/>
            <a:ext cx="2695690" cy="60529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mpowered employe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mpowered employees to use actionable insights for improved decision-making</a:t>
            </a:r>
          </a:p>
        </p:txBody>
      </p:sp>
    </p:spTree>
    <p:extLst>
      <p:ext uri="{BB962C8B-B14F-4D97-AF65-F5344CB8AC3E}">
        <p14:creationId xmlns:p14="http://schemas.microsoft.com/office/powerpoint/2010/main" val="28221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B0DF6-2ED8-5B72-A039-807001FA81E9}"/>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8231D9C9-4888-DE27-56D0-999160347CDE}"/>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2" name="Rectangle: Rounded Corners 1">
            <a:extLst>
              <a:ext uri="{FF2B5EF4-FFF2-40B4-BE49-F238E27FC236}">
                <a16:creationId xmlns:a16="http://schemas.microsoft.com/office/drawing/2014/main" id="{F40FD14A-1C0F-273C-99E7-6C05518699BC}"/>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47" name="Graphic 48">
            <a:extLst>
              <a:ext uri="{FF2B5EF4-FFF2-40B4-BE49-F238E27FC236}">
                <a16:creationId xmlns:a16="http://schemas.microsoft.com/office/drawing/2014/main" id="{21F9A112-7490-4096-CB38-87FCE4516AEB}"/>
              </a:ext>
              <a:ext uri="{C183D7F6-B498-43B3-948B-1728B52AA6E4}">
                <adec:decorative xmlns:adec="http://schemas.microsoft.com/office/drawing/2017/decorative" val="1"/>
              </a:ext>
            </a:extLst>
          </p:cNvPr>
          <p:cNvSpPr>
            <a:spLocks/>
          </p:cNvSpPr>
          <p:nvPr/>
        </p:nvSpPr>
        <p:spPr>
          <a:xfrm>
            <a:off x="9099635" y="4920458"/>
            <a:ext cx="248452" cy="248448"/>
          </a:xfrm>
          <a:custGeom>
            <a:avLst/>
            <a:gdLst>
              <a:gd name="connsiteX0" fmla="*/ 0 w 1116321"/>
              <a:gd name="connsiteY0" fmla="*/ 46513 h 1116321"/>
              <a:gd name="connsiteX1" fmla="*/ 46513 w 1116321"/>
              <a:gd name="connsiteY1" fmla="*/ 0 h 1116321"/>
              <a:gd name="connsiteX2" fmla="*/ 93027 w 1116321"/>
              <a:gd name="connsiteY2" fmla="*/ 46513 h 1116321"/>
              <a:gd name="connsiteX3" fmla="*/ 93027 w 1116321"/>
              <a:gd name="connsiteY3" fmla="*/ 1023294 h 1116321"/>
              <a:gd name="connsiteX4" fmla="*/ 1069808 w 1116321"/>
              <a:gd name="connsiteY4" fmla="*/ 1023294 h 1116321"/>
              <a:gd name="connsiteX5" fmla="*/ 1116321 w 1116321"/>
              <a:gd name="connsiteY5" fmla="*/ 1069808 h 1116321"/>
              <a:gd name="connsiteX6" fmla="*/ 1069808 w 1116321"/>
              <a:gd name="connsiteY6" fmla="*/ 1116321 h 1116321"/>
              <a:gd name="connsiteX7" fmla="*/ 46513 w 1116321"/>
              <a:gd name="connsiteY7" fmla="*/ 1116321 h 1116321"/>
              <a:gd name="connsiteX8" fmla="*/ 0 w 1116321"/>
              <a:gd name="connsiteY8" fmla="*/ 1069808 h 1116321"/>
              <a:gd name="connsiteX9" fmla="*/ 0 w 1116321"/>
              <a:gd name="connsiteY9" fmla="*/ 46513 h 1116321"/>
              <a:gd name="connsiteX10" fmla="*/ 1023294 w 1116321"/>
              <a:gd name="connsiteY10" fmla="*/ 232567 h 1116321"/>
              <a:gd name="connsiteX11" fmla="*/ 997582 w 1116321"/>
              <a:gd name="connsiteY11" fmla="*/ 190964 h 1116321"/>
              <a:gd name="connsiteX12" fmla="*/ 948873 w 1116321"/>
              <a:gd name="connsiteY12" fmla="*/ 195356 h 1116321"/>
              <a:gd name="connsiteX13" fmla="*/ 601554 w 1116321"/>
              <a:gd name="connsiteY13" fmla="*/ 455850 h 1116321"/>
              <a:gd name="connsiteX14" fmla="*/ 364683 w 1116321"/>
              <a:gd name="connsiteY14" fmla="*/ 316511 h 1116321"/>
              <a:gd name="connsiteX15" fmla="*/ 320298 w 1116321"/>
              <a:gd name="connsiteY15" fmla="*/ 315000 h 1116321"/>
              <a:gd name="connsiteX16" fmla="*/ 155045 w 1116321"/>
              <a:gd name="connsiteY16" fmla="*/ 397626 h 1116321"/>
              <a:gd name="connsiteX17" fmla="*/ 155045 w 1116321"/>
              <a:gd name="connsiteY17" fmla="*/ 961276 h 1116321"/>
              <a:gd name="connsiteX18" fmla="*/ 1023294 w 1116321"/>
              <a:gd name="connsiteY18" fmla="*/ 961276 h 1116321"/>
              <a:gd name="connsiteX19" fmla="*/ 1023294 w 1116321"/>
              <a:gd name="connsiteY19" fmla="*/ 232567 h 111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6321" h="1116321">
                <a:moveTo>
                  <a:pt x="0" y="46513"/>
                </a:moveTo>
                <a:cubicBezTo>
                  <a:pt x="0" y="20825"/>
                  <a:pt x="20825" y="0"/>
                  <a:pt x="46513" y="0"/>
                </a:cubicBezTo>
                <a:cubicBezTo>
                  <a:pt x="72202" y="0"/>
                  <a:pt x="93027" y="20825"/>
                  <a:pt x="93027" y="46513"/>
                </a:cubicBezTo>
                <a:lnTo>
                  <a:pt x="93027" y="1023294"/>
                </a:lnTo>
                <a:lnTo>
                  <a:pt x="1069808" y="1023294"/>
                </a:lnTo>
                <a:cubicBezTo>
                  <a:pt x="1095495" y="1023294"/>
                  <a:pt x="1116321" y="1044120"/>
                  <a:pt x="1116321" y="1069808"/>
                </a:cubicBezTo>
                <a:cubicBezTo>
                  <a:pt x="1116321" y="1095495"/>
                  <a:pt x="1095495" y="1116321"/>
                  <a:pt x="1069808" y="1116321"/>
                </a:cubicBezTo>
                <a:lnTo>
                  <a:pt x="46513" y="1116321"/>
                </a:lnTo>
                <a:cubicBezTo>
                  <a:pt x="20825" y="1116321"/>
                  <a:pt x="0" y="1095495"/>
                  <a:pt x="0" y="1069808"/>
                </a:cubicBezTo>
                <a:lnTo>
                  <a:pt x="0" y="46513"/>
                </a:lnTo>
                <a:close/>
                <a:moveTo>
                  <a:pt x="1023294" y="232567"/>
                </a:moveTo>
                <a:cubicBezTo>
                  <a:pt x="1023294" y="214949"/>
                  <a:pt x="1013340" y="198843"/>
                  <a:pt x="997582" y="190964"/>
                </a:cubicBezTo>
                <a:cubicBezTo>
                  <a:pt x="981823" y="183085"/>
                  <a:pt x="962970" y="184785"/>
                  <a:pt x="948873" y="195356"/>
                </a:cubicBezTo>
                <a:lnTo>
                  <a:pt x="601554" y="455850"/>
                </a:lnTo>
                <a:lnTo>
                  <a:pt x="364683" y="316511"/>
                </a:lnTo>
                <a:cubicBezTo>
                  <a:pt x="351099" y="308521"/>
                  <a:pt x="334393" y="307952"/>
                  <a:pt x="320298" y="315000"/>
                </a:cubicBezTo>
                <a:lnTo>
                  <a:pt x="155045" y="397626"/>
                </a:lnTo>
                <a:lnTo>
                  <a:pt x="155045" y="961276"/>
                </a:lnTo>
                <a:lnTo>
                  <a:pt x="1023294" y="961276"/>
                </a:lnTo>
                <a:lnTo>
                  <a:pt x="1023294" y="232567"/>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48" name="Graphic 77">
            <a:extLst>
              <a:ext uri="{FF2B5EF4-FFF2-40B4-BE49-F238E27FC236}">
                <a16:creationId xmlns:a16="http://schemas.microsoft.com/office/drawing/2014/main" id="{526338FE-66AD-988E-7DC4-EBEB1DCD8BAA}"/>
              </a:ext>
              <a:ext uri="{C183D7F6-B498-43B3-948B-1728B52AA6E4}">
                <adec:decorative xmlns:adec="http://schemas.microsoft.com/office/drawing/2017/decorative" val="1"/>
              </a:ext>
            </a:extLst>
          </p:cNvPr>
          <p:cNvSpPr>
            <a:spLocks/>
          </p:cNvSpPr>
          <p:nvPr/>
        </p:nvSpPr>
        <p:spPr>
          <a:xfrm>
            <a:off x="3154116" y="4918014"/>
            <a:ext cx="223176" cy="253336"/>
          </a:xfrm>
          <a:custGeom>
            <a:avLst/>
            <a:gdLst>
              <a:gd name="connsiteX0" fmla="*/ 128588 w 176212"/>
              <a:gd name="connsiteY0" fmla="*/ 95250 h 200026"/>
              <a:gd name="connsiteX1" fmla="*/ 136779 w 176212"/>
              <a:gd name="connsiteY1" fmla="*/ 95936 h 200026"/>
              <a:gd name="connsiteX2" fmla="*/ 138436 w 176212"/>
              <a:gd name="connsiteY2" fmla="*/ 102756 h 200026"/>
              <a:gd name="connsiteX3" fmla="*/ 161420 w 176212"/>
              <a:gd name="connsiteY3" fmla="*/ 116805 h 200026"/>
              <a:gd name="connsiteX4" fmla="*/ 162354 w 176212"/>
              <a:gd name="connsiteY4" fmla="*/ 116557 h 200026"/>
              <a:gd name="connsiteX5" fmla="*/ 168078 w 176212"/>
              <a:gd name="connsiteY5" fmla="*/ 114852 h 200026"/>
              <a:gd name="connsiteX6" fmla="*/ 176213 w 176212"/>
              <a:gd name="connsiteY6" fmla="*/ 129807 h 200026"/>
              <a:gd name="connsiteX7" fmla="*/ 171955 w 176212"/>
              <a:gd name="connsiteY7" fmla="*/ 133902 h 200026"/>
              <a:gd name="connsiteX8" fmla="*/ 170336 w 176212"/>
              <a:gd name="connsiteY8" fmla="*/ 159620 h 200026"/>
              <a:gd name="connsiteX9" fmla="*/ 171688 w 176212"/>
              <a:gd name="connsiteY9" fmla="*/ 161106 h 200026"/>
              <a:gd name="connsiteX10" fmla="*/ 176213 w 176212"/>
              <a:gd name="connsiteY10" fmla="*/ 165459 h 200026"/>
              <a:gd name="connsiteX11" fmla="*/ 168088 w 176212"/>
              <a:gd name="connsiteY11" fmla="*/ 180413 h 200026"/>
              <a:gd name="connsiteX12" fmla="*/ 162354 w 176212"/>
              <a:gd name="connsiteY12" fmla="*/ 178718 h 200026"/>
              <a:gd name="connsiteX13" fmla="*/ 138684 w 176212"/>
              <a:gd name="connsiteY13" fmla="*/ 191585 h 200026"/>
              <a:gd name="connsiteX14" fmla="*/ 138684 w 176212"/>
              <a:gd name="connsiteY14" fmla="*/ 191586 h 200026"/>
              <a:gd name="connsiteX15" fmla="*/ 138436 w 176212"/>
              <a:gd name="connsiteY15" fmla="*/ 192519 h 200026"/>
              <a:gd name="connsiteX16" fmla="*/ 136789 w 176212"/>
              <a:gd name="connsiteY16" fmla="*/ 199339 h 200026"/>
              <a:gd name="connsiteX17" fmla="*/ 120377 w 176212"/>
              <a:gd name="connsiteY17" fmla="*/ 199339 h 200026"/>
              <a:gd name="connsiteX18" fmla="*/ 118739 w 176212"/>
              <a:gd name="connsiteY18" fmla="*/ 192519 h 200026"/>
              <a:gd name="connsiteX19" fmla="*/ 95755 w 176212"/>
              <a:gd name="connsiteY19" fmla="*/ 178470 h 200026"/>
              <a:gd name="connsiteX20" fmla="*/ 94821 w 176212"/>
              <a:gd name="connsiteY20" fmla="*/ 178718 h 200026"/>
              <a:gd name="connsiteX21" fmla="*/ 89087 w 176212"/>
              <a:gd name="connsiteY21" fmla="*/ 180413 h 200026"/>
              <a:gd name="connsiteX22" fmla="*/ 80963 w 176212"/>
              <a:gd name="connsiteY22" fmla="*/ 165459 h 200026"/>
              <a:gd name="connsiteX23" fmla="*/ 85220 w 176212"/>
              <a:gd name="connsiteY23" fmla="*/ 161363 h 200026"/>
              <a:gd name="connsiteX24" fmla="*/ 86839 w 176212"/>
              <a:gd name="connsiteY24" fmla="*/ 135665 h 200026"/>
              <a:gd name="connsiteX25" fmla="*/ 85487 w 176212"/>
              <a:gd name="connsiteY25" fmla="*/ 134169 h 200026"/>
              <a:gd name="connsiteX26" fmla="*/ 80963 w 176212"/>
              <a:gd name="connsiteY26" fmla="*/ 129816 h 200026"/>
              <a:gd name="connsiteX27" fmla="*/ 89087 w 176212"/>
              <a:gd name="connsiteY27" fmla="*/ 114862 h 200026"/>
              <a:gd name="connsiteX28" fmla="*/ 94821 w 176212"/>
              <a:gd name="connsiteY28" fmla="*/ 116557 h 200026"/>
              <a:gd name="connsiteX29" fmla="*/ 118491 w 176212"/>
              <a:gd name="connsiteY29" fmla="*/ 103690 h 200026"/>
              <a:gd name="connsiteX30" fmla="*/ 118491 w 176212"/>
              <a:gd name="connsiteY30" fmla="*/ 103689 h 200026"/>
              <a:gd name="connsiteX31" fmla="*/ 118739 w 176212"/>
              <a:gd name="connsiteY31" fmla="*/ 102756 h 200026"/>
              <a:gd name="connsiteX32" fmla="*/ 120377 w 176212"/>
              <a:gd name="connsiteY32" fmla="*/ 95936 h 200026"/>
              <a:gd name="connsiteX33" fmla="*/ 128588 w 176212"/>
              <a:gd name="connsiteY33" fmla="*/ 95250 h 200026"/>
              <a:gd name="connsiteX34" fmla="*/ 92869 w 176212"/>
              <a:gd name="connsiteY34" fmla="*/ 0 h 200026"/>
              <a:gd name="connsiteX35" fmla="*/ 114300 w 176212"/>
              <a:gd name="connsiteY35" fmla="*/ 21431 h 200026"/>
              <a:gd name="connsiteX36" fmla="*/ 114300 w 176212"/>
              <a:gd name="connsiteY36" fmla="*/ 87382 h 200026"/>
              <a:gd name="connsiteX37" fmla="*/ 66866 w 176212"/>
              <a:gd name="connsiteY37" fmla="*/ 152400 h 200026"/>
              <a:gd name="connsiteX38" fmla="*/ 45244 w 176212"/>
              <a:gd name="connsiteY38" fmla="*/ 152400 h 200026"/>
              <a:gd name="connsiteX39" fmla="*/ 38102 w 176212"/>
              <a:gd name="connsiteY39" fmla="*/ 159546 h 200026"/>
              <a:gd name="connsiteX40" fmla="*/ 44272 w 176212"/>
              <a:gd name="connsiteY40" fmla="*/ 166621 h 200026"/>
              <a:gd name="connsiteX41" fmla="*/ 45244 w 176212"/>
              <a:gd name="connsiteY41" fmla="*/ 166688 h 200026"/>
              <a:gd name="connsiteX42" fmla="*/ 69056 w 176212"/>
              <a:gd name="connsiteY42" fmla="*/ 166688 h 200026"/>
              <a:gd name="connsiteX43" fmla="*/ 69647 w 176212"/>
              <a:gd name="connsiteY43" fmla="*/ 166659 h 200026"/>
              <a:gd name="connsiteX44" fmla="*/ 83915 w 176212"/>
              <a:gd name="connsiteY44" fmla="*/ 190500 h 200026"/>
              <a:gd name="connsiteX45" fmla="*/ 21431 w 176212"/>
              <a:gd name="connsiteY45" fmla="*/ 190500 h 200026"/>
              <a:gd name="connsiteX46" fmla="*/ 0 w 176212"/>
              <a:gd name="connsiteY46" fmla="*/ 169069 h 200026"/>
              <a:gd name="connsiteX47" fmla="*/ 0 w 176212"/>
              <a:gd name="connsiteY47" fmla="*/ 21431 h 200026"/>
              <a:gd name="connsiteX48" fmla="*/ 21431 w 176212"/>
              <a:gd name="connsiteY48" fmla="*/ 0 h 200026"/>
              <a:gd name="connsiteX49" fmla="*/ 92869 w 176212"/>
              <a:gd name="connsiteY49" fmla="*/ 0 h 200026"/>
              <a:gd name="connsiteX50" fmla="*/ 128588 w 176212"/>
              <a:gd name="connsiteY50" fmla="*/ 133350 h 200026"/>
              <a:gd name="connsiteX51" fmla="*/ 114776 w 176212"/>
              <a:gd name="connsiteY51" fmla="*/ 147638 h 200026"/>
              <a:gd name="connsiteX52" fmla="*/ 128588 w 176212"/>
              <a:gd name="connsiteY52" fmla="*/ 161925 h 200026"/>
              <a:gd name="connsiteX53" fmla="*/ 142399 w 176212"/>
              <a:gd name="connsiteY53" fmla="*/ 147638 h 200026"/>
              <a:gd name="connsiteX54" fmla="*/ 128588 w 176212"/>
              <a:gd name="connsiteY54" fmla="*/ 133350 h 20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76212" h="200026">
                <a:moveTo>
                  <a:pt x="128588" y="95250"/>
                </a:moveTo>
                <a:cubicBezTo>
                  <a:pt x="131378" y="95250"/>
                  <a:pt x="134112" y="95479"/>
                  <a:pt x="136779" y="95936"/>
                </a:cubicBezTo>
                <a:lnTo>
                  <a:pt x="138436" y="102756"/>
                </a:lnTo>
                <a:cubicBezTo>
                  <a:pt x="140904" y="112982"/>
                  <a:pt x="151194" y="119271"/>
                  <a:pt x="161420" y="116805"/>
                </a:cubicBezTo>
                <a:lnTo>
                  <a:pt x="162354" y="116557"/>
                </a:lnTo>
                <a:lnTo>
                  <a:pt x="168078" y="114852"/>
                </a:lnTo>
                <a:cubicBezTo>
                  <a:pt x="171536" y="119301"/>
                  <a:pt x="174298" y="124349"/>
                  <a:pt x="176213" y="129807"/>
                </a:cubicBezTo>
                <a:lnTo>
                  <a:pt x="171955" y="133902"/>
                </a:lnTo>
                <a:cubicBezTo>
                  <a:pt x="164820" y="140754"/>
                  <a:pt x="164116" y="151928"/>
                  <a:pt x="170336" y="159620"/>
                </a:cubicBezTo>
                <a:lnTo>
                  <a:pt x="171688" y="161106"/>
                </a:lnTo>
                <a:lnTo>
                  <a:pt x="176213" y="165459"/>
                </a:lnTo>
                <a:cubicBezTo>
                  <a:pt x="174308" y="170926"/>
                  <a:pt x="171545" y="175965"/>
                  <a:pt x="168088" y="180413"/>
                </a:cubicBezTo>
                <a:lnTo>
                  <a:pt x="162354" y="178718"/>
                </a:lnTo>
                <a:cubicBezTo>
                  <a:pt x="152265" y="175734"/>
                  <a:pt x="141667" y="181496"/>
                  <a:pt x="138684" y="191585"/>
                </a:cubicBezTo>
                <a:cubicBezTo>
                  <a:pt x="138684" y="191585"/>
                  <a:pt x="138684" y="191586"/>
                  <a:pt x="138684" y="191586"/>
                </a:cubicBezTo>
                <a:lnTo>
                  <a:pt x="138436" y="192519"/>
                </a:lnTo>
                <a:lnTo>
                  <a:pt x="136789" y="199339"/>
                </a:lnTo>
                <a:cubicBezTo>
                  <a:pt x="131356" y="200256"/>
                  <a:pt x="125809" y="200256"/>
                  <a:pt x="120377" y="199339"/>
                </a:cubicBezTo>
                <a:lnTo>
                  <a:pt x="118739" y="192519"/>
                </a:lnTo>
                <a:cubicBezTo>
                  <a:pt x="116271" y="182293"/>
                  <a:pt x="105981" y="176004"/>
                  <a:pt x="95755" y="178470"/>
                </a:cubicBezTo>
                <a:lnTo>
                  <a:pt x="94821" y="178718"/>
                </a:lnTo>
                <a:lnTo>
                  <a:pt x="89087" y="180413"/>
                </a:lnTo>
                <a:cubicBezTo>
                  <a:pt x="85589" y="175900"/>
                  <a:pt x="82845" y="170850"/>
                  <a:pt x="80963" y="165459"/>
                </a:cubicBezTo>
                <a:lnTo>
                  <a:pt x="85220" y="161363"/>
                </a:lnTo>
                <a:cubicBezTo>
                  <a:pt x="92344" y="154514"/>
                  <a:pt x="93047" y="143354"/>
                  <a:pt x="86839" y="135665"/>
                </a:cubicBezTo>
                <a:lnTo>
                  <a:pt x="85487" y="134169"/>
                </a:lnTo>
                <a:lnTo>
                  <a:pt x="80963" y="129816"/>
                </a:lnTo>
                <a:cubicBezTo>
                  <a:pt x="82868" y="124349"/>
                  <a:pt x="85630" y="119310"/>
                  <a:pt x="89087" y="114862"/>
                </a:cubicBezTo>
                <a:lnTo>
                  <a:pt x="94821" y="116557"/>
                </a:lnTo>
                <a:cubicBezTo>
                  <a:pt x="104910" y="119541"/>
                  <a:pt x="115508" y="113779"/>
                  <a:pt x="118491" y="103690"/>
                </a:cubicBezTo>
                <a:cubicBezTo>
                  <a:pt x="118491" y="103690"/>
                  <a:pt x="118491" y="103689"/>
                  <a:pt x="118491" y="103689"/>
                </a:cubicBezTo>
                <a:lnTo>
                  <a:pt x="118739" y="102756"/>
                </a:lnTo>
                <a:lnTo>
                  <a:pt x="120377" y="95936"/>
                </a:lnTo>
                <a:cubicBezTo>
                  <a:pt x="123044" y="95488"/>
                  <a:pt x="125797" y="95250"/>
                  <a:pt x="128588" y="95250"/>
                </a:cubicBezTo>
                <a:close/>
                <a:moveTo>
                  <a:pt x="92869" y="0"/>
                </a:moveTo>
                <a:cubicBezTo>
                  <a:pt x="104705" y="0"/>
                  <a:pt x="114300" y="9595"/>
                  <a:pt x="114300" y="21431"/>
                </a:cubicBezTo>
                <a:lnTo>
                  <a:pt x="114300" y="87382"/>
                </a:lnTo>
                <a:cubicBezTo>
                  <a:pt x="84645" y="94431"/>
                  <a:pt x="64525" y="122009"/>
                  <a:pt x="66866" y="152400"/>
                </a:cubicBezTo>
                <a:lnTo>
                  <a:pt x="45244" y="152400"/>
                </a:lnTo>
                <a:cubicBezTo>
                  <a:pt x="41298" y="152401"/>
                  <a:pt x="38101" y="155600"/>
                  <a:pt x="38102" y="159546"/>
                </a:cubicBezTo>
                <a:cubicBezTo>
                  <a:pt x="38103" y="163115"/>
                  <a:pt x="40737" y="166134"/>
                  <a:pt x="44272" y="166621"/>
                </a:cubicBezTo>
                <a:lnTo>
                  <a:pt x="45244" y="166688"/>
                </a:lnTo>
                <a:lnTo>
                  <a:pt x="69056" y="166688"/>
                </a:lnTo>
                <a:lnTo>
                  <a:pt x="69647" y="166659"/>
                </a:lnTo>
                <a:cubicBezTo>
                  <a:pt x="72534" y="175585"/>
                  <a:pt x="77413" y="183737"/>
                  <a:pt x="83915" y="190500"/>
                </a:cubicBezTo>
                <a:lnTo>
                  <a:pt x="21431" y="190500"/>
                </a:lnTo>
                <a:cubicBezTo>
                  <a:pt x="9595" y="190500"/>
                  <a:pt x="0" y="180905"/>
                  <a:pt x="0" y="169069"/>
                </a:cubicBezTo>
                <a:lnTo>
                  <a:pt x="0" y="21431"/>
                </a:lnTo>
                <a:cubicBezTo>
                  <a:pt x="0" y="9595"/>
                  <a:pt x="9595" y="0"/>
                  <a:pt x="21431" y="0"/>
                </a:cubicBezTo>
                <a:lnTo>
                  <a:pt x="92869" y="0"/>
                </a:lnTo>
                <a:close/>
                <a:moveTo>
                  <a:pt x="128588" y="133350"/>
                </a:moveTo>
                <a:cubicBezTo>
                  <a:pt x="120968" y="133350"/>
                  <a:pt x="114776" y="139751"/>
                  <a:pt x="114776" y="147638"/>
                </a:cubicBezTo>
                <a:cubicBezTo>
                  <a:pt x="114776" y="155524"/>
                  <a:pt x="120968" y="161925"/>
                  <a:pt x="128588" y="161925"/>
                </a:cubicBezTo>
                <a:cubicBezTo>
                  <a:pt x="136208" y="161925"/>
                  <a:pt x="142399" y="155524"/>
                  <a:pt x="142399" y="147638"/>
                </a:cubicBezTo>
                <a:cubicBezTo>
                  <a:pt x="142399" y="139751"/>
                  <a:pt x="136208" y="133350"/>
                  <a:pt x="128588" y="13335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 name="Graphic 147">
            <a:extLst>
              <a:ext uri="{FF2B5EF4-FFF2-40B4-BE49-F238E27FC236}">
                <a16:creationId xmlns:a16="http://schemas.microsoft.com/office/drawing/2014/main" id="{FC1AF7F1-19DF-7ADA-D58E-7A45B0759BBD}"/>
              </a:ext>
              <a:ext uri="{C183D7F6-B498-43B3-948B-1728B52AA6E4}">
                <adec:decorative xmlns:adec="http://schemas.microsoft.com/office/drawing/2017/decorative" val="1"/>
              </a:ext>
            </a:extLst>
          </p:cNvPr>
          <p:cNvSpPr>
            <a:spLocks/>
          </p:cNvSpPr>
          <p:nvPr/>
        </p:nvSpPr>
        <p:spPr>
          <a:xfrm>
            <a:off x="6125078" y="4908066"/>
            <a:ext cx="218572" cy="273232"/>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8" name="Group 7">
            <a:extLst>
              <a:ext uri="{FF2B5EF4-FFF2-40B4-BE49-F238E27FC236}">
                <a16:creationId xmlns:a16="http://schemas.microsoft.com/office/drawing/2014/main" id="{8691FEB0-416E-9B6B-B1FC-E3E1B4F0881B}"/>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10" name="Straight Connector 9">
              <a:extLst>
                <a:ext uri="{FF2B5EF4-FFF2-40B4-BE49-F238E27FC236}">
                  <a16:creationId xmlns:a16="http://schemas.microsoft.com/office/drawing/2014/main" id="{97E6D58B-123A-D8A7-D1DC-4EBBD3E54DF5}"/>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D0A0CB8-BC62-9EE1-C311-83BFBA6FE607}"/>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11">
            <a:extLst>
              <a:ext uri="{FF2B5EF4-FFF2-40B4-BE49-F238E27FC236}">
                <a16:creationId xmlns:a16="http://schemas.microsoft.com/office/drawing/2014/main" id="{1708A0CC-438A-B3FC-149B-09D9ED467506}"/>
              </a:ext>
            </a:extLst>
          </p:cNvPr>
          <p:cNvSpPr txBox="1">
            <a:spLocks noGrp="1"/>
          </p:cNvSpPr>
          <p:nvPr>
            <p:ph type="title" idx="4294967295"/>
          </p:nvPr>
        </p:nvSpPr>
        <p:spPr>
          <a:xfrm>
            <a:off x="306028" y="2019300"/>
            <a:ext cx="2551113" cy="18462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err="1">
                <a:ln>
                  <a:noFill/>
                </a:ln>
                <a:effectLst/>
                <a:uLnTx/>
                <a:uFillTx/>
                <a:latin typeface="+mj-lt"/>
                <a:ea typeface="+mj-ea"/>
                <a:cs typeface="+mj-cs"/>
              </a:rPr>
              <a:t>Enerjisa</a:t>
            </a:r>
            <a:r>
              <a:rPr kumimoji="0" lang="en-US" sz="2000" i="0" u="none" strike="noStrike" kern="1200" cap="none" spc="0" normalizeH="0" baseline="0" noProof="0">
                <a:ln>
                  <a:noFill/>
                </a:ln>
                <a:effectLst/>
                <a:uLnTx/>
                <a:uFillTx/>
                <a:latin typeface="+mj-lt"/>
                <a:ea typeface="+mj-ea"/>
                <a:cs typeface="+mj-cs"/>
              </a:rPr>
              <a:t> </a:t>
            </a:r>
            <a:r>
              <a:rPr kumimoji="0" lang="en-US" sz="2000" i="0" u="none" strike="noStrike" kern="1200" cap="none" spc="0" normalizeH="0" baseline="0" noProof="0" err="1">
                <a:ln>
                  <a:noFill/>
                </a:ln>
                <a:effectLst/>
                <a:uLnTx/>
                <a:uFillTx/>
                <a:latin typeface="+mj-lt"/>
                <a:ea typeface="+mj-ea"/>
                <a:cs typeface="+mj-cs"/>
              </a:rPr>
              <a:t>Üretim</a:t>
            </a:r>
            <a:r>
              <a:rPr kumimoji="0" lang="en-US" sz="2000" i="0" u="none" strike="noStrike" kern="1200" cap="none" spc="0" normalizeH="0" baseline="0" noProof="0">
                <a:ln>
                  <a:noFill/>
                </a:ln>
                <a:effectLst/>
                <a:uLnTx/>
                <a:uFillTx/>
                <a:latin typeface="+mj-lt"/>
                <a:ea typeface="+mj-ea"/>
                <a:cs typeface="+mj-cs"/>
              </a:rPr>
              <a:t> revolutionizes sustainable energy management with Microsoft Azure </a:t>
            </a:r>
            <a:br>
              <a:rPr kumimoji="0" lang="en-US" sz="2000" i="0" u="none" strike="noStrike" kern="1200" cap="none" spc="0" normalizeH="0" baseline="0" noProof="0">
                <a:ln>
                  <a:noFill/>
                </a:ln>
                <a:effectLst/>
                <a:uLnTx/>
                <a:uFillTx/>
                <a:latin typeface="+mj-lt"/>
                <a:ea typeface="+mj-ea"/>
                <a:cs typeface="+mj-cs"/>
              </a:rPr>
            </a:br>
            <a:r>
              <a:rPr kumimoji="0" lang="en-US" sz="2000" i="0" u="none" strike="noStrike" kern="1200" cap="none" spc="0" normalizeH="0" baseline="0" noProof="0">
                <a:ln>
                  <a:noFill/>
                </a:ln>
                <a:effectLst/>
                <a:uLnTx/>
                <a:uFillTx/>
                <a:latin typeface="+mj-lt"/>
                <a:ea typeface="+mj-ea"/>
                <a:cs typeface="+mj-cs"/>
              </a:rPr>
              <a:t>and AI</a:t>
            </a:r>
          </a:p>
        </p:txBody>
      </p:sp>
      <p:pic>
        <p:nvPicPr>
          <p:cNvPr id="33" name="Picture 6" descr="Enerjisa logo">
            <a:extLst>
              <a:ext uri="{FF2B5EF4-FFF2-40B4-BE49-F238E27FC236}">
                <a16:creationId xmlns:a16="http://schemas.microsoft.com/office/drawing/2014/main" id="{0036CC9D-33FB-3457-85BD-D72536CD47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396" r="-1001" b="34190"/>
          <a:stretch>
            <a:fillRect/>
          </a:stretch>
        </p:blipFill>
        <p:spPr bwMode="auto">
          <a:xfrm>
            <a:off x="306028" y="762023"/>
            <a:ext cx="2032561" cy="34069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hlinkClick r:id="rId4"/>
            <a:extLst>
              <a:ext uri="{FF2B5EF4-FFF2-40B4-BE49-F238E27FC236}">
                <a16:creationId xmlns:a16="http://schemas.microsoft.com/office/drawing/2014/main" id="{927C5C0C-8EA2-58E0-D809-41337C8514BD}"/>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Read full story here</a:t>
            </a:r>
          </a:p>
        </p:txBody>
      </p:sp>
      <p:pic>
        <p:nvPicPr>
          <p:cNvPr id="31" name="Picture 30" descr="Modern control room with screens and workstations.">
            <a:extLst>
              <a:ext uri="{FF2B5EF4-FFF2-40B4-BE49-F238E27FC236}">
                <a16:creationId xmlns:a16="http://schemas.microsoft.com/office/drawing/2014/main" id="{19135CD8-5D97-C7D5-4BB3-2A7BB8B2FB67}"/>
              </a:ext>
            </a:extLst>
          </p:cNvPr>
          <p:cNvPicPr>
            <a:picLocks/>
          </p:cNvPicPr>
          <p:nvPr/>
        </p:nvPicPr>
        <p:blipFill rotWithShape="1">
          <a:blip r:embed="rId6" cstate="email">
            <a:extLst>
              <a:ext uri="{28A0092B-C50C-407E-A947-70E740481C1C}">
                <a14:useLocalDpi xmlns:a14="http://schemas.microsoft.com/office/drawing/2010/main"/>
              </a:ext>
            </a:extLst>
          </a:blip>
          <a:srcRect/>
          <a:stretch>
            <a:fillRect/>
          </a:stretch>
        </p:blipFill>
        <p:spPr>
          <a:xfrm>
            <a:off x="3133725" y="419480"/>
            <a:ext cx="8638575" cy="2611318"/>
          </a:xfrm>
          <a:prstGeom prst="roundRect">
            <a:avLst>
              <a:gd name="adj" fmla="val 4146"/>
            </a:avLst>
          </a:prstGeom>
        </p:spPr>
      </p:pic>
      <p:sp>
        <p:nvSpPr>
          <p:cNvPr id="9" name="Text Placeholder 9">
            <a:extLst>
              <a:ext uri="{FF2B5EF4-FFF2-40B4-BE49-F238E27FC236}">
                <a16:creationId xmlns:a16="http://schemas.microsoft.com/office/drawing/2014/main" id="{0B897725-F01F-39EE-FC68-3EA964E5222F}"/>
              </a:ext>
            </a:extLst>
          </p:cNvPr>
          <p:cNvSpPr txBox="1">
            <a:spLocks/>
          </p:cNvSpPr>
          <p:nvPr/>
        </p:nvSpPr>
        <p:spPr>
          <a:xfrm>
            <a:off x="3133725" y="3207069"/>
            <a:ext cx="8638575" cy="1077218"/>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We can predict average daily production for turbines for the next two months. The prediction isn’t a simple extrapolation of our current production values. It considers the condition of assets, upcoming site availability, weather conditions, wind speed, and even factors like rain that may reduce turbine efficiency.”</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Ali </a:t>
            </a:r>
            <a:r>
              <a:rPr kumimoji="0" lang="en-US" sz="1400" b="0" i="0" u="none" strike="noStrike" kern="1200" cap="none" spc="0" normalizeH="0" baseline="0" noProof="0" err="1">
                <a:ln>
                  <a:noFill/>
                </a:ln>
                <a:solidFill>
                  <a:srgbClr val="0078D4"/>
                </a:solidFill>
                <a:effectLst/>
                <a:uLnTx/>
                <a:uFillTx/>
                <a:latin typeface="Segoe UI Semibold"/>
                <a:ea typeface="+mn-ea"/>
                <a:cs typeface="Segoe Sans Display" pitchFamily="2" charset="0"/>
              </a:rPr>
              <a:t>İnal</a:t>
            </a: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Deputy General Manager, IT and Digital Business, </a:t>
            </a:r>
            <a:r>
              <a:rPr kumimoji="0" lang="en-US" sz="1200" b="0" i="0" u="none" strike="noStrike" kern="1200" cap="none" spc="0" normalizeH="0" baseline="0" noProof="0" err="1">
                <a:ln>
                  <a:noFill/>
                </a:ln>
                <a:solidFill>
                  <a:srgbClr val="000000"/>
                </a:solidFill>
                <a:effectLst/>
                <a:uLnTx/>
                <a:uFillTx/>
                <a:latin typeface="Segoe UI"/>
                <a:ea typeface="+mn-ea"/>
                <a:cs typeface="Segoe Sans Display" pitchFamily="2" charset="0"/>
              </a:rPr>
              <a:t>Enerjisa</a:t>
            </a: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 </a:t>
            </a:r>
            <a:r>
              <a:rPr kumimoji="0" lang="en-US" sz="1200" b="0" i="0" u="none" strike="noStrike" kern="1200" cap="none" spc="0" normalizeH="0" baseline="0" noProof="0" err="1">
                <a:ln>
                  <a:noFill/>
                </a:ln>
                <a:solidFill>
                  <a:srgbClr val="000000"/>
                </a:solidFill>
                <a:effectLst/>
                <a:uLnTx/>
                <a:uFillTx/>
                <a:latin typeface="Segoe UI"/>
                <a:ea typeface="+mn-ea"/>
                <a:cs typeface="Segoe Sans Display" pitchFamily="2" charset="0"/>
              </a:rPr>
              <a:t>Üretim</a:t>
            </a:r>
            <a:endPar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endParaRPr>
          </a:p>
        </p:txBody>
      </p:sp>
      <p:sp>
        <p:nvSpPr>
          <p:cNvPr id="3" name="TextBox 24_1">
            <a:extLst>
              <a:ext uri="{FF2B5EF4-FFF2-40B4-BE49-F238E27FC236}">
                <a16:creationId xmlns:a16="http://schemas.microsoft.com/office/drawing/2014/main" id="{C4C79539-6E9D-7A08-A34E-57991E756621}"/>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4" name="TextBox 3">
            <a:extLst>
              <a:ext uri="{FF2B5EF4-FFF2-40B4-BE49-F238E27FC236}">
                <a16:creationId xmlns:a16="http://schemas.microsoft.com/office/drawing/2014/main" id="{580B851B-A08D-08B5-5CB6-841AF4DACE95}"/>
              </a:ext>
            </a:extLst>
          </p:cNvPr>
          <p:cNvSpPr txBox="1">
            <a:spLocks/>
          </p:cNvSpPr>
          <p:nvPr/>
        </p:nvSpPr>
        <p:spPr>
          <a:xfrm>
            <a:off x="3130860" y="5291424"/>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Resolved issues remotel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Built remote Operation Center that oversees 20 hydropower, wind, and solar plants 24/7 and can identify, assess and resolve 99% of issues remotely</a:t>
            </a:r>
          </a:p>
        </p:txBody>
      </p:sp>
      <p:sp>
        <p:nvSpPr>
          <p:cNvPr id="6" name="TextBox 5">
            <a:extLst>
              <a:ext uri="{FF2B5EF4-FFF2-40B4-BE49-F238E27FC236}">
                <a16:creationId xmlns:a16="http://schemas.microsoft.com/office/drawing/2014/main" id="{5197033C-906B-E706-B341-566FA0F05F01}"/>
              </a:ext>
            </a:extLst>
          </p:cNvPr>
          <p:cNvSpPr txBox="1">
            <a:spLocks/>
          </p:cNvSpPr>
          <p:nvPr/>
        </p:nvSpPr>
        <p:spPr>
          <a:xfrm>
            <a:off x="6102302" y="5291424"/>
            <a:ext cx="2759758" cy="115929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mbraced AI to streamline energy operation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veloped </a:t>
            </a:r>
            <a:r>
              <a:rPr kumimoji="0" lang="en-US" sz="1100" b="0" i="0" u="none" strike="noStrike" kern="1200" cap="none" spc="0" normalizeH="0" baseline="0" noProof="0" err="1">
                <a:ln>
                  <a:noFill/>
                </a:ln>
                <a:solidFill>
                  <a:srgbClr val="000000"/>
                </a:solidFill>
                <a:effectLst/>
                <a:uLnTx/>
                <a:uFillTx/>
                <a:latin typeface="Segoe UI"/>
                <a:ea typeface="+mn-ea"/>
                <a:cs typeface="+mn-cs"/>
              </a:rPr>
              <a:t>Onepact</a:t>
            </a:r>
            <a:r>
              <a:rPr kumimoji="0" lang="en-US" sz="1100" b="0" i="0" u="none" strike="noStrike" kern="1200" cap="none" spc="0" normalizeH="0" baseline="0" noProof="0">
                <a:ln>
                  <a:noFill/>
                </a:ln>
                <a:solidFill>
                  <a:srgbClr val="000000"/>
                </a:solidFill>
                <a:effectLst/>
                <a:uLnTx/>
                <a:uFillTx/>
                <a:latin typeface="Segoe UI"/>
                <a:ea typeface="+mn-ea"/>
                <a:cs typeface="+mn-cs"/>
              </a:rPr>
              <a:t> AI, which uses Azure OpenAI Service, to access and analyze </a:t>
            </a:r>
            <a:r>
              <a:rPr kumimoji="0" lang="en-US" sz="1100" b="0" i="0" u="none" strike="noStrike" kern="1200" cap="none" spc="0" normalizeH="0" baseline="0" noProof="0" err="1">
                <a:ln>
                  <a:noFill/>
                </a:ln>
                <a:solidFill>
                  <a:srgbClr val="000000"/>
                </a:solidFill>
                <a:effectLst/>
                <a:uLnTx/>
                <a:uFillTx/>
                <a:latin typeface="Segoe UI"/>
                <a:ea typeface="+mn-ea"/>
                <a:cs typeface="+mn-cs"/>
              </a:rPr>
              <a:t>analyze</a:t>
            </a:r>
            <a:r>
              <a:rPr kumimoji="0" lang="en-US" sz="1100" b="0" i="0" u="none" strike="noStrike" kern="1200" cap="none" spc="0" normalizeH="0" baseline="0" noProof="0">
                <a:ln>
                  <a:noFill/>
                </a:ln>
                <a:solidFill>
                  <a:srgbClr val="000000"/>
                </a:solidFill>
                <a:effectLst/>
                <a:uLnTx/>
                <a:uFillTx/>
                <a:latin typeface="Segoe UI"/>
                <a:ea typeface="+mn-ea"/>
                <a:cs typeface="+mn-cs"/>
              </a:rPr>
              <a:t> its IOT data collected from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40.000 datapoints</a:t>
            </a:r>
          </a:p>
        </p:txBody>
      </p:sp>
      <p:sp>
        <p:nvSpPr>
          <p:cNvPr id="7" name="TextBox 6">
            <a:extLst>
              <a:ext uri="{FF2B5EF4-FFF2-40B4-BE49-F238E27FC236}">
                <a16:creationId xmlns:a16="http://schemas.microsoft.com/office/drawing/2014/main" id="{9E539B18-9274-2499-FCF3-EE0CCA55EED0}"/>
              </a:ext>
            </a:extLst>
          </p:cNvPr>
          <p:cNvSpPr txBox="1">
            <a:spLocks/>
          </p:cNvSpPr>
          <p:nvPr/>
        </p:nvSpPr>
        <p:spPr>
          <a:xfrm>
            <a:off x="9073745" y="5291424"/>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Increased efficienc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Increased efficiency and ease of operation of more than 20 power plants. With Generative AI, the company can get an answer in seconds instead of days</a:t>
            </a:r>
          </a:p>
        </p:txBody>
      </p:sp>
    </p:spTree>
    <p:extLst>
      <p:ext uri="{BB962C8B-B14F-4D97-AF65-F5344CB8AC3E}">
        <p14:creationId xmlns:p14="http://schemas.microsoft.com/office/powerpoint/2010/main" val="288249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6209A-E413-DC8F-C1DE-3E129DEC39D7}"/>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4FB3A443-E009-7F02-F369-C0B605BF9748}"/>
              </a:ext>
              <a:ext uri="{C183D7F6-B498-43B3-948B-1728B52AA6E4}">
                <adec:decorative xmlns:adec="http://schemas.microsoft.com/office/drawing/2017/decorative" val="1"/>
              </a:ext>
            </a:extLst>
          </p:cNvPr>
          <p:cNvSpPr>
            <a:spLocks/>
          </p:cNvSpPr>
          <p:nvPr/>
        </p:nvSpPr>
        <p:spPr bwMode="auto">
          <a:xfrm>
            <a:off x="-1" y="1631531"/>
            <a:ext cx="3004849" cy="4731169"/>
          </a:xfrm>
          <a:prstGeom prst="rect">
            <a:avLst/>
          </a:prstGeom>
          <a:solidFill>
            <a:srgbClr val="C3C3C0"/>
          </a:solidFill>
          <a:effectLst/>
        </p:spPr>
        <p:txBody>
          <a:bodyPr wrap="square" lIns="91440" tIns="54864" rIns="91440" bIns="5486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000000"/>
              </a:solidFill>
              <a:effectLst/>
              <a:uLnTx/>
              <a:uFillTx/>
              <a:latin typeface="Segoe Sans Display Semibold"/>
              <a:ea typeface="+mn-ea"/>
              <a:cs typeface="+mn-cs"/>
            </a:endParaRPr>
          </a:p>
        </p:txBody>
      </p:sp>
      <p:sp>
        <p:nvSpPr>
          <p:cNvPr id="6" name="Rectangle: Rounded Corners 5">
            <a:extLst>
              <a:ext uri="{FF2B5EF4-FFF2-40B4-BE49-F238E27FC236}">
                <a16:creationId xmlns:a16="http://schemas.microsoft.com/office/drawing/2014/main" id="{B5BD5162-92CC-0EC4-BD31-47B3712CE870}"/>
              </a:ext>
              <a:ext uri="{C183D7F6-B498-43B3-948B-1728B52AA6E4}">
                <adec:decorative xmlns:adec="http://schemas.microsoft.com/office/drawing/2017/decorative" val="1"/>
              </a:ext>
            </a:extLst>
          </p:cNvPr>
          <p:cNvSpPr>
            <a:spLocks/>
          </p:cNvSpPr>
          <p:nvPr/>
        </p:nvSpPr>
        <p:spPr bwMode="auto">
          <a:xfrm>
            <a:off x="3004848" y="293687"/>
            <a:ext cx="8893465" cy="6270626"/>
          </a:xfrm>
          <a:prstGeom prst="roundRect">
            <a:avLst>
              <a:gd name="adj" fmla="val 2641"/>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3" name="Freeform: Shape 12">
            <a:extLst>
              <a:ext uri="{FF2B5EF4-FFF2-40B4-BE49-F238E27FC236}">
                <a16:creationId xmlns:a16="http://schemas.microsoft.com/office/drawing/2014/main" id="{59DD2B44-48A6-8377-C6D0-BA2DDBC52684}"/>
              </a:ext>
              <a:ext uri="{C183D7F6-B498-43B3-948B-1728B52AA6E4}">
                <adec:decorative xmlns:adec="http://schemas.microsoft.com/office/drawing/2017/decorative" val="1"/>
              </a:ext>
            </a:extLst>
          </p:cNvPr>
          <p:cNvSpPr>
            <a:spLocks/>
          </p:cNvSpPr>
          <p:nvPr/>
        </p:nvSpPr>
        <p:spPr>
          <a:xfrm>
            <a:off x="3130860" y="4899021"/>
            <a:ext cx="262191" cy="291322"/>
          </a:xfrm>
          <a:custGeom>
            <a:avLst/>
            <a:gdLst>
              <a:gd name="connsiteX0" fmla="*/ 48627 w 171424"/>
              <a:gd name="connsiteY0" fmla="*/ 67703 h 190500"/>
              <a:gd name="connsiteX1" fmla="*/ 58447 w 171424"/>
              <a:gd name="connsiteY1" fmla="*/ 70075 h 190500"/>
              <a:gd name="connsiteX2" fmla="*/ 58504 w 171424"/>
              <a:gd name="connsiteY2" fmla="*/ 70170 h 190500"/>
              <a:gd name="connsiteX3" fmla="*/ 58981 w 171424"/>
              <a:gd name="connsiteY3" fmla="*/ 71151 h 190500"/>
              <a:gd name="connsiteX4" fmla="*/ 81965 w 171424"/>
              <a:gd name="connsiteY4" fmla="*/ 128568 h 190500"/>
              <a:gd name="connsiteX5" fmla="*/ 95557 w 171424"/>
              <a:gd name="connsiteY5" fmla="*/ 108565 h 190500"/>
              <a:gd name="connsiteX6" fmla="*/ 100757 w 171424"/>
              <a:gd name="connsiteY6" fmla="*/ 104860 h 190500"/>
              <a:gd name="connsiteX7" fmla="*/ 100853 w 171424"/>
              <a:gd name="connsiteY7" fmla="*/ 104841 h 190500"/>
              <a:gd name="connsiteX8" fmla="*/ 101862 w 171424"/>
              <a:gd name="connsiteY8" fmla="*/ 104775 h 190500"/>
              <a:gd name="connsiteX9" fmla="*/ 120912 w 171424"/>
              <a:gd name="connsiteY9" fmla="*/ 104775 h 190500"/>
              <a:gd name="connsiteX10" fmla="*/ 127944 w 171424"/>
              <a:gd name="connsiteY10" fmla="*/ 110815 h 190500"/>
              <a:gd name="connsiteX11" fmla="*/ 121989 w 171424"/>
              <a:gd name="connsiteY11" fmla="*/ 118976 h 190500"/>
              <a:gd name="connsiteX12" fmla="*/ 121893 w 171424"/>
              <a:gd name="connsiteY12" fmla="*/ 118995 h 190500"/>
              <a:gd name="connsiteX13" fmla="*/ 120912 w 171424"/>
              <a:gd name="connsiteY13" fmla="*/ 119062 h 190500"/>
              <a:gd name="connsiteX14" fmla="*/ 106110 w 171424"/>
              <a:gd name="connsiteY14" fmla="*/ 119062 h 190500"/>
              <a:gd name="connsiteX15" fmla="*/ 87260 w 171424"/>
              <a:gd name="connsiteY15" fmla="*/ 148532 h 190500"/>
              <a:gd name="connsiteX16" fmla="*/ 84632 w 171424"/>
              <a:gd name="connsiteY16" fmla="*/ 151331 h 190500"/>
              <a:gd name="connsiteX17" fmla="*/ 74821 w 171424"/>
              <a:gd name="connsiteY17" fmla="*/ 148923 h 190500"/>
              <a:gd name="connsiteX18" fmla="*/ 74773 w 171424"/>
              <a:gd name="connsiteY18" fmla="*/ 148828 h 190500"/>
              <a:gd name="connsiteX19" fmla="*/ 74306 w 171424"/>
              <a:gd name="connsiteY19" fmla="*/ 147866 h 190500"/>
              <a:gd name="connsiteX20" fmla="*/ 52046 w 171424"/>
              <a:gd name="connsiteY20" fmla="*/ 92287 h 190500"/>
              <a:gd name="connsiteX21" fmla="*/ 42198 w 171424"/>
              <a:gd name="connsiteY21" fmla="*/ 114785 h 190500"/>
              <a:gd name="connsiteX22" fmla="*/ 36816 w 171424"/>
              <a:gd name="connsiteY22" fmla="*/ 118967 h 190500"/>
              <a:gd name="connsiteX23" fmla="*/ 36702 w 171424"/>
              <a:gd name="connsiteY23" fmla="*/ 118986 h 190500"/>
              <a:gd name="connsiteX24" fmla="*/ 35644 w 171424"/>
              <a:gd name="connsiteY24" fmla="*/ 119062 h 190500"/>
              <a:gd name="connsiteX25" fmla="*/ 7117 w 171424"/>
              <a:gd name="connsiteY25" fmla="*/ 119062 h 190500"/>
              <a:gd name="connsiteX26" fmla="*/ 86 w 171424"/>
              <a:gd name="connsiteY26" fmla="*/ 113021 h 190500"/>
              <a:gd name="connsiteX27" fmla="*/ 6041 w 171424"/>
              <a:gd name="connsiteY27" fmla="*/ 104860 h 190500"/>
              <a:gd name="connsiteX28" fmla="*/ 6136 w 171424"/>
              <a:gd name="connsiteY28" fmla="*/ 104841 h 190500"/>
              <a:gd name="connsiteX29" fmla="*/ 7117 w 171424"/>
              <a:gd name="connsiteY29" fmla="*/ 104775 h 190500"/>
              <a:gd name="connsiteX30" fmla="*/ 30977 w 171424"/>
              <a:gd name="connsiteY30" fmla="*/ 104775 h 190500"/>
              <a:gd name="connsiteX31" fmla="*/ 45808 w 171424"/>
              <a:gd name="connsiteY31" fmla="*/ 70932 h 190500"/>
              <a:gd name="connsiteX32" fmla="*/ 48627 w 171424"/>
              <a:gd name="connsiteY32" fmla="*/ 67703 h 190500"/>
              <a:gd name="connsiteX33" fmla="*/ 109511 w 171424"/>
              <a:gd name="connsiteY33" fmla="*/ 4762 h 190500"/>
              <a:gd name="connsiteX34" fmla="*/ 166661 w 171424"/>
              <a:gd name="connsiteY34" fmla="*/ 61912 h 190500"/>
              <a:gd name="connsiteX35" fmla="*/ 114273 w 171424"/>
              <a:gd name="connsiteY35" fmla="*/ 61912 h 190500"/>
              <a:gd name="connsiteX36" fmla="*/ 109511 w 171424"/>
              <a:gd name="connsiteY36" fmla="*/ 57150 h 190500"/>
              <a:gd name="connsiteX37" fmla="*/ 38074 w 171424"/>
              <a:gd name="connsiteY37" fmla="*/ 0 h 190500"/>
              <a:gd name="connsiteX38" fmla="*/ 95224 w 171424"/>
              <a:gd name="connsiteY38" fmla="*/ 0 h 190500"/>
              <a:gd name="connsiteX39" fmla="*/ 95224 w 171424"/>
              <a:gd name="connsiteY39" fmla="*/ 57188 h 190500"/>
              <a:gd name="connsiteX40" fmla="*/ 114274 w 171424"/>
              <a:gd name="connsiteY40" fmla="*/ 76200 h 190500"/>
              <a:gd name="connsiteX41" fmla="*/ 171424 w 171424"/>
              <a:gd name="connsiteY41" fmla="*/ 76200 h 190500"/>
              <a:gd name="connsiteX42" fmla="*/ 171424 w 171424"/>
              <a:gd name="connsiteY42" fmla="*/ 171450 h 190500"/>
              <a:gd name="connsiteX43" fmla="*/ 152374 w 171424"/>
              <a:gd name="connsiteY43" fmla="*/ 190500 h 190500"/>
              <a:gd name="connsiteX44" fmla="*/ 38074 w 171424"/>
              <a:gd name="connsiteY44" fmla="*/ 190500 h 190500"/>
              <a:gd name="connsiteX45" fmla="*/ 19024 w 171424"/>
              <a:gd name="connsiteY45" fmla="*/ 171450 h 190500"/>
              <a:gd name="connsiteX46" fmla="*/ 19024 w 171424"/>
              <a:gd name="connsiteY46" fmla="*/ 128588 h 190500"/>
              <a:gd name="connsiteX47" fmla="*/ 35998 w 171424"/>
              <a:gd name="connsiteY47" fmla="*/ 128588 h 190500"/>
              <a:gd name="connsiteX48" fmla="*/ 37836 w 171424"/>
              <a:gd name="connsiteY48" fmla="*/ 128454 h 190500"/>
              <a:gd name="connsiteX49" fmla="*/ 38369 w 171424"/>
              <a:gd name="connsiteY49" fmla="*/ 128368 h 190500"/>
              <a:gd name="connsiteX50" fmla="*/ 50914 w 171424"/>
              <a:gd name="connsiteY50" fmla="*/ 118615 h 190500"/>
              <a:gd name="connsiteX51" fmla="*/ 51657 w 171424"/>
              <a:gd name="connsiteY51" fmla="*/ 116919 h 190500"/>
              <a:gd name="connsiteX52" fmla="*/ 65582 w 171424"/>
              <a:gd name="connsiteY52" fmla="*/ 151714 h 190500"/>
              <a:gd name="connsiteX53" fmla="*/ 66373 w 171424"/>
              <a:gd name="connsiteY53" fmla="*/ 153353 h 190500"/>
              <a:gd name="connsiteX54" fmla="*/ 66639 w 171424"/>
              <a:gd name="connsiteY54" fmla="*/ 153791 h 190500"/>
              <a:gd name="connsiteX55" fmla="*/ 95472 w 171424"/>
              <a:gd name="connsiteY55" fmla="*/ 153381 h 190500"/>
              <a:gd name="connsiteX56" fmla="*/ 111331 w 171424"/>
              <a:gd name="connsiteY56" fmla="*/ 128588 h 190500"/>
              <a:gd name="connsiteX57" fmla="*/ 121237 w 171424"/>
              <a:gd name="connsiteY57" fmla="*/ 128588 h 190500"/>
              <a:gd name="connsiteX58" fmla="*/ 122923 w 171424"/>
              <a:gd name="connsiteY58" fmla="*/ 128473 h 190500"/>
              <a:gd name="connsiteX59" fmla="*/ 123418 w 171424"/>
              <a:gd name="connsiteY59" fmla="*/ 128397 h 190500"/>
              <a:gd name="connsiteX60" fmla="*/ 137574 w 171424"/>
              <a:gd name="connsiteY60" fmla="*/ 111926 h 190500"/>
              <a:gd name="connsiteX61" fmla="*/ 120913 w 171424"/>
              <a:gd name="connsiteY61" fmla="*/ 95250 h 190500"/>
              <a:gd name="connsiteX62" fmla="*/ 101530 w 171424"/>
              <a:gd name="connsiteY62" fmla="*/ 95250 h 190500"/>
              <a:gd name="connsiteX63" fmla="*/ 99777 w 171424"/>
              <a:gd name="connsiteY63" fmla="*/ 95374 h 190500"/>
              <a:gd name="connsiteX64" fmla="*/ 99263 w 171424"/>
              <a:gd name="connsiteY64" fmla="*/ 95450 h 190500"/>
              <a:gd name="connsiteX65" fmla="*/ 87452 w 171424"/>
              <a:gd name="connsiteY65" fmla="*/ 103546 h 190500"/>
              <a:gd name="connsiteX66" fmla="*/ 84156 w 171424"/>
              <a:gd name="connsiteY66" fmla="*/ 108404 h 190500"/>
              <a:gd name="connsiteX67" fmla="*/ 67697 w 171424"/>
              <a:gd name="connsiteY67" fmla="*/ 67313 h 190500"/>
              <a:gd name="connsiteX68" fmla="*/ 66887 w 171424"/>
              <a:gd name="connsiteY68" fmla="*/ 65637 h 190500"/>
              <a:gd name="connsiteX69" fmla="*/ 66611 w 171424"/>
              <a:gd name="connsiteY69" fmla="*/ 65180 h 190500"/>
              <a:gd name="connsiteX70" fmla="*/ 37083 w 171424"/>
              <a:gd name="connsiteY70" fmla="*/ 67123 h 190500"/>
              <a:gd name="connsiteX71" fmla="*/ 24758 w 171424"/>
              <a:gd name="connsiteY71" fmla="*/ 95250 h 190500"/>
              <a:gd name="connsiteX72" fmla="*/ 19024 w 171424"/>
              <a:gd name="connsiteY72" fmla="*/ 95250 h 190500"/>
              <a:gd name="connsiteX73" fmla="*/ 19024 w 171424"/>
              <a:gd name="connsiteY73" fmla="*/ 19050 h 190500"/>
              <a:gd name="connsiteX74" fmla="*/ 38074 w 171424"/>
              <a:gd name="connsiteY74"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1424" h="190500">
                <a:moveTo>
                  <a:pt x="48627" y="67703"/>
                </a:moveTo>
                <a:cubicBezTo>
                  <a:pt x="51994" y="65646"/>
                  <a:pt x="56391" y="66708"/>
                  <a:pt x="58447" y="70075"/>
                </a:cubicBezTo>
                <a:lnTo>
                  <a:pt x="58504" y="70170"/>
                </a:lnTo>
                <a:lnTo>
                  <a:pt x="58981" y="71151"/>
                </a:lnTo>
                <a:lnTo>
                  <a:pt x="81965" y="128568"/>
                </a:lnTo>
                <a:lnTo>
                  <a:pt x="95557" y="108565"/>
                </a:lnTo>
                <a:cubicBezTo>
                  <a:pt x="96611" y="106581"/>
                  <a:pt x="98538" y="105209"/>
                  <a:pt x="100757" y="104860"/>
                </a:cubicBezTo>
                <a:lnTo>
                  <a:pt x="100853" y="104841"/>
                </a:lnTo>
                <a:lnTo>
                  <a:pt x="101862" y="104775"/>
                </a:lnTo>
                <a:lnTo>
                  <a:pt x="120912" y="104775"/>
                </a:lnTo>
                <a:cubicBezTo>
                  <a:pt x="124421" y="104788"/>
                  <a:pt x="127402" y="107348"/>
                  <a:pt x="127944" y="110815"/>
                </a:cubicBezTo>
                <a:cubicBezTo>
                  <a:pt x="128553" y="114713"/>
                  <a:pt x="125886" y="118367"/>
                  <a:pt x="121989" y="118976"/>
                </a:cubicBezTo>
                <a:lnTo>
                  <a:pt x="121893" y="118995"/>
                </a:lnTo>
                <a:lnTo>
                  <a:pt x="120912" y="119062"/>
                </a:lnTo>
                <a:lnTo>
                  <a:pt x="106110" y="119062"/>
                </a:lnTo>
                <a:lnTo>
                  <a:pt x="87260" y="148532"/>
                </a:lnTo>
                <a:cubicBezTo>
                  <a:pt x="86657" y="149688"/>
                  <a:pt x="85747" y="150655"/>
                  <a:pt x="84632" y="151331"/>
                </a:cubicBezTo>
                <a:cubicBezTo>
                  <a:pt x="81258" y="153375"/>
                  <a:pt x="76865" y="152298"/>
                  <a:pt x="74821" y="148923"/>
                </a:cubicBezTo>
                <a:lnTo>
                  <a:pt x="74773" y="148828"/>
                </a:lnTo>
                <a:lnTo>
                  <a:pt x="74306" y="147866"/>
                </a:lnTo>
                <a:lnTo>
                  <a:pt x="52046" y="92287"/>
                </a:lnTo>
                <a:lnTo>
                  <a:pt x="42198" y="114785"/>
                </a:lnTo>
                <a:cubicBezTo>
                  <a:pt x="41227" y="117000"/>
                  <a:pt x="39202" y="118573"/>
                  <a:pt x="36816" y="118967"/>
                </a:cubicBezTo>
                <a:lnTo>
                  <a:pt x="36702" y="118986"/>
                </a:lnTo>
                <a:lnTo>
                  <a:pt x="35644" y="119062"/>
                </a:lnTo>
                <a:lnTo>
                  <a:pt x="7117" y="119062"/>
                </a:lnTo>
                <a:cubicBezTo>
                  <a:pt x="3608" y="119049"/>
                  <a:pt x="628" y="116488"/>
                  <a:pt x="86" y="113021"/>
                </a:cubicBezTo>
                <a:cubicBezTo>
                  <a:pt x="-524" y="109124"/>
                  <a:pt x="2143" y="105470"/>
                  <a:pt x="6041" y="104860"/>
                </a:cubicBezTo>
                <a:lnTo>
                  <a:pt x="6136" y="104841"/>
                </a:lnTo>
                <a:lnTo>
                  <a:pt x="7117" y="104775"/>
                </a:lnTo>
                <a:lnTo>
                  <a:pt x="30977" y="104775"/>
                </a:lnTo>
                <a:lnTo>
                  <a:pt x="45808" y="70932"/>
                </a:lnTo>
                <a:cubicBezTo>
                  <a:pt x="46395" y="69592"/>
                  <a:pt x="47379" y="68465"/>
                  <a:pt x="48627" y="67703"/>
                </a:cubicBezTo>
                <a:close/>
                <a:moveTo>
                  <a:pt x="109511" y="4762"/>
                </a:moveTo>
                <a:lnTo>
                  <a:pt x="166661" y="61912"/>
                </a:lnTo>
                <a:lnTo>
                  <a:pt x="114273" y="61912"/>
                </a:lnTo>
                <a:cubicBezTo>
                  <a:pt x="111643" y="61912"/>
                  <a:pt x="109511" y="59780"/>
                  <a:pt x="109511" y="57150"/>
                </a:cubicBezTo>
                <a:close/>
                <a:moveTo>
                  <a:pt x="38074" y="0"/>
                </a:moveTo>
                <a:lnTo>
                  <a:pt x="95224" y="0"/>
                </a:lnTo>
                <a:lnTo>
                  <a:pt x="95224" y="57188"/>
                </a:lnTo>
                <a:cubicBezTo>
                  <a:pt x="95245" y="67694"/>
                  <a:pt x="103768" y="76200"/>
                  <a:pt x="114274" y="76200"/>
                </a:cubicBezTo>
                <a:lnTo>
                  <a:pt x="171424" y="76200"/>
                </a:lnTo>
                <a:lnTo>
                  <a:pt x="171424" y="171450"/>
                </a:lnTo>
                <a:cubicBezTo>
                  <a:pt x="171424" y="181971"/>
                  <a:pt x="162895" y="190500"/>
                  <a:pt x="152374" y="190500"/>
                </a:cubicBezTo>
                <a:lnTo>
                  <a:pt x="38074" y="190500"/>
                </a:lnTo>
                <a:cubicBezTo>
                  <a:pt x="27553" y="190500"/>
                  <a:pt x="19024" y="181971"/>
                  <a:pt x="19024" y="171450"/>
                </a:cubicBezTo>
                <a:lnTo>
                  <a:pt x="19024" y="128588"/>
                </a:lnTo>
                <a:lnTo>
                  <a:pt x="35998" y="128588"/>
                </a:lnTo>
                <a:lnTo>
                  <a:pt x="37836" y="128454"/>
                </a:lnTo>
                <a:lnTo>
                  <a:pt x="38369" y="128368"/>
                </a:lnTo>
                <a:cubicBezTo>
                  <a:pt x="43931" y="127447"/>
                  <a:pt x="48651" y="123778"/>
                  <a:pt x="50914" y="118615"/>
                </a:cubicBezTo>
                <a:lnTo>
                  <a:pt x="51657" y="116919"/>
                </a:lnTo>
                <a:lnTo>
                  <a:pt x="65582" y="151714"/>
                </a:lnTo>
                <a:lnTo>
                  <a:pt x="66373" y="153353"/>
                </a:lnTo>
                <a:lnTo>
                  <a:pt x="66639" y="153791"/>
                </a:lnTo>
                <a:cubicBezTo>
                  <a:pt x="73078" y="164592"/>
                  <a:pt x="89147" y="164697"/>
                  <a:pt x="95472" y="153381"/>
                </a:cubicBezTo>
                <a:lnTo>
                  <a:pt x="111331" y="128588"/>
                </a:lnTo>
                <a:lnTo>
                  <a:pt x="121237" y="128588"/>
                </a:lnTo>
                <a:lnTo>
                  <a:pt x="122923" y="128473"/>
                </a:lnTo>
                <a:lnTo>
                  <a:pt x="123418" y="128397"/>
                </a:lnTo>
                <a:cubicBezTo>
                  <a:pt x="131556" y="127156"/>
                  <a:pt x="137570" y="120159"/>
                  <a:pt x="137574" y="111926"/>
                </a:cubicBezTo>
                <a:cubicBezTo>
                  <a:pt x="137578" y="102720"/>
                  <a:pt x="130119" y="95255"/>
                  <a:pt x="120913" y="95250"/>
                </a:cubicBezTo>
                <a:lnTo>
                  <a:pt x="101530" y="95250"/>
                </a:lnTo>
                <a:lnTo>
                  <a:pt x="99777" y="95374"/>
                </a:lnTo>
                <a:lnTo>
                  <a:pt x="99263" y="95450"/>
                </a:lnTo>
                <a:cubicBezTo>
                  <a:pt x="94308" y="96234"/>
                  <a:pt x="89970" y="99208"/>
                  <a:pt x="87452" y="103546"/>
                </a:cubicBezTo>
                <a:lnTo>
                  <a:pt x="84156" y="108404"/>
                </a:lnTo>
                <a:lnTo>
                  <a:pt x="67697" y="67313"/>
                </a:lnTo>
                <a:lnTo>
                  <a:pt x="66887" y="65637"/>
                </a:lnTo>
                <a:lnTo>
                  <a:pt x="66611" y="65180"/>
                </a:lnTo>
                <a:cubicBezTo>
                  <a:pt x="59848" y="53902"/>
                  <a:pt x="42636" y="54464"/>
                  <a:pt x="37083" y="67123"/>
                </a:cubicBezTo>
                <a:lnTo>
                  <a:pt x="24758" y="95250"/>
                </a:lnTo>
                <a:lnTo>
                  <a:pt x="19024" y="95250"/>
                </a:lnTo>
                <a:lnTo>
                  <a:pt x="19024" y="19050"/>
                </a:lnTo>
                <a:cubicBezTo>
                  <a:pt x="19024" y="8529"/>
                  <a:pt x="27553" y="0"/>
                  <a:pt x="38074"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grpSp>
        <p:nvGrpSpPr>
          <p:cNvPr id="10" name="Group 9">
            <a:extLst>
              <a:ext uri="{FF2B5EF4-FFF2-40B4-BE49-F238E27FC236}">
                <a16:creationId xmlns:a16="http://schemas.microsoft.com/office/drawing/2014/main" id="{5F140929-6415-7299-8807-FB65430A0C30}"/>
              </a:ext>
              <a:ext uri="{C183D7F6-B498-43B3-948B-1728B52AA6E4}">
                <adec:decorative xmlns:adec="http://schemas.microsoft.com/office/drawing/2017/decorative" val="1"/>
              </a:ext>
            </a:extLst>
          </p:cNvPr>
          <p:cNvGrpSpPr/>
          <p:nvPr/>
        </p:nvGrpSpPr>
        <p:grpSpPr>
          <a:xfrm>
            <a:off x="5964426" y="5299213"/>
            <a:ext cx="2971442" cy="1130984"/>
            <a:chOff x="5964426" y="4990561"/>
            <a:chExt cx="2971442" cy="1439636"/>
          </a:xfrm>
        </p:grpSpPr>
        <p:cxnSp>
          <p:nvCxnSpPr>
            <p:cNvPr id="11" name="Straight Connector 10">
              <a:extLst>
                <a:ext uri="{FF2B5EF4-FFF2-40B4-BE49-F238E27FC236}">
                  <a16:creationId xmlns:a16="http://schemas.microsoft.com/office/drawing/2014/main" id="{2D090934-542F-D40C-5841-4D01265B8AD5}"/>
                </a:ext>
                <a:ext uri="{C183D7F6-B498-43B3-948B-1728B52AA6E4}">
                  <adec:decorative xmlns:adec="http://schemas.microsoft.com/office/drawing/2017/decorative" val="1"/>
                </a:ext>
              </a:extLst>
            </p:cNvPr>
            <p:cNvCxnSpPr>
              <a:cxnSpLocks/>
            </p:cNvCxnSpPr>
            <p:nvPr/>
          </p:nvCxnSpPr>
          <p:spPr>
            <a:xfrm>
              <a:off x="5964426"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88FC59A-8A03-85FB-F655-0321227298DF}"/>
                </a:ext>
                <a:ext uri="{C183D7F6-B498-43B3-948B-1728B52AA6E4}">
                  <adec:decorative xmlns:adec="http://schemas.microsoft.com/office/drawing/2017/decorative" val="1"/>
                </a:ext>
              </a:extLst>
            </p:cNvPr>
            <p:cNvCxnSpPr>
              <a:cxnSpLocks/>
            </p:cNvCxnSpPr>
            <p:nvPr/>
          </p:nvCxnSpPr>
          <p:spPr>
            <a:xfrm>
              <a:off x="8935868" y="4990561"/>
              <a:ext cx="0" cy="1439636"/>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Graphic 35">
            <a:extLst>
              <a:ext uri="{FF2B5EF4-FFF2-40B4-BE49-F238E27FC236}">
                <a16:creationId xmlns:a16="http://schemas.microsoft.com/office/drawing/2014/main" id="{F9B8DB33-FC3E-BD0E-24EB-0BED9BD6AF4F}"/>
              </a:ext>
              <a:ext uri="{C183D7F6-B498-43B3-948B-1728B52AA6E4}">
                <adec:decorative xmlns:adec="http://schemas.microsoft.com/office/drawing/2017/decorative" val="1"/>
              </a:ext>
            </a:extLst>
          </p:cNvPr>
          <p:cNvSpPr>
            <a:spLocks/>
          </p:cNvSpPr>
          <p:nvPr/>
        </p:nvSpPr>
        <p:spPr>
          <a:xfrm>
            <a:off x="9073745" y="4919670"/>
            <a:ext cx="250024" cy="250024"/>
          </a:xfrm>
          <a:custGeom>
            <a:avLst/>
            <a:gdLst>
              <a:gd name="connsiteX0" fmla="*/ 863389 w 1726742"/>
              <a:gd name="connsiteY0" fmla="*/ 368 h 1727114"/>
              <a:gd name="connsiteX1" fmla="*/ 1726743 w 1726742"/>
              <a:gd name="connsiteY1" fmla="*/ 863760 h 1727114"/>
              <a:gd name="connsiteX2" fmla="*/ 863360 w 1726742"/>
              <a:gd name="connsiteY2" fmla="*/ 1727115 h 1727114"/>
              <a:gd name="connsiteX3" fmla="*/ 0 w 1726742"/>
              <a:gd name="connsiteY3" fmla="*/ 863722 h 1727114"/>
              <a:gd name="connsiteX4" fmla="*/ 3565 w 1726742"/>
              <a:gd name="connsiteY4" fmla="*/ 785366 h 1727114"/>
              <a:gd name="connsiteX5" fmla="*/ 107745 w 1726742"/>
              <a:gd name="connsiteY5" fmla="*/ 698453 h 1727114"/>
              <a:gd name="connsiteX6" fmla="*/ 194658 w 1726742"/>
              <a:gd name="connsiteY6" fmla="*/ 802634 h 1727114"/>
              <a:gd name="connsiteX7" fmla="*/ 388533 w 1726742"/>
              <a:gd name="connsiteY7" fmla="*/ 1338597 h 1727114"/>
              <a:gd name="connsiteX8" fmla="*/ 507679 w 1726742"/>
              <a:gd name="connsiteY8" fmla="*/ 1433376 h 1727114"/>
              <a:gd name="connsiteX9" fmla="*/ 1432908 w 1726742"/>
              <a:gd name="connsiteY9" fmla="*/ 1219355 h 1727114"/>
              <a:gd name="connsiteX10" fmla="*/ 1218888 w 1726742"/>
              <a:gd name="connsiteY10" fmla="*/ 294125 h 1727114"/>
              <a:gd name="connsiteX11" fmla="*/ 393138 w 1726742"/>
              <a:gd name="connsiteY11" fmla="*/ 384281 h 1727114"/>
              <a:gd name="connsiteX12" fmla="*/ 527441 w 1726742"/>
              <a:gd name="connsiteY12" fmla="*/ 384377 h 1727114"/>
              <a:gd name="connsiteX13" fmla="*/ 624024 w 1726742"/>
              <a:gd name="connsiteY13" fmla="*/ 479649 h 1727114"/>
              <a:gd name="connsiteX14" fmla="*/ 538569 w 1726742"/>
              <a:gd name="connsiteY14" fmla="*/ 575662 h 1727114"/>
              <a:gd name="connsiteX15" fmla="*/ 527441 w 1726742"/>
              <a:gd name="connsiteY15" fmla="*/ 576238 h 1727114"/>
              <a:gd name="connsiteX16" fmla="*/ 143527 w 1726742"/>
              <a:gd name="connsiteY16" fmla="*/ 576238 h 1727114"/>
              <a:gd name="connsiteX17" fmla="*/ 48268 w 1726742"/>
              <a:gd name="connsiteY17" fmla="*/ 491531 h 1727114"/>
              <a:gd name="connsiteX18" fmla="*/ 47597 w 1726742"/>
              <a:gd name="connsiteY18" fmla="*/ 480307 h 1727114"/>
              <a:gd name="connsiteX19" fmla="*/ 47597 w 1726742"/>
              <a:gd name="connsiteY19" fmla="*/ 96586 h 1727114"/>
              <a:gd name="connsiteX20" fmla="*/ 142869 w 1726742"/>
              <a:gd name="connsiteY20" fmla="*/ 2 h 1727114"/>
              <a:gd name="connsiteX21" fmla="*/ 238882 w 1726742"/>
              <a:gd name="connsiteY21" fmla="*/ 85458 h 1727114"/>
              <a:gd name="connsiteX22" fmla="*/ 239458 w 1726742"/>
              <a:gd name="connsiteY22" fmla="*/ 96682 h 1727114"/>
              <a:gd name="connsiteX23" fmla="*/ 239458 w 1726742"/>
              <a:gd name="connsiteY23" fmla="*/ 266862 h 1727114"/>
              <a:gd name="connsiteX24" fmla="*/ 863389 w 1726742"/>
              <a:gd name="connsiteY24" fmla="*/ 368 h 1727114"/>
              <a:gd name="connsiteX25" fmla="*/ 791441 w 1726742"/>
              <a:gd name="connsiteY25" fmla="*/ 384089 h 1727114"/>
              <a:gd name="connsiteX26" fmla="*/ 862717 w 1726742"/>
              <a:gd name="connsiteY26" fmla="*/ 446252 h 1727114"/>
              <a:gd name="connsiteX27" fmla="*/ 863389 w 1726742"/>
              <a:gd name="connsiteY27" fmla="*/ 456037 h 1727114"/>
              <a:gd name="connsiteX28" fmla="*/ 863389 w 1726742"/>
              <a:gd name="connsiteY28" fmla="*/ 863741 h 1727114"/>
              <a:gd name="connsiteX29" fmla="*/ 1079232 w 1726742"/>
              <a:gd name="connsiteY29" fmla="*/ 863741 h 1727114"/>
              <a:gd name="connsiteX30" fmla="*/ 1151161 w 1726742"/>
              <a:gd name="connsiteY30" fmla="*/ 935708 h 1727114"/>
              <a:gd name="connsiteX31" fmla="*/ 1089017 w 1726742"/>
              <a:gd name="connsiteY31" fmla="*/ 1006965 h 1727114"/>
              <a:gd name="connsiteX32" fmla="*/ 1079232 w 1726742"/>
              <a:gd name="connsiteY32" fmla="*/ 1007637 h 1727114"/>
              <a:gd name="connsiteX33" fmla="*/ 791441 w 1726742"/>
              <a:gd name="connsiteY33" fmla="*/ 1007637 h 1727114"/>
              <a:gd name="connsiteX34" fmla="*/ 720165 w 1726742"/>
              <a:gd name="connsiteY34" fmla="*/ 945474 h 1727114"/>
              <a:gd name="connsiteX35" fmla="*/ 719493 w 1726742"/>
              <a:gd name="connsiteY35" fmla="*/ 935689 h 1727114"/>
              <a:gd name="connsiteX36" fmla="*/ 719493 w 1726742"/>
              <a:gd name="connsiteY36" fmla="*/ 456037 h 1727114"/>
              <a:gd name="connsiteX37" fmla="*/ 791441 w 1726742"/>
              <a:gd name="connsiteY37" fmla="*/ 384089 h 172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26742" h="1727114">
                <a:moveTo>
                  <a:pt x="863389" y="368"/>
                </a:moveTo>
                <a:cubicBezTo>
                  <a:pt x="1340220" y="376"/>
                  <a:pt x="1726753" y="386929"/>
                  <a:pt x="1726743" y="863760"/>
                </a:cubicBezTo>
                <a:cubicBezTo>
                  <a:pt x="1726743" y="1340582"/>
                  <a:pt x="1340182" y="1727124"/>
                  <a:pt x="863360" y="1727115"/>
                </a:cubicBezTo>
                <a:cubicBezTo>
                  <a:pt x="386530" y="1727105"/>
                  <a:pt x="-9" y="1340554"/>
                  <a:pt x="0" y="863722"/>
                </a:cubicBezTo>
                <a:cubicBezTo>
                  <a:pt x="0" y="837562"/>
                  <a:pt x="1190" y="811421"/>
                  <a:pt x="3565" y="785366"/>
                </a:cubicBezTo>
                <a:cubicBezTo>
                  <a:pt x="8333" y="732595"/>
                  <a:pt x="54976" y="693685"/>
                  <a:pt x="107745" y="698453"/>
                </a:cubicBezTo>
                <a:cubicBezTo>
                  <a:pt x="160515" y="703221"/>
                  <a:pt x="199427" y="749862"/>
                  <a:pt x="194658" y="802634"/>
                </a:cubicBezTo>
                <a:cubicBezTo>
                  <a:pt x="175981" y="1001277"/>
                  <a:pt x="247095" y="1197867"/>
                  <a:pt x="388533" y="1338597"/>
                </a:cubicBezTo>
                <a:cubicBezTo>
                  <a:pt x="424507" y="1374571"/>
                  <a:pt x="464510" y="1406419"/>
                  <a:pt x="507679" y="1433376"/>
                </a:cubicBezTo>
                <a:cubicBezTo>
                  <a:pt x="822273" y="1629774"/>
                  <a:pt x="1236520" y="1533949"/>
                  <a:pt x="1432908" y="1219355"/>
                </a:cubicBezTo>
                <a:cubicBezTo>
                  <a:pt x="1629307" y="904761"/>
                  <a:pt x="1533491" y="490521"/>
                  <a:pt x="1218888" y="294125"/>
                </a:cubicBezTo>
                <a:cubicBezTo>
                  <a:pt x="955846" y="129907"/>
                  <a:pt x="614555" y="167170"/>
                  <a:pt x="393138" y="384281"/>
                </a:cubicBezTo>
                <a:lnTo>
                  <a:pt x="527441" y="384377"/>
                </a:lnTo>
                <a:cubicBezTo>
                  <a:pt x="580420" y="384015"/>
                  <a:pt x="623663" y="426670"/>
                  <a:pt x="624024" y="479649"/>
                </a:cubicBezTo>
                <a:cubicBezTo>
                  <a:pt x="624360" y="528827"/>
                  <a:pt x="587453" y="570294"/>
                  <a:pt x="538569" y="575662"/>
                </a:cubicBezTo>
                <a:lnTo>
                  <a:pt x="527441" y="576238"/>
                </a:lnTo>
                <a:lnTo>
                  <a:pt x="143527" y="576238"/>
                </a:lnTo>
                <a:cubicBezTo>
                  <a:pt x="94892" y="576231"/>
                  <a:pt x="53959" y="539831"/>
                  <a:pt x="48268" y="491531"/>
                </a:cubicBezTo>
                <a:lnTo>
                  <a:pt x="47597" y="480307"/>
                </a:lnTo>
                <a:lnTo>
                  <a:pt x="47597" y="96586"/>
                </a:lnTo>
                <a:cubicBezTo>
                  <a:pt x="47235" y="43606"/>
                  <a:pt x="89890" y="364"/>
                  <a:pt x="142869" y="2"/>
                </a:cubicBezTo>
                <a:cubicBezTo>
                  <a:pt x="192047" y="-333"/>
                  <a:pt x="233514" y="36574"/>
                  <a:pt x="238882" y="85458"/>
                </a:cubicBezTo>
                <a:lnTo>
                  <a:pt x="239458" y="96682"/>
                </a:lnTo>
                <a:lnTo>
                  <a:pt x="239458" y="266862"/>
                </a:lnTo>
                <a:cubicBezTo>
                  <a:pt x="402245" y="96453"/>
                  <a:pt x="627721" y="146"/>
                  <a:pt x="863389" y="368"/>
                </a:cubicBezTo>
                <a:close/>
                <a:moveTo>
                  <a:pt x="791441" y="384089"/>
                </a:moveTo>
                <a:cubicBezTo>
                  <a:pt x="827396" y="384091"/>
                  <a:pt x="857825" y="410633"/>
                  <a:pt x="862717" y="446252"/>
                </a:cubicBezTo>
                <a:lnTo>
                  <a:pt x="863389" y="456037"/>
                </a:lnTo>
                <a:lnTo>
                  <a:pt x="863389" y="863741"/>
                </a:lnTo>
                <a:lnTo>
                  <a:pt x="1079232" y="863741"/>
                </a:lnTo>
                <a:cubicBezTo>
                  <a:pt x="1118966" y="863751"/>
                  <a:pt x="1151170" y="895974"/>
                  <a:pt x="1151161" y="935708"/>
                </a:cubicBezTo>
                <a:cubicBezTo>
                  <a:pt x="1151151" y="971653"/>
                  <a:pt x="1124617" y="1002063"/>
                  <a:pt x="1089017" y="1006965"/>
                </a:cubicBezTo>
                <a:lnTo>
                  <a:pt x="1079232" y="1007637"/>
                </a:lnTo>
                <a:lnTo>
                  <a:pt x="791441" y="1007637"/>
                </a:lnTo>
                <a:cubicBezTo>
                  <a:pt x="755486" y="1007637"/>
                  <a:pt x="725057" y="981093"/>
                  <a:pt x="720165" y="945474"/>
                </a:cubicBezTo>
                <a:lnTo>
                  <a:pt x="719493" y="935689"/>
                </a:lnTo>
                <a:lnTo>
                  <a:pt x="719493" y="456037"/>
                </a:lnTo>
                <a:cubicBezTo>
                  <a:pt x="719493" y="416302"/>
                  <a:pt x="751707" y="384089"/>
                  <a:pt x="791441" y="384089"/>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3" name="Graphic 36">
            <a:extLst>
              <a:ext uri="{FF2B5EF4-FFF2-40B4-BE49-F238E27FC236}">
                <a16:creationId xmlns:a16="http://schemas.microsoft.com/office/drawing/2014/main" id="{8543DD87-5531-FDFD-DFA0-18553AE692F0}"/>
              </a:ext>
              <a:ext uri="{C183D7F6-B498-43B3-948B-1728B52AA6E4}">
                <adec:decorative xmlns:adec="http://schemas.microsoft.com/office/drawing/2017/decorative" val="1"/>
              </a:ext>
            </a:extLst>
          </p:cNvPr>
          <p:cNvSpPr>
            <a:spLocks/>
          </p:cNvSpPr>
          <p:nvPr/>
        </p:nvSpPr>
        <p:spPr>
          <a:xfrm>
            <a:off x="6102302" y="4901679"/>
            <a:ext cx="271712" cy="286006"/>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4" name="Text Placeholder 11">
            <a:extLst>
              <a:ext uri="{FF2B5EF4-FFF2-40B4-BE49-F238E27FC236}">
                <a16:creationId xmlns:a16="http://schemas.microsoft.com/office/drawing/2014/main" id="{646B9EA5-E573-FF27-C9BE-B0D452B213CE}"/>
              </a:ext>
            </a:extLst>
          </p:cNvPr>
          <p:cNvSpPr txBox="1">
            <a:spLocks noGrp="1"/>
          </p:cNvSpPr>
          <p:nvPr>
            <p:ph type="title" idx="4294967295"/>
          </p:nvPr>
        </p:nvSpPr>
        <p:spPr>
          <a:xfrm>
            <a:off x="306028" y="2019300"/>
            <a:ext cx="2551113" cy="15382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latin typeface="+mj-lt"/>
                <a:ea typeface="+mj-ea"/>
                <a:cs typeface="+mj-cs"/>
              </a:rPr>
              <a:t>Aker BP transforms its data and operations with Microsoft Azure Data Manager for Energy</a:t>
            </a:r>
          </a:p>
        </p:txBody>
      </p:sp>
      <p:pic>
        <p:nvPicPr>
          <p:cNvPr id="4" name="Picture 2" descr="AkerBP logo">
            <a:extLst>
              <a:ext uri="{FF2B5EF4-FFF2-40B4-BE49-F238E27FC236}">
                <a16:creationId xmlns:a16="http://schemas.microsoft.com/office/drawing/2014/main" id="{3D54063A-58E2-D956-205B-4F44DE18E5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28" y="693002"/>
            <a:ext cx="2127716" cy="478735"/>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hlinkClick r:id="rId4"/>
            <a:extLst>
              <a:ext uri="{FF2B5EF4-FFF2-40B4-BE49-F238E27FC236}">
                <a16:creationId xmlns:a16="http://schemas.microsoft.com/office/drawing/2014/main" id="{10C5F804-06D0-D025-4D00-3C0785391638}"/>
              </a:ext>
              <a:ext uri="{C183D7F6-B498-43B3-948B-1728B52AA6E4}">
                <adec:decorative xmlns:adec="http://schemas.microsoft.com/office/drawing/2017/decorative" val="0"/>
              </a:ext>
            </a:extLst>
          </p:cNvPr>
          <p:cNvSpPr/>
          <p:nvPr/>
        </p:nvSpPr>
        <p:spPr bwMode="auto">
          <a:xfrm>
            <a:off x="292100" y="5663537"/>
            <a:ext cx="1713272" cy="389513"/>
          </a:xfrm>
          <a:prstGeom prst="roundRect">
            <a:avLst>
              <a:gd name="adj" fmla="val 50000"/>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mn-cs"/>
              </a:rPr>
              <a:t>Read full story here</a:t>
            </a:r>
          </a:p>
        </p:txBody>
      </p:sp>
      <p:pic>
        <p:nvPicPr>
          <p:cNvPr id="7" name="Picture 6" descr="A person in safety gear near construction equipment">
            <a:extLst>
              <a:ext uri="{FF2B5EF4-FFF2-40B4-BE49-F238E27FC236}">
                <a16:creationId xmlns:a16="http://schemas.microsoft.com/office/drawing/2014/main" id="{5FAC0897-5C49-D415-C642-0CA281D5AD6B}"/>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3130860" y="419480"/>
            <a:ext cx="8638575" cy="2611318"/>
          </a:xfrm>
          <a:prstGeom prst="roundRect">
            <a:avLst>
              <a:gd name="adj" fmla="val 4146"/>
            </a:avLst>
          </a:prstGeom>
        </p:spPr>
      </p:pic>
      <p:sp>
        <p:nvSpPr>
          <p:cNvPr id="12" name="Text Placeholder 9">
            <a:extLst>
              <a:ext uri="{FF2B5EF4-FFF2-40B4-BE49-F238E27FC236}">
                <a16:creationId xmlns:a16="http://schemas.microsoft.com/office/drawing/2014/main" id="{E2C6ED92-CC6F-FCA4-4CC5-F631A82E386A}"/>
              </a:ext>
            </a:extLst>
          </p:cNvPr>
          <p:cNvSpPr txBox="1">
            <a:spLocks/>
          </p:cNvSpPr>
          <p:nvPr/>
        </p:nvSpPr>
        <p:spPr>
          <a:xfrm>
            <a:off x="3133725" y="3207069"/>
            <a:ext cx="8635710" cy="83099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In the heart of energy transformation, there's a drive to innovate and to build things. We've found the key lies in the power of data, while understanding that data requires discipline and commitment.”	</a:t>
            </a:r>
            <a:r>
              <a:rPr kumimoji="0" lang="en-US" sz="1400" b="0" i="0" u="none" strike="noStrike" kern="1200" cap="none" spc="0" normalizeH="0" baseline="0" noProof="0">
                <a:ln>
                  <a:noFill/>
                </a:ln>
                <a:solidFill>
                  <a:srgbClr val="2F2F2F"/>
                </a:solidFill>
                <a:effectLst/>
                <a:uLnTx/>
                <a:uFillTx/>
                <a:latin typeface="Segoe UI"/>
                <a:ea typeface="+mn-ea"/>
                <a:cs typeface="Segoe Sans Display" pitchFamily="2" charset="0"/>
              </a:rPr>
              <a:t>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Sans Display" pitchFamily="2" charset="0"/>
              </a:rPr>
              <a:t>– Kjetil Nes, </a:t>
            </a:r>
          </a:p>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Sans Display" pitchFamily="2" charset="0"/>
              </a:rPr>
              <a:t>Chief of Concept Development, Aker BP</a:t>
            </a:r>
          </a:p>
        </p:txBody>
      </p:sp>
      <p:sp>
        <p:nvSpPr>
          <p:cNvPr id="2" name="TextBox 24_1">
            <a:extLst>
              <a:ext uri="{FF2B5EF4-FFF2-40B4-BE49-F238E27FC236}">
                <a16:creationId xmlns:a16="http://schemas.microsoft.com/office/drawing/2014/main" id="{F933C265-FA5D-4B00-2E9F-9011CF813356}"/>
              </a:ext>
            </a:extLst>
          </p:cNvPr>
          <p:cNvSpPr txBox="1">
            <a:spLocks/>
          </p:cNvSpPr>
          <p:nvPr/>
        </p:nvSpPr>
        <p:spPr>
          <a:xfrm>
            <a:off x="3130860" y="4370434"/>
            <a:ext cx="8638575" cy="372878"/>
          </a:xfrm>
          <a:prstGeom prst="roundRect">
            <a:avLst>
              <a:gd name="adj" fmla="val 14238"/>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3447426">
              <a:spcBef>
                <a:spcPts val="1205"/>
              </a:spcBef>
              <a:tabLst>
                <a:tab pos="5665570" algn="l"/>
              </a:tabLst>
              <a:defRPr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defRPr>
            </a:lvl1p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rPr>
              <a:t>Business Outcomes </a:t>
            </a:r>
          </a:p>
        </p:txBody>
      </p:sp>
      <p:sp>
        <p:nvSpPr>
          <p:cNvPr id="5" name="TextBox 4">
            <a:extLst>
              <a:ext uri="{FF2B5EF4-FFF2-40B4-BE49-F238E27FC236}">
                <a16:creationId xmlns:a16="http://schemas.microsoft.com/office/drawing/2014/main" id="{1BEC34C6-ECDD-84E3-A222-8AFAAEE18C80}"/>
              </a:ext>
            </a:extLst>
          </p:cNvPr>
          <p:cNvSpPr txBox="1">
            <a:spLocks/>
          </p:cNvSpPr>
          <p:nvPr/>
        </p:nvSpPr>
        <p:spPr>
          <a:xfrm>
            <a:off x="3130860" y="5291424"/>
            <a:ext cx="2695690" cy="94384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Valuable data insigh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Harnessed the power of Azure Data Manager for Energy to analyze vast amounts of energy-related datasets, applications, and cloud services</a:t>
            </a:r>
          </a:p>
        </p:txBody>
      </p:sp>
      <p:sp>
        <p:nvSpPr>
          <p:cNvPr id="8" name="TextBox 7">
            <a:extLst>
              <a:ext uri="{FF2B5EF4-FFF2-40B4-BE49-F238E27FC236}">
                <a16:creationId xmlns:a16="http://schemas.microsoft.com/office/drawing/2014/main" id="{B634BD80-EE45-3BAE-FC9E-72731A8A8E14}"/>
              </a:ext>
            </a:extLst>
          </p:cNvPr>
          <p:cNvSpPr txBox="1">
            <a:spLocks/>
          </p:cNvSpPr>
          <p:nvPr/>
        </p:nvSpPr>
        <p:spPr>
          <a:xfrm>
            <a:off x="6102302" y="5291424"/>
            <a:ext cx="2695688" cy="11131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Boosted data efficienc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nabled third-party applications—such as well planning, geological modeling tools, and productivity and analytics solutions—to work seamlessly with the company’s other data layers</a:t>
            </a:r>
          </a:p>
        </p:txBody>
      </p:sp>
      <p:sp>
        <p:nvSpPr>
          <p:cNvPr id="9" name="TextBox 8">
            <a:extLst>
              <a:ext uri="{FF2B5EF4-FFF2-40B4-BE49-F238E27FC236}">
                <a16:creationId xmlns:a16="http://schemas.microsoft.com/office/drawing/2014/main" id="{7CE30771-BA48-0F6E-83E7-03835C3C8450}"/>
              </a:ext>
            </a:extLst>
          </p:cNvPr>
          <p:cNvSpPr txBox="1">
            <a:spLocks/>
          </p:cNvSpPr>
          <p:nvPr/>
        </p:nvSpPr>
        <p:spPr>
          <a:xfrm>
            <a:off x="9073745" y="5291424"/>
            <a:ext cx="2535643" cy="77457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creased evaluation tim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Gained valuable business insights to increase operational efficiency and reduce data evaluation time</a:t>
            </a:r>
          </a:p>
        </p:txBody>
      </p:sp>
    </p:spTree>
    <p:extLst>
      <p:ext uri="{BB962C8B-B14F-4D97-AF65-F5344CB8AC3E}">
        <p14:creationId xmlns:p14="http://schemas.microsoft.com/office/powerpoint/2010/main" val="107817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E563355-D053-2EF5-B971-FBADF5676C7A}"/>
              </a:ext>
              <a:ext uri="{C183D7F6-B498-43B3-948B-1728B52AA6E4}">
                <adec:decorative xmlns:adec="http://schemas.microsoft.com/office/drawing/2017/decorative" val="1"/>
              </a:ext>
            </a:extLst>
          </p:cNvPr>
          <p:cNvSpPr>
            <a:spLocks/>
          </p:cNvSpPr>
          <p:nvPr/>
        </p:nvSpPr>
        <p:spPr bwMode="auto">
          <a:xfrm>
            <a:off x="5753100" y="1155700"/>
            <a:ext cx="5872163" cy="5206999"/>
          </a:xfrm>
          <a:prstGeom prst="roundRect">
            <a:avLst>
              <a:gd name="adj" fmla="val 2203"/>
            </a:avLst>
          </a:prstGeom>
          <a:solidFill>
            <a:schemeClr val="bg1">
              <a:alpha val="45000"/>
            </a:schemeClr>
          </a:solidFill>
          <a:ln w="3175">
            <a:noFill/>
            <a:headEnd type="none" w="med" len="med"/>
            <a:tailEnd type="none" w="med" len="med"/>
          </a:ln>
          <a:effectLst>
            <a:outerShdw blurRad="38100" algn="ct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marR="0" lvl="0" indent="-171450" algn="l" defTabSz="1243234" rtl="0" eaLnBrk="1" fontAlgn="base" latinLnBrk="0" hangingPunct="1">
              <a:lnSpc>
                <a:spcPct val="100000"/>
              </a:lnSpc>
              <a:spcBef>
                <a:spcPts val="600"/>
              </a:spcBef>
              <a:spcAft>
                <a:spcPts val="0"/>
              </a:spcAft>
              <a:buClr>
                <a:srgbClr val="091F2C"/>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 name="Rectangle 2">
            <a:extLst>
              <a:ext uri="{FF2B5EF4-FFF2-40B4-BE49-F238E27FC236}">
                <a16:creationId xmlns:a16="http://schemas.microsoft.com/office/drawing/2014/main" id="{52606F80-5B8D-FDBB-C91B-10731D8C770C}"/>
              </a:ext>
              <a:ext uri="{C183D7F6-B498-43B3-948B-1728B52AA6E4}">
                <adec:decorative xmlns:adec="http://schemas.microsoft.com/office/drawing/2017/decorative" val="1"/>
              </a:ext>
            </a:extLst>
          </p:cNvPr>
          <p:cNvSpPr/>
          <p:nvPr/>
        </p:nvSpPr>
        <p:spPr bwMode="auto">
          <a:xfrm>
            <a:off x="5753100" y="2278380"/>
            <a:ext cx="5872163" cy="662896"/>
          </a:xfrm>
          <a:prstGeom prst="rect">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cxnSp>
        <p:nvCxnSpPr>
          <p:cNvPr id="4" name="Straight Connector 3">
            <a:extLst>
              <a:ext uri="{FF2B5EF4-FFF2-40B4-BE49-F238E27FC236}">
                <a16:creationId xmlns:a16="http://schemas.microsoft.com/office/drawing/2014/main" id="{DAFF8E65-C352-EEF2-53B7-CDA5DAB0852F}"/>
              </a:ext>
              <a:ext uri="{C183D7F6-B498-43B3-948B-1728B52AA6E4}">
                <adec:decorative xmlns:adec="http://schemas.microsoft.com/office/drawing/2017/decorative" val="1"/>
              </a:ext>
            </a:extLst>
          </p:cNvPr>
          <p:cNvCxnSpPr>
            <a:cxnSpLocks noChangeAspect="1"/>
          </p:cNvCxnSpPr>
          <p:nvPr/>
        </p:nvCxnSpPr>
        <p:spPr>
          <a:xfrm>
            <a:off x="1303517" y="2482182"/>
            <a:ext cx="4275332" cy="0"/>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BE31EC2-E5C6-E505-B3D6-506457E145FE}"/>
              </a:ext>
              <a:ext uri="{C183D7F6-B498-43B3-948B-1728B52AA6E4}">
                <adec:decorative xmlns:adec="http://schemas.microsoft.com/office/drawing/2017/decorative" val="1"/>
              </a:ext>
            </a:extLst>
          </p:cNvPr>
          <p:cNvCxnSpPr>
            <a:cxnSpLocks noChangeAspect="1"/>
          </p:cNvCxnSpPr>
          <p:nvPr/>
        </p:nvCxnSpPr>
        <p:spPr>
          <a:xfrm>
            <a:off x="1303517" y="3578112"/>
            <a:ext cx="4275332" cy="0"/>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62C99A8-2732-B8A3-A407-E0D4CF03EB28}"/>
              </a:ext>
              <a:ext uri="{C183D7F6-B498-43B3-948B-1728B52AA6E4}">
                <adec:decorative xmlns:adec="http://schemas.microsoft.com/office/drawing/2017/decorative" val="1"/>
              </a:ext>
            </a:extLst>
          </p:cNvPr>
          <p:cNvCxnSpPr>
            <a:cxnSpLocks noChangeAspect="1"/>
          </p:cNvCxnSpPr>
          <p:nvPr/>
        </p:nvCxnSpPr>
        <p:spPr>
          <a:xfrm>
            <a:off x="1303517" y="4493418"/>
            <a:ext cx="4275332" cy="0"/>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6EDCD5-B410-ADBD-9648-4BBF8EC4A1E1}"/>
              </a:ext>
              <a:ext uri="{C183D7F6-B498-43B3-948B-1728B52AA6E4}">
                <adec:decorative xmlns:adec="http://schemas.microsoft.com/office/drawing/2017/decorative" val="1"/>
              </a:ext>
            </a:extLst>
          </p:cNvPr>
          <p:cNvCxnSpPr>
            <a:cxnSpLocks noChangeAspect="1"/>
          </p:cNvCxnSpPr>
          <p:nvPr/>
        </p:nvCxnSpPr>
        <p:spPr>
          <a:xfrm>
            <a:off x="1303517" y="5589348"/>
            <a:ext cx="4275332" cy="0"/>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4D62569-66BE-124A-7597-95F508E625F0}"/>
              </a:ext>
              <a:ext uri="{C183D7F6-B498-43B3-948B-1728B52AA6E4}">
                <adec:decorative xmlns:adec="http://schemas.microsoft.com/office/drawing/2017/decorative" val="1"/>
              </a:ext>
            </a:extLst>
          </p:cNvPr>
          <p:cNvCxnSpPr>
            <a:cxnSpLocks/>
          </p:cNvCxnSpPr>
          <p:nvPr/>
        </p:nvCxnSpPr>
        <p:spPr>
          <a:xfrm>
            <a:off x="7712353" y="2394385"/>
            <a:ext cx="0" cy="43088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B36EE36-7628-747C-50B6-CDA0DCDEC549}"/>
              </a:ext>
              <a:ext uri="{C183D7F6-B498-43B3-948B-1728B52AA6E4}">
                <adec:decorative xmlns:adec="http://schemas.microsoft.com/office/drawing/2017/decorative" val="1"/>
              </a:ext>
            </a:extLst>
          </p:cNvPr>
          <p:cNvCxnSpPr>
            <a:cxnSpLocks/>
          </p:cNvCxnSpPr>
          <p:nvPr/>
        </p:nvCxnSpPr>
        <p:spPr>
          <a:xfrm>
            <a:off x="9666009" y="2394385"/>
            <a:ext cx="0" cy="43088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D24B72F9-7A4A-4904-03F3-B67F7FA2EC07}"/>
              </a:ext>
              <a:ext uri="{C183D7F6-B498-43B3-948B-1728B52AA6E4}">
                <adec:decorative xmlns:adec="http://schemas.microsoft.com/office/drawing/2017/decorative" val="1"/>
              </a:ext>
            </a:extLst>
          </p:cNvPr>
          <p:cNvSpPr/>
          <p:nvPr/>
        </p:nvSpPr>
        <p:spPr bwMode="auto">
          <a:xfrm rot="5400000">
            <a:off x="-2397128" y="3597277"/>
            <a:ext cx="5657853" cy="863600"/>
          </a:xfrm>
          <a:prstGeom prst="bentArrow">
            <a:avLst>
              <a:gd name="adj1" fmla="val 25000"/>
              <a:gd name="adj2" fmla="val 0"/>
              <a:gd name="adj3" fmla="val 25000"/>
              <a:gd name="adj4" fmla="val 106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nvGrpSpPr>
          <p:cNvPr id="13" name="Group 12">
            <a:extLst>
              <a:ext uri="{FF2B5EF4-FFF2-40B4-BE49-F238E27FC236}">
                <a16:creationId xmlns:a16="http://schemas.microsoft.com/office/drawing/2014/main" id="{79FA19E5-908C-66EA-8DC8-339EB4BF0640}"/>
              </a:ext>
              <a:ext uri="{C183D7F6-B498-43B3-948B-1728B52AA6E4}">
                <adec:decorative xmlns:adec="http://schemas.microsoft.com/office/drawing/2017/decorative" val="1"/>
              </a:ext>
            </a:extLst>
          </p:cNvPr>
          <p:cNvGrpSpPr/>
          <p:nvPr/>
        </p:nvGrpSpPr>
        <p:grpSpPr>
          <a:xfrm>
            <a:off x="588263" y="1532086"/>
            <a:ext cx="557780" cy="558040"/>
            <a:chOff x="588263" y="1604476"/>
            <a:chExt cx="557780" cy="558040"/>
          </a:xfrm>
        </p:grpSpPr>
        <p:sp>
          <p:nvSpPr>
            <p:cNvPr id="14" name="Oval 13">
              <a:extLst>
                <a:ext uri="{FF2B5EF4-FFF2-40B4-BE49-F238E27FC236}">
                  <a16:creationId xmlns:a16="http://schemas.microsoft.com/office/drawing/2014/main" id="{506E93CE-9018-42FF-9ECB-C566FC7883FF}"/>
                </a:ext>
              </a:extLst>
            </p:cNvPr>
            <p:cNvSpPr>
              <a:spLocks/>
            </p:cNvSpPr>
            <p:nvPr/>
          </p:nvSpPr>
          <p:spPr bwMode="auto">
            <a:xfrm>
              <a:off x="588263" y="1604476"/>
              <a:ext cx="557780" cy="558040"/>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15" name="Graphic 34" descr="Icon of a shield with a checkmark">
              <a:extLst>
                <a:ext uri="{FF2B5EF4-FFF2-40B4-BE49-F238E27FC236}">
                  <a16:creationId xmlns:a16="http://schemas.microsoft.com/office/drawing/2014/main" id="{4D22D4F3-1A98-BC6F-2567-5E8DEDC41EDF}"/>
                </a:ext>
              </a:extLst>
            </p:cNvPr>
            <p:cNvSpPr>
              <a:spLocks/>
            </p:cNvSpPr>
            <p:nvPr/>
          </p:nvSpPr>
          <p:spPr>
            <a:xfrm>
              <a:off x="732376" y="1733744"/>
              <a:ext cx="269554" cy="299504"/>
            </a:xfrm>
            <a:custGeom>
              <a:avLst/>
              <a:gdLst>
                <a:gd name="connsiteX0" fmla="*/ 164306 w 171450"/>
                <a:gd name="connsiteY0" fmla="*/ 28575 h 190501"/>
                <a:gd name="connsiteX1" fmla="*/ 90011 w 171450"/>
                <a:gd name="connsiteY1" fmla="*/ 1429 h 190501"/>
                <a:gd name="connsiteX2" fmla="*/ 81439 w 171450"/>
                <a:gd name="connsiteY2" fmla="*/ 1429 h 190501"/>
                <a:gd name="connsiteX3" fmla="*/ 7144 w 171450"/>
                <a:gd name="connsiteY3" fmla="*/ 28575 h 190501"/>
                <a:gd name="connsiteX4" fmla="*/ 0 w 171450"/>
                <a:gd name="connsiteY4" fmla="*/ 35719 h 190501"/>
                <a:gd name="connsiteX5" fmla="*/ 0 w 171450"/>
                <a:gd name="connsiteY5" fmla="*/ 85725 h 190501"/>
                <a:gd name="connsiteX6" fmla="*/ 83106 w 171450"/>
                <a:gd name="connsiteY6" fmla="*/ 190005 h 190501"/>
                <a:gd name="connsiteX7" fmla="*/ 88344 w 171450"/>
                <a:gd name="connsiteY7" fmla="*/ 190005 h 190501"/>
                <a:gd name="connsiteX8" fmla="*/ 171450 w 171450"/>
                <a:gd name="connsiteY8" fmla="*/ 85725 h 190501"/>
                <a:gd name="connsiteX9" fmla="*/ 171450 w 171450"/>
                <a:gd name="connsiteY9" fmla="*/ 35719 h 190501"/>
                <a:gd name="connsiteX10" fmla="*/ 164306 w 171450"/>
                <a:gd name="connsiteY10" fmla="*/ 28575 h 190501"/>
                <a:gd name="connsiteX11" fmla="*/ 131035 w 171450"/>
                <a:gd name="connsiteY11" fmla="*/ 69561 h 190501"/>
                <a:gd name="connsiteX12" fmla="*/ 73885 w 171450"/>
                <a:gd name="connsiteY12" fmla="*/ 121949 h 190501"/>
                <a:gd name="connsiteX13" fmla="*/ 64008 w 171450"/>
                <a:gd name="connsiteY13" fmla="*/ 121730 h 190501"/>
                <a:gd name="connsiteX14" fmla="*/ 40195 w 171450"/>
                <a:gd name="connsiteY14" fmla="*/ 97917 h 190501"/>
                <a:gd name="connsiteX15" fmla="*/ 39839 w 171450"/>
                <a:gd name="connsiteY15" fmla="*/ 87821 h 190501"/>
                <a:gd name="connsiteX16" fmla="*/ 49936 w 171450"/>
                <a:gd name="connsiteY16" fmla="*/ 87464 h 190501"/>
                <a:gd name="connsiteX17" fmla="*/ 50292 w 171450"/>
                <a:gd name="connsiteY17" fmla="*/ 87821 h 190501"/>
                <a:gd name="connsiteX18" fmla="*/ 69275 w 171450"/>
                <a:gd name="connsiteY18" fmla="*/ 106794 h 190501"/>
                <a:gd name="connsiteX19" fmla="*/ 121377 w 171450"/>
                <a:gd name="connsiteY19" fmla="*/ 59026 h 190501"/>
                <a:gd name="connsiteX20" fmla="*/ 131474 w 171450"/>
                <a:gd name="connsiteY20" fmla="*/ 59465 h 190501"/>
                <a:gd name="connsiteX21" fmla="*/ 131035 w 171450"/>
                <a:gd name="connsiteY21" fmla="*/ 6956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90501">
                  <a:moveTo>
                    <a:pt x="164306" y="28575"/>
                  </a:move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lose/>
                  <a:moveTo>
                    <a:pt x="131035" y="69561"/>
                  </a:moveTo>
                  <a:lnTo>
                    <a:pt x="73885" y="121949"/>
                  </a:lnTo>
                  <a:cubicBezTo>
                    <a:pt x="71065" y="124531"/>
                    <a:pt x="66711" y="124435"/>
                    <a:pt x="64008" y="121730"/>
                  </a:cubicBezTo>
                  <a:lnTo>
                    <a:pt x="40195" y="97917"/>
                  </a:lnTo>
                  <a:cubicBezTo>
                    <a:pt x="37309" y="95227"/>
                    <a:pt x="37149" y="90707"/>
                    <a:pt x="39839" y="87821"/>
                  </a:cubicBezTo>
                  <a:cubicBezTo>
                    <a:pt x="42529" y="84934"/>
                    <a:pt x="47049" y="84774"/>
                    <a:pt x="49936" y="87464"/>
                  </a:cubicBezTo>
                  <a:cubicBezTo>
                    <a:pt x="50059" y="87579"/>
                    <a:pt x="50177" y="87698"/>
                    <a:pt x="50292" y="87821"/>
                  </a:cubicBezTo>
                  <a:lnTo>
                    <a:pt x="69275" y="106794"/>
                  </a:lnTo>
                  <a:lnTo>
                    <a:pt x="121377" y="59026"/>
                  </a:lnTo>
                  <a:cubicBezTo>
                    <a:pt x="124286" y="56359"/>
                    <a:pt x="128807" y="56556"/>
                    <a:pt x="131474" y="59465"/>
                  </a:cubicBezTo>
                  <a:cubicBezTo>
                    <a:pt x="134141" y="62374"/>
                    <a:pt x="133944" y="66894"/>
                    <a:pt x="131035" y="69561"/>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nvGrpSpPr>
          <p:cNvPr id="16" name="Group 15">
            <a:extLst>
              <a:ext uri="{FF2B5EF4-FFF2-40B4-BE49-F238E27FC236}">
                <a16:creationId xmlns:a16="http://schemas.microsoft.com/office/drawing/2014/main" id="{D35DBB76-36CE-51D7-D5A2-65CE73403899}"/>
              </a:ext>
              <a:ext uri="{C183D7F6-B498-43B3-948B-1728B52AA6E4}">
                <adec:decorative xmlns:adec="http://schemas.microsoft.com/office/drawing/2017/decorative" val="1"/>
              </a:ext>
            </a:extLst>
          </p:cNvPr>
          <p:cNvGrpSpPr/>
          <p:nvPr/>
        </p:nvGrpSpPr>
        <p:grpSpPr>
          <a:xfrm>
            <a:off x="588263" y="2751127"/>
            <a:ext cx="557780" cy="558040"/>
            <a:chOff x="588263" y="2812879"/>
            <a:chExt cx="557780" cy="558040"/>
          </a:xfrm>
        </p:grpSpPr>
        <p:sp>
          <p:nvSpPr>
            <p:cNvPr id="17" name="Oval 16">
              <a:extLst>
                <a:ext uri="{FF2B5EF4-FFF2-40B4-BE49-F238E27FC236}">
                  <a16:creationId xmlns:a16="http://schemas.microsoft.com/office/drawing/2014/main" id="{7B3C4AC9-6C5E-2612-B849-C6CE5D343562}"/>
                </a:ext>
              </a:extLst>
            </p:cNvPr>
            <p:cNvSpPr>
              <a:spLocks/>
            </p:cNvSpPr>
            <p:nvPr/>
          </p:nvSpPr>
          <p:spPr bwMode="auto">
            <a:xfrm>
              <a:off x="588263" y="2812879"/>
              <a:ext cx="557780" cy="558040"/>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18" name="Graphic 63" descr="Icon of a notepad with a pen">
              <a:extLst>
                <a:ext uri="{FF2B5EF4-FFF2-40B4-BE49-F238E27FC236}">
                  <a16:creationId xmlns:a16="http://schemas.microsoft.com/office/drawing/2014/main" id="{C0CE3BA5-9987-E6CC-74C2-0B1FC43C6708}"/>
                </a:ext>
              </a:extLst>
            </p:cNvPr>
            <p:cNvSpPr>
              <a:spLocks noChangeAspect="1"/>
            </p:cNvSpPr>
            <p:nvPr/>
          </p:nvSpPr>
          <p:spPr>
            <a:xfrm>
              <a:off x="748095" y="2972622"/>
              <a:ext cx="238118" cy="238554"/>
            </a:xfrm>
            <a:custGeom>
              <a:avLst/>
              <a:gdLst>
                <a:gd name="connsiteX0" fmla="*/ 0 w 190157"/>
                <a:gd name="connsiteY0" fmla="*/ 21431 h 190506"/>
                <a:gd name="connsiteX1" fmla="*/ 21431 w 190157"/>
                <a:gd name="connsiteY1" fmla="*/ 0 h 190506"/>
                <a:gd name="connsiteX2" fmla="*/ 150019 w 190157"/>
                <a:gd name="connsiteY2" fmla="*/ 0 h 190506"/>
                <a:gd name="connsiteX3" fmla="*/ 171450 w 190157"/>
                <a:gd name="connsiteY3" fmla="*/ 21431 h 190506"/>
                <a:gd name="connsiteX4" fmla="*/ 171450 w 190157"/>
                <a:gd name="connsiteY4" fmla="*/ 76314 h 190506"/>
                <a:gd name="connsiteX5" fmla="*/ 146618 w 190157"/>
                <a:gd name="connsiteY5" fmla="*/ 85363 h 190506"/>
                <a:gd name="connsiteX6" fmla="*/ 117681 w 190157"/>
                <a:gd name="connsiteY6" fmla="*/ 114300 h 190506"/>
                <a:gd name="connsiteX7" fmla="*/ 78581 w 190157"/>
                <a:gd name="connsiteY7" fmla="*/ 114300 h 190506"/>
                <a:gd name="connsiteX8" fmla="*/ 71438 w 190157"/>
                <a:gd name="connsiteY8" fmla="*/ 121444 h 190506"/>
                <a:gd name="connsiteX9" fmla="*/ 78581 w 190157"/>
                <a:gd name="connsiteY9" fmla="*/ 128588 h 190506"/>
                <a:gd name="connsiteX10" fmla="*/ 103394 w 190157"/>
                <a:gd name="connsiteY10" fmla="*/ 128588 h 190506"/>
                <a:gd name="connsiteX11" fmla="*/ 90392 w 190157"/>
                <a:gd name="connsiteY11" fmla="*/ 141589 h 190506"/>
                <a:gd name="connsiteX12" fmla="*/ 81153 w 190157"/>
                <a:gd name="connsiteY12" fmla="*/ 157896 h 190506"/>
                <a:gd name="connsiteX13" fmla="*/ 77781 w 190157"/>
                <a:gd name="connsiteY13" fmla="*/ 171450 h 190506"/>
                <a:gd name="connsiteX14" fmla="*/ 21431 w 190157"/>
                <a:gd name="connsiteY14" fmla="*/ 171450 h 190506"/>
                <a:gd name="connsiteX15" fmla="*/ 0 w 190157"/>
                <a:gd name="connsiteY15" fmla="*/ 150019 h 190506"/>
                <a:gd name="connsiteX16" fmla="*/ 0 w 190157"/>
                <a:gd name="connsiteY16" fmla="*/ 21431 h 190506"/>
                <a:gd name="connsiteX17" fmla="*/ 45244 w 190157"/>
                <a:gd name="connsiteY17" fmla="*/ 59531 h 190506"/>
                <a:gd name="connsiteX18" fmla="*/ 54769 w 190157"/>
                <a:gd name="connsiteY18" fmla="*/ 50006 h 190506"/>
                <a:gd name="connsiteX19" fmla="*/ 45244 w 190157"/>
                <a:gd name="connsiteY19" fmla="*/ 40481 h 190506"/>
                <a:gd name="connsiteX20" fmla="*/ 35719 w 190157"/>
                <a:gd name="connsiteY20" fmla="*/ 50006 h 190506"/>
                <a:gd name="connsiteX21" fmla="*/ 45244 w 190157"/>
                <a:gd name="connsiteY21" fmla="*/ 59531 h 190506"/>
                <a:gd name="connsiteX22" fmla="*/ 78581 w 190157"/>
                <a:gd name="connsiteY22" fmla="*/ 42863 h 190506"/>
                <a:gd name="connsiteX23" fmla="*/ 71438 w 190157"/>
                <a:gd name="connsiteY23" fmla="*/ 50006 h 190506"/>
                <a:gd name="connsiteX24" fmla="*/ 78581 w 190157"/>
                <a:gd name="connsiteY24" fmla="*/ 57150 h 190506"/>
                <a:gd name="connsiteX25" fmla="*/ 130969 w 190157"/>
                <a:gd name="connsiteY25" fmla="*/ 57150 h 190506"/>
                <a:gd name="connsiteX26" fmla="*/ 138113 w 190157"/>
                <a:gd name="connsiteY26" fmla="*/ 50006 h 190506"/>
                <a:gd name="connsiteX27" fmla="*/ 130969 w 190157"/>
                <a:gd name="connsiteY27" fmla="*/ 42863 h 190506"/>
                <a:gd name="connsiteX28" fmla="*/ 78581 w 190157"/>
                <a:gd name="connsiteY28" fmla="*/ 42863 h 190506"/>
                <a:gd name="connsiteX29" fmla="*/ 78581 w 190157"/>
                <a:gd name="connsiteY29" fmla="*/ 78581 h 190506"/>
                <a:gd name="connsiteX30" fmla="*/ 71438 w 190157"/>
                <a:gd name="connsiteY30" fmla="*/ 85725 h 190506"/>
                <a:gd name="connsiteX31" fmla="*/ 78581 w 190157"/>
                <a:gd name="connsiteY31" fmla="*/ 92869 h 190506"/>
                <a:gd name="connsiteX32" fmla="*/ 130969 w 190157"/>
                <a:gd name="connsiteY32" fmla="*/ 92869 h 190506"/>
                <a:gd name="connsiteX33" fmla="*/ 138113 w 190157"/>
                <a:gd name="connsiteY33" fmla="*/ 85725 h 190506"/>
                <a:gd name="connsiteX34" fmla="*/ 130969 w 190157"/>
                <a:gd name="connsiteY34" fmla="*/ 78581 h 190506"/>
                <a:gd name="connsiteX35" fmla="*/ 78581 w 190157"/>
                <a:gd name="connsiteY35" fmla="*/ 78581 h 190506"/>
                <a:gd name="connsiteX36" fmla="*/ 35719 w 190157"/>
                <a:gd name="connsiteY36" fmla="*/ 85725 h 190506"/>
                <a:gd name="connsiteX37" fmla="*/ 45244 w 190157"/>
                <a:gd name="connsiteY37" fmla="*/ 95250 h 190506"/>
                <a:gd name="connsiteX38" fmla="*/ 54769 w 190157"/>
                <a:gd name="connsiteY38" fmla="*/ 85725 h 190506"/>
                <a:gd name="connsiteX39" fmla="*/ 45244 w 190157"/>
                <a:gd name="connsiteY39" fmla="*/ 76200 h 190506"/>
                <a:gd name="connsiteX40" fmla="*/ 35719 w 190157"/>
                <a:gd name="connsiteY40" fmla="*/ 85725 h 190506"/>
                <a:gd name="connsiteX41" fmla="*/ 45244 w 190157"/>
                <a:gd name="connsiteY41" fmla="*/ 130969 h 190506"/>
                <a:gd name="connsiteX42" fmla="*/ 54769 w 190157"/>
                <a:gd name="connsiteY42" fmla="*/ 121444 h 190506"/>
                <a:gd name="connsiteX43" fmla="*/ 45244 w 190157"/>
                <a:gd name="connsiteY43" fmla="*/ 111919 h 190506"/>
                <a:gd name="connsiteX44" fmla="*/ 35719 w 190157"/>
                <a:gd name="connsiteY44" fmla="*/ 121444 h 190506"/>
                <a:gd name="connsiteX45" fmla="*/ 45244 w 190157"/>
                <a:gd name="connsiteY45" fmla="*/ 130969 h 190506"/>
                <a:gd name="connsiteX46" fmla="*/ 153353 w 190157"/>
                <a:gd name="connsiteY46" fmla="*/ 92107 h 190506"/>
                <a:gd name="connsiteX47" fmla="*/ 97126 w 190157"/>
                <a:gd name="connsiteY47" fmla="*/ 148323 h 190506"/>
                <a:gd name="connsiteX48" fmla="*/ 90402 w 190157"/>
                <a:gd name="connsiteY48" fmla="*/ 160201 h 190506"/>
                <a:gd name="connsiteX49" fmla="*/ 86039 w 190157"/>
                <a:gd name="connsiteY49" fmla="*/ 177641 h 190506"/>
                <a:gd name="connsiteX50" fmla="*/ 93573 w 190157"/>
                <a:gd name="connsiteY50" fmla="*/ 190197 h 190506"/>
                <a:gd name="connsiteX51" fmla="*/ 98603 w 190157"/>
                <a:gd name="connsiteY51" fmla="*/ 190195 h 190506"/>
                <a:gd name="connsiteX52" fmla="*/ 116034 w 190157"/>
                <a:gd name="connsiteY52" fmla="*/ 185842 h 190506"/>
                <a:gd name="connsiteX53" fmla="*/ 127921 w 190157"/>
                <a:gd name="connsiteY53" fmla="*/ 179108 h 190506"/>
                <a:gd name="connsiteX54" fmla="*/ 184137 w 190157"/>
                <a:gd name="connsiteY54" fmla="*/ 122892 h 190506"/>
                <a:gd name="connsiteX55" fmla="*/ 183414 w 190157"/>
                <a:gd name="connsiteY55" fmla="*/ 92107 h 190506"/>
                <a:gd name="connsiteX56" fmla="*/ 153353 w 190157"/>
                <a:gd name="connsiteY56" fmla="*/ 92107 h 19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90157" h="190506">
                  <a:moveTo>
                    <a:pt x="0" y="21431"/>
                  </a:moveTo>
                  <a:cubicBezTo>
                    <a:pt x="0" y="9595"/>
                    <a:pt x="9595" y="0"/>
                    <a:pt x="21431" y="0"/>
                  </a:cubicBezTo>
                  <a:lnTo>
                    <a:pt x="150019" y="0"/>
                  </a:lnTo>
                  <a:cubicBezTo>
                    <a:pt x="161855" y="0"/>
                    <a:pt x="171450" y="9595"/>
                    <a:pt x="171450" y="21431"/>
                  </a:cubicBezTo>
                  <a:lnTo>
                    <a:pt x="171450" y="76314"/>
                  </a:lnTo>
                  <a:cubicBezTo>
                    <a:pt x="162241" y="75508"/>
                    <a:pt x="153149" y="78820"/>
                    <a:pt x="146618" y="85363"/>
                  </a:cubicBezTo>
                  <a:lnTo>
                    <a:pt x="117681" y="114300"/>
                  </a:lnTo>
                  <a:lnTo>
                    <a:pt x="78581" y="114300"/>
                  </a:lnTo>
                  <a:cubicBezTo>
                    <a:pt x="74636" y="114300"/>
                    <a:pt x="71438" y="117499"/>
                    <a:pt x="71438" y="121444"/>
                  </a:cubicBezTo>
                  <a:cubicBezTo>
                    <a:pt x="71438" y="125389"/>
                    <a:pt x="74636" y="128588"/>
                    <a:pt x="78581" y="128588"/>
                  </a:cubicBezTo>
                  <a:lnTo>
                    <a:pt x="103394" y="128588"/>
                  </a:lnTo>
                  <a:lnTo>
                    <a:pt x="90392" y="141589"/>
                  </a:lnTo>
                  <a:cubicBezTo>
                    <a:pt x="85892" y="146087"/>
                    <a:pt x="82698" y="151724"/>
                    <a:pt x="81153" y="157896"/>
                  </a:cubicBezTo>
                  <a:lnTo>
                    <a:pt x="77781" y="171450"/>
                  </a:lnTo>
                  <a:lnTo>
                    <a:pt x="21431" y="171450"/>
                  </a:lnTo>
                  <a:cubicBezTo>
                    <a:pt x="9595" y="171450"/>
                    <a:pt x="0" y="161855"/>
                    <a:pt x="0" y="150019"/>
                  </a:cubicBezTo>
                  <a:lnTo>
                    <a:pt x="0" y="21431"/>
                  </a:lnTo>
                  <a:close/>
                  <a:moveTo>
                    <a:pt x="45244" y="59531"/>
                  </a:moveTo>
                  <a:cubicBezTo>
                    <a:pt x="50504" y="59531"/>
                    <a:pt x="54769" y="55267"/>
                    <a:pt x="54769" y="50006"/>
                  </a:cubicBezTo>
                  <a:cubicBezTo>
                    <a:pt x="54769" y="44746"/>
                    <a:pt x="50504" y="40481"/>
                    <a:pt x="45244" y="40481"/>
                  </a:cubicBezTo>
                  <a:cubicBezTo>
                    <a:pt x="39983" y="40481"/>
                    <a:pt x="35719" y="44746"/>
                    <a:pt x="35719" y="50006"/>
                  </a:cubicBezTo>
                  <a:cubicBezTo>
                    <a:pt x="35719" y="55267"/>
                    <a:pt x="39983" y="59531"/>
                    <a:pt x="45244" y="59531"/>
                  </a:cubicBezTo>
                  <a:close/>
                  <a:moveTo>
                    <a:pt x="78581" y="42863"/>
                  </a:moveTo>
                  <a:cubicBezTo>
                    <a:pt x="74636" y="42863"/>
                    <a:pt x="71438" y="46061"/>
                    <a:pt x="71438" y="50006"/>
                  </a:cubicBezTo>
                  <a:cubicBezTo>
                    <a:pt x="71438" y="53952"/>
                    <a:pt x="74636" y="57150"/>
                    <a:pt x="78581" y="57150"/>
                  </a:cubicBezTo>
                  <a:lnTo>
                    <a:pt x="130969" y="57150"/>
                  </a:lnTo>
                  <a:cubicBezTo>
                    <a:pt x="134914" y="57150"/>
                    <a:pt x="138113" y="53952"/>
                    <a:pt x="138113" y="50006"/>
                  </a:cubicBezTo>
                  <a:cubicBezTo>
                    <a:pt x="138113" y="46061"/>
                    <a:pt x="134914" y="42863"/>
                    <a:pt x="130969" y="42863"/>
                  </a:cubicBezTo>
                  <a:lnTo>
                    <a:pt x="78581" y="42863"/>
                  </a:lnTo>
                  <a:close/>
                  <a:moveTo>
                    <a:pt x="78581" y="78581"/>
                  </a:moveTo>
                  <a:cubicBezTo>
                    <a:pt x="74636" y="78581"/>
                    <a:pt x="71438" y="81780"/>
                    <a:pt x="71438" y="85725"/>
                  </a:cubicBezTo>
                  <a:cubicBezTo>
                    <a:pt x="71438" y="89670"/>
                    <a:pt x="74636" y="92869"/>
                    <a:pt x="78581" y="92869"/>
                  </a:cubicBezTo>
                  <a:lnTo>
                    <a:pt x="130969" y="92869"/>
                  </a:lnTo>
                  <a:cubicBezTo>
                    <a:pt x="134914" y="92869"/>
                    <a:pt x="138113" y="89670"/>
                    <a:pt x="138113" y="85725"/>
                  </a:cubicBezTo>
                  <a:cubicBezTo>
                    <a:pt x="138113" y="81780"/>
                    <a:pt x="134914" y="78581"/>
                    <a:pt x="130969" y="78581"/>
                  </a:cubicBezTo>
                  <a:lnTo>
                    <a:pt x="78581" y="78581"/>
                  </a:lnTo>
                  <a:close/>
                  <a:moveTo>
                    <a:pt x="35719" y="85725"/>
                  </a:moveTo>
                  <a:cubicBezTo>
                    <a:pt x="35719" y="90986"/>
                    <a:pt x="39983" y="95250"/>
                    <a:pt x="45244" y="95250"/>
                  </a:cubicBezTo>
                  <a:cubicBezTo>
                    <a:pt x="50504" y="95250"/>
                    <a:pt x="54769" y="90986"/>
                    <a:pt x="54769" y="85725"/>
                  </a:cubicBezTo>
                  <a:cubicBezTo>
                    <a:pt x="54769" y="80464"/>
                    <a:pt x="50504" y="76200"/>
                    <a:pt x="45244" y="76200"/>
                  </a:cubicBezTo>
                  <a:cubicBezTo>
                    <a:pt x="39983" y="76200"/>
                    <a:pt x="35719" y="80464"/>
                    <a:pt x="35719" y="85725"/>
                  </a:cubicBezTo>
                  <a:close/>
                  <a:moveTo>
                    <a:pt x="45244" y="130969"/>
                  </a:moveTo>
                  <a:cubicBezTo>
                    <a:pt x="50504" y="130969"/>
                    <a:pt x="54769" y="126704"/>
                    <a:pt x="54769" y="121444"/>
                  </a:cubicBezTo>
                  <a:cubicBezTo>
                    <a:pt x="54769" y="116183"/>
                    <a:pt x="50504" y="111919"/>
                    <a:pt x="45244" y="111919"/>
                  </a:cubicBezTo>
                  <a:cubicBezTo>
                    <a:pt x="39983" y="111919"/>
                    <a:pt x="35719" y="116183"/>
                    <a:pt x="35719" y="121444"/>
                  </a:cubicBezTo>
                  <a:cubicBezTo>
                    <a:pt x="35719" y="126704"/>
                    <a:pt x="39983" y="130969"/>
                    <a:pt x="45244" y="130969"/>
                  </a:cubicBezTo>
                  <a:close/>
                  <a:moveTo>
                    <a:pt x="153353" y="92107"/>
                  </a:moveTo>
                  <a:lnTo>
                    <a:pt x="97126" y="148323"/>
                  </a:lnTo>
                  <a:cubicBezTo>
                    <a:pt x="93851" y="151601"/>
                    <a:pt x="91527" y="155706"/>
                    <a:pt x="90402" y="160201"/>
                  </a:cubicBezTo>
                  <a:lnTo>
                    <a:pt x="86039" y="177641"/>
                  </a:lnTo>
                  <a:cubicBezTo>
                    <a:pt x="84652" y="183189"/>
                    <a:pt x="88025" y="188810"/>
                    <a:pt x="93573" y="190197"/>
                  </a:cubicBezTo>
                  <a:cubicBezTo>
                    <a:pt x="95224" y="190611"/>
                    <a:pt x="96952" y="190610"/>
                    <a:pt x="98603" y="190195"/>
                  </a:cubicBezTo>
                  <a:lnTo>
                    <a:pt x="116034" y="185842"/>
                  </a:lnTo>
                  <a:cubicBezTo>
                    <a:pt x="120533" y="184717"/>
                    <a:pt x="124642" y="182389"/>
                    <a:pt x="127921" y="179108"/>
                  </a:cubicBezTo>
                  <a:lnTo>
                    <a:pt x="184137" y="122892"/>
                  </a:lnTo>
                  <a:cubicBezTo>
                    <a:pt x="192438" y="114190"/>
                    <a:pt x="192114" y="100408"/>
                    <a:pt x="183414" y="92107"/>
                  </a:cubicBezTo>
                  <a:cubicBezTo>
                    <a:pt x="175001" y="84080"/>
                    <a:pt x="161766" y="84080"/>
                    <a:pt x="153353" y="92107"/>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nvGrpSpPr>
          <p:cNvPr id="19" name="Group 18">
            <a:extLst>
              <a:ext uri="{FF2B5EF4-FFF2-40B4-BE49-F238E27FC236}">
                <a16:creationId xmlns:a16="http://schemas.microsoft.com/office/drawing/2014/main" id="{FE977DA2-901A-1C87-6BEF-028A2E9DA5C2}"/>
              </a:ext>
              <a:ext uri="{C183D7F6-B498-43B3-948B-1728B52AA6E4}">
                <adec:decorative xmlns:adec="http://schemas.microsoft.com/office/drawing/2017/decorative" val="1"/>
              </a:ext>
            </a:extLst>
          </p:cNvPr>
          <p:cNvGrpSpPr/>
          <p:nvPr/>
        </p:nvGrpSpPr>
        <p:grpSpPr>
          <a:xfrm>
            <a:off x="588263" y="3756745"/>
            <a:ext cx="557780" cy="558040"/>
            <a:chOff x="588263" y="3778079"/>
            <a:chExt cx="557780" cy="558040"/>
          </a:xfrm>
        </p:grpSpPr>
        <p:sp>
          <p:nvSpPr>
            <p:cNvPr id="20" name="Oval 19">
              <a:extLst>
                <a:ext uri="{FF2B5EF4-FFF2-40B4-BE49-F238E27FC236}">
                  <a16:creationId xmlns:a16="http://schemas.microsoft.com/office/drawing/2014/main" id="{5BF63B20-A1F7-F68A-273F-2E79F11B3937}"/>
                </a:ext>
              </a:extLst>
            </p:cNvPr>
            <p:cNvSpPr>
              <a:spLocks/>
            </p:cNvSpPr>
            <p:nvPr/>
          </p:nvSpPr>
          <p:spPr bwMode="auto">
            <a:xfrm>
              <a:off x="588263" y="3778079"/>
              <a:ext cx="557780" cy="558040"/>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21" name="Graphic 52" descr="Icon of a team of three people">
              <a:extLst>
                <a:ext uri="{FF2B5EF4-FFF2-40B4-BE49-F238E27FC236}">
                  <a16:creationId xmlns:a16="http://schemas.microsoft.com/office/drawing/2014/main" id="{76763F61-42B0-52C9-7929-FAF49548F162}"/>
                </a:ext>
              </a:extLst>
            </p:cNvPr>
            <p:cNvSpPr>
              <a:spLocks/>
            </p:cNvSpPr>
            <p:nvPr/>
          </p:nvSpPr>
          <p:spPr>
            <a:xfrm>
              <a:off x="733709" y="3937000"/>
              <a:ext cx="266888" cy="240198"/>
            </a:xfrm>
            <a:custGeom>
              <a:avLst/>
              <a:gdLst>
                <a:gd name="connsiteX0" fmla="*/ 121482 w 190500"/>
                <a:gd name="connsiteY0" fmla="*/ 66675 h 171450"/>
                <a:gd name="connsiteX1" fmla="*/ 138151 w 190500"/>
                <a:gd name="connsiteY1" fmla="*/ 83344 h 171450"/>
                <a:gd name="connsiteX2" fmla="*/ 138151 w 190500"/>
                <a:gd name="connsiteY2" fmla="*/ 128578 h 171450"/>
                <a:gd name="connsiteX3" fmla="*/ 95279 w 190500"/>
                <a:gd name="connsiteY3" fmla="*/ 171450 h 171450"/>
                <a:gd name="connsiteX4" fmla="*/ 52407 w 190500"/>
                <a:gd name="connsiteY4" fmla="*/ 128578 h 171450"/>
                <a:gd name="connsiteX5" fmla="*/ 52407 w 190500"/>
                <a:gd name="connsiteY5" fmla="*/ 83344 h 171450"/>
                <a:gd name="connsiteX6" fmla="*/ 69075 w 190500"/>
                <a:gd name="connsiteY6" fmla="*/ 66675 h 171450"/>
                <a:gd name="connsiteX7" fmla="*/ 121482 w 190500"/>
                <a:gd name="connsiteY7" fmla="*/ 66675 h 171450"/>
                <a:gd name="connsiteX8" fmla="*/ 48873 w 190500"/>
                <a:gd name="connsiteY8" fmla="*/ 66675 h 171450"/>
                <a:gd name="connsiteX9" fmla="*/ 42967 w 190500"/>
                <a:gd name="connsiteY9" fmla="*/ 81248 h 171450"/>
                <a:gd name="connsiteX10" fmla="*/ 42872 w 190500"/>
                <a:gd name="connsiteY10" fmla="*/ 83344 h 171450"/>
                <a:gd name="connsiteX11" fmla="*/ 42872 w 190500"/>
                <a:gd name="connsiteY11" fmla="*/ 128578 h 171450"/>
                <a:gd name="connsiteX12" fmla="*/ 47958 w 190500"/>
                <a:gd name="connsiteY12" fmla="*/ 151105 h 171450"/>
                <a:gd name="connsiteX13" fmla="*/ 1295 w 190500"/>
                <a:gd name="connsiteY13" fmla="*/ 124138 h 171450"/>
                <a:gd name="connsiteX14" fmla="*/ 0 w 190500"/>
                <a:gd name="connsiteY14" fmla="*/ 114290 h 171450"/>
                <a:gd name="connsiteX15" fmla="*/ 0 w 190500"/>
                <a:gd name="connsiteY15" fmla="*/ 83344 h 171450"/>
                <a:gd name="connsiteX16" fmla="*/ 15297 w 190500"/>
                <a:gd name="connsiteY16" fmla="*/ 66732 h 171450"/>
                <a:gd name="connsiteX17" fmla="*/ 16669 w 190500"/>
                <a:gd name="connsiteY17" fmla="*/ 66675 h 171450"/>
                <a:gd name="connsiteX18" fmla="*/ 48873 w 190500"/>
                <a:gd name="connsiteY18" fmla="*/ 66675 h 171450"/>
                <a:gd name="connsiteX19" fmla="*/ 141684 w 190500"/>
                <a:gd name="connsiteY19" fmla="*/ 66675 h 171450"/>
                <a:gd name="connsiteX20" fmla="*/ 173831 w 190500"/>
                <a:gd name="connsiteY20" fmla="*/ 66675 h 171450"/>
                <a:gd name="connsiteX21" fmla="*/ 190500 w 190500"/>
                <a:gd name="connsiteY21" fmla="*/ 83344 h 171450"/>
                <a:gd name="connsiteX22" fmla="*/ 190500 w 190500"/>
                <a:gd name="connsiteY22" fmla="*/ 114300 h 171450"/>
                <a:gd name="connsiteX23" fmla="*/ 152409 w 190500"/>
                <a:gd name="connsiteY23" fmla="*/ 152409 h 171450"/>
                <a:gd name="connsiteX24" fmla="*/ 142589 w 190500"/>
                <a:gd name="connsiteY24" fmla="*/ 151124 h 171450"/>
                <a:gd name="connsiteX25" fmla="*/ 147590 w 190500"/>
                <a:gd name="connsiteY25" fmla="*/ 131578 h 171450"/>
                <a:gd name="connsiteX26" fmla="*/ 147676 w 190500"/>
                <a:gd name="connsiteY26" fmla="*/ 128578 h 171450"/>
                <a:gd name="connsiteX27" fmla="*/ 147676 w 190500"/>
                <a:gd name="connsiteY27" fmla="*/ 83344 h 171450"/>
                <a:gd name="connsiteX28" fmla="*/ 141675 w 190500"/>
                <a:gd name="connsiteY28" fmla="*/ 66675 h 171450"/>
                <a:gd name="connsiteX29" fmla="*/ 95250 w 190500"/>
                <a:gd name="connsiteY29" fmla="*/ 0 h 171450"/>
                <a:gd name="connsiteX30" fmla="*/ 123825 w 190500"/>
                <a:gd name="connsiteY30" fmla="*/ 28575 h 171450"/>
                <a:gd name="connsiteX31" fmla="*/ 95250 w 190500"/>
                <a:gd name="connsiteY31" fmla="*/ 57150 h 171450"/>
                <a:gd name="connsiteX32" fmla="*/ 66675 w 190500"/>
                <a:gd name="connsiteY32" fmla="*/ 28575 h 171450"/>
                <a:gd name="connsiteX33" fmla="*/ 95250 w 190500"/>
                <a:gd name="connsiteY33" fmla="*/ 0 h 171450"/>
                <a:gd name="connsiteX34" fmla="*/ 157163 w 190500"/>
                <a:gd name="connsiteY34" fmla="*/ 9525 h 171450"/>
                <a:gd name="connsiteX35" fmla="*/ 180975 w 190500"/>
                <a:gd name="connsiteY35" fmla="*/ 33338 h 171450"/>
                <a:gd name="connsiteX36" fmla="*/ 157163 w 190500"/>
                <a:gd name="connsiteY36" fmla="*/ 57150 h 171450"/>
                <a:gd name="connsiteX37" fmla="*/ 133350 w 190500"/>
                <a:gd name="connsiteY37" fmla="*/ 33338 h 171450"/>
                <a:gd name="connsiteX38" fmla="*/ 157163 w 190500"/>
                <a:gd name="connsiteY38" fmla="*/ 9525 h 171450"/>
                <a:gd name="connsiteX39" fmla="*/ 33338 w 190500"/>
                <a:gd name="connsiteY39" fmla="*/ 9525 h 171450"/>
                <a:gd name="connsiteX40" fmla="*/ 57150 w 190500"/>
                <a:gd name="connsiteY40" fmla="*/ 33338 h 171450"/>
                <a:gd name="connsiteX41" fmla="*/ 33338 w 190500"/>
                <a:gd name="connsiteY41" fmla="*/ 57150 h 171450"/>
                <a:gd name="connsiteX42" fmla="*/ 9525 w 190500"/>
                <a:gd name="connsiteY42" fmla="*/ 33338 h 171450"/>
                <a:gd name="connsiteX43" fmla="*/ 33338 w 190500"/>
                <a:gd name="connsiteY43" fmla="*/ 95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71450">
                  <a:moveTo>
                    <a:pt x="121482" y="66675"/>
                  </a:moveTo>
                  <a:cubicBezTo>
                    <a:pt x="130683" y="66675"/>
                    <a:pt x="138151" y="74143"/>
                    <a:pt x="138151" y="83344"/>
                  </a:cubicBezTo>
                  <a:lnTo>
                    <a:pt x="138151" y="128578"/>
                  </a:lnTo>
                  <a:cubicBezTo>
                    <a:pt x="138151" y="152255"/>
                    <a:pt x="118956" y="171450"/>
                    <a:pt x="95279" y="171450"/>
                  </a:cubicBezTo>
                  <a:cubicBezTo>
                    <a:pt x="71601" y="171450"/>
                    <a:pt x="52407" y="152255"/>
                    <a:pt x="52407" y="128578"/>
                  </a:cubicBezTo>
                  <a:lnTo>
                    <a:pt x="52407" y="83344"/>
                  </a:lnTo>
                  <a:cubicBezTo>
                    <a:pt x="52407" y="74143"/>
                    <a:pt x="59865" y="66675"/>
                    <a:pt x="69075" y="66675"/>
                  </a:cubicBezTo>
                  <a:lnTo>
                    <a:pt x="121482" y="66675"/>
                  </a:lnTo>
                  <a:close/>
                  <a:moveTo>
                    <a:pt x="48873" y="66675"/>
                  </a:moveTo>
                  <a:cubicBezTo>
                    <a:pt x="45539" y="70695"/>
                    <a:pt x="43396" y="75724"/>
                    <a:pt x="42967" y="81248"/>
                  </a:cubicBezTo>
                  <a:lnTo>
                    <a:pt x="42872" y="83344"/>
                  </a:lnTo>
                  <a:lnTo>
                    <a:pt x="42872" y="128578"/>
                  </a:lnTo>
                  <a:cubicBezTo>
                    <a:pt x="42872" y="136646"/>
                    <a:pt x="44701" y="144285"/>
                    <a:pt x="47958" y="151105"/>
                  </a:cubicBezTo>
                  <a:cubicBezTo>
                    <a:pt x="27626" y="156544"/>
                    <a:pt x="6734" y="144470"/>
                    <a:pt x="1295" y="124138"/>
                  </a:cubicBezTo>
                  <a:cubicBezTo>
                    <a:pt x="435" y="120927"/>
                    <a:pt x="0" y="117616"/>
                    <a:pt x="0" y="114290"/>
                  </a:cubicBezTo>
                  <a:lnTo>
                    <a:pt x="0" y="83344"/>
                  </a:lnTo>
                  <a:cubicBezTo>
                    <a:pt x="0" y="74670"/>
                    <a:pt x="6653" y="67446"/>
                    <a:pt x="15297" y="66732"/>
                  </a:cubicBezTo>
                  <a:lnTo>
                    <a:pt x="16669" y="66675"/>
                  </a:lnTo>
                  <a:lnTo>
                    <a:pt x="48873" y="66675"/>
                  </a:lnTo>
                  <a:close/>
                  <a:moveTo>
                    <a:pt x="141684" y="66675"/>
                  </a:moveTo>
                  <a:lnTo>
                    <a:pt x="173831" y="66675"/>
                  </a:lnTo>
                  <a:cubicBezTo>
                    <a:pt x="183032" y="66675"/>
                    <a:pt x="190500" y="74143"/>
                    <a:pt x="190500" y="83344"/>
                  </a:cubicBezTo>
                  <a:lnTo>
                    <a:pt x="190500" y="114300"/>
                  </a:lnTo>
                  <a:cubicBezTo>
                    <a:pt x="190505" y="135342"/>
                    <a:pt x="173450" y="152404"/>
                    <a:pt x="152409" y="152409"/>
                  </a:cubicBezTo>
                  <a:cubicBezTo>
                    <a:pt x="149094" y="152410"/>
                    <a:pt x="145793" y="151977"/>
                    <a:pt x="142589" y="151124"/>
                  </a:cubicBezTo>
                  <a:cubicBezTo>
                    <a:pt x="145447" y="145142"/>
                    <a:pt x="147199" y="138551"/>
                    <a:pt x="147590" y="131578"/>
                  </a:cubicBezTo>
                  <a:lnTo>
                    <a:pt x="147676" y="128578"/>
                  </a:lnTo>
                  <a:lnTo>
                    <a:pt x="147676" y="83344"/>
                  </a:lnTo>
                  <a:cubicBezTo>
                    <a:pt x="147676" y="77010"/>
                    <a:pt x="145428" y="71199"/>
                    <a:pt x="141675" y="66675"/>
                  </a:cubicBezTo>
                  <a:close/>
                  <a:moveTo>
                    <a:pt x="95250" y="0"/>
                  </a:moveTo>
                  <a:cubicBezTo>
                    <a:pt x="111032" y="0"/>
                    <a:pt x="123825" y="12794"/>
                    <a:pt x="123825" y="28575"/>
                  </a:cubicBezTo>
                  <a:cubicBezTo>
                    <a:pt x="123825" y="44356"/>
                    <a:pt x="111032" y="57150"/>
                    <a:pt x="95250" y="57150"/>
                  </a:cubicBezTo>
                  <a:cubicBezTo>
                    <a:pt x="79468" y="57150"/>
                    <a:pt x="66675" y="44356"/>
                    <a:pt x="66675" y="28575"/>
                  </a:cubicBezTo>
                  <a:cubicBezTo>
                    <a:pt x="66675" y="12794"/>
                    <a:pt x="79468" y="0"/>
                    <a:pt x="95250" y="0"/>
                  </a:cubicBezTo>
                  <a:close/>
                  <a:moveTo>
                    <a:pt x="157163" y="9525"/>
                  </a:moveTo>
                  <a:cubicBezTo>
                    <a:pt x="170314" y="9525"/>
                    <a:pt x="180975" y="20186"/>
                    <a:pt x="180975" y="33338"/>
                  </a:cubicBezTo>
                  <a:cubicBezTo>
                    <a:pt x="180975" y="46489"/>
                    <a:pt x="170314" y="57150"/>
                    <a:pt x="157163" y="57150"/>
                  </a:cubicBezTo>
                  <a:cubicBezTo>
                    <a:pt x="144011" y="57150"/>
                    <a:pt x="133350" y="46489"/>
                    <a:pt x="133350" y="33338"/>
                  </a:cubicBezTo>
                  <a:cubicBezTo>
                    <a:pt x="133350" y="20186"/>
                    <a:pt x="144011" y="9525"/>
                    <a:pt x="157163" y="9525"/>
                  </a:cubicBezTo>
                  <a:close/>
                  <a:moveTo>
                    <a:pt x="33338" y="9525"/>
                  </a:moveTo>
                  <a:cubicBezTo>
                    <a:pt x="46489" y="9525"/>
                    <a:pt x="57150" y="20186"/>
                    <a:pt x="57150" y="33338"/>
                  </a:cubicBezTo>
                  <a:cubicBezTo>
                    <a:pt x="57150" y="46489"/>
                    <a:pt x="46489" y="57150"/>
                    <a:pt x="33338" y="57150"/>
                  </a:cubicBezTo>
                  <a:cubicBezTo>
                    <a:pt x="20186" y="57150"/>
                    <a:pt x="9525" y="46489"/>
                    <a:pt x="9525" y="33338"/>
                  </a:cubicBezTo>
                  <a:cubicBezTo>
                    <a:pt x="9525" y="20186"/>
                    <a:pt x="20186" y="9525"/>
                    <a:pt x="33338" y="952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DE3A7D53-5D7D-0B9E-F26E-5DC52960D645}"/>
              </a:ext>
              <a:ext uri="{C183D7F6-B498-43B3-948B-1728B52AA6E4}">
                <adec:decorative xmlns:adec="http://schemas.microsoft.com/office/drawing/2017/decorative" val="1"/>
              </a:ext>
            </a:extLst>
          </p:cNvPr>
          <p:cNvGrpSpPr/>
          <p:nvPr/>
        </p:nvGrpSpPr>
        <p:grpSpPr>
          <a:xfrm>
            <a:off x="588263" y="4762363"/>
            <a:ext cx="557780" cy="558040"/>
            <a:chOff x="588263" y="4689828"/>
            <a:chExt cx="557780" cy="558040"/>
          </a:xfrm>
        </p:grpSpPr>
        <p:sp>
          <p:nvSpPr>
            <p:cNvPr id="23" name="Oval 22">
              <a:extLst>
                <a:ext uri="{FF2B5EF4-FFF2-40B4-BE49-F238E27FC236}">
                  <a16:creationId xmlns:a16="http://schemas.microsoft.com/office/drawing/2014/main" id="{CAA7CFF5-6B78-7E19-7462-3D78DF63F674}"/>
                </a:ext>
              </a:extLst>
            </p:cNvPr>
            <p:cNvSpPr>
              <a:spLocks/>
            </p:cNvSpPr>
            <p:nvPr/>
          </p:nvSpPr>
          <p:spPr bwMode="auto">
            <a:xfrm>
              <a:off x="588263" y="4689828"/>
              <a:ext cx="557780" cy="558040"/>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24" name="Freeform: Shape 23" descr="Icon of a chat bubble with a question mark">
              <a:extLst>
                <a:ext uri="{FF2B5EF4-FFF2-40B4-BE49-F238E27FC236}">
                  <a16:creationId xmlns:a16="http://schemas.microsoft.com/office/drawing/2014/main" id="{EB6D0A24-0D24-F9B8-9C93-A1F31DC1D6ED}"/>
                </a:ext>
              </a:extLst>
            </p:cNvPr>
            <p:cNvSpPr/>
            <p:nvPr/>
          </p:nvSpPr>
          <p:spPr>
            <a:xfrm>
              <a:off x="730578" y="4845970"/>
              <a:ext cx="273152" cy="245756"/>
            </a:xfrm>
            <a:custGeom>
              <a:avLst/>
              <a:gdLst>
                <a:gd name="connsiteX0" fmla="*/ 71438 w 190558"/>
                <a:gd name="connsiteY0" fmla="*/ 95234 h 171447"/>
                <a:gd name="connsiteX1" fmla="*/ 61913 w 190558"/>
                <a:gd name="connsiteY1" fmla="*/ 104759 h 171447"/>
                <a:gd name="connsiteX2" fmla="*/ 71438 w 190558"/>
                <a:gd name="connsiteY2" fmla="*/ 114284 h 171447"/>
                <a:gd name="connsiteX3" fmla="*/ 80963 w 190558"/>
                <a:gd name="connsiteY3" fmla="*/ 104759 h 171447"/>
                <a:gd name="connsiteX4" fmla="*/ 71438 w 190558"/>
                <a:gd name="connsiteY4" fmla="*/ 95234 h 171447"/>
                <a:gd name="connsiteX5" fmla="*/ 142437 w 190558"/>
                <a:gd name="connsiteY5" fmla="*/ 32465 h 171447"/>
                <a:gd name="connsiteX6" fmla="*/ 149294 w 190558"/>
                <a:gd name="connsiteY6" fmla="*/ 35245 h 171447"/>
                <a:gd name="connsiteX7" fmla="*/ 183804 w 190558"/>
                <a:gd name="connsiteY7" fmla="*/ 130239 h 171447"/>
                <a:gd name="connsiteX8" fmla="*/ 190376 w 190558"/>
                <a:gd name="connsiteY8" fmla="*/ 160110 h 171447"/>
                <a:gd name="connsiteX9" fmla="*/ 190413 w 190558"/>
                <a:gd name="connsiteY9" fmla="*/ 163608 h 171447"/>
                <a:gd name="connsiteX10" fmla="*/ 179422 w 190558"/>
                <a:gd name="connsiteY10" fmla="*/ 171301 h 171447"/>
                <a:gd name="connsiteX11" fmla="*/ 148485 w 190558"/>
                <a:gd name="connsiteY11" fmla="*/ 165110 h 171447"/>
                <a:gd name="connsiteX12" fmla="*/ 119063 w 190558"/>
                <a:gd name="connsiteY12" fmla="*/ 171435 h 171447"/>
                <a:gd name="connsiteX13" fmla="*/ 70485 w 190558"/>
                <a:gd name="connsiteY13" fmla="*/ 152385 h 171447"/>
                <a:gd name="connsiteX14" fmla="*/ 110430 w 190558"/>
                <a:gd name="connsiteY14" fmla="*/ 142399 h 171447"/>
                <a:gd name="connsiteX15" fmla="*/ 142437 w 190558"/>
                <a:gd name="connsiteY15" fmla="*/ 32465 h 171447"/>
                <a:gd name="connsiteX16" fmla="*/ 71438 w 190558"/>
                <a:gd name="connsiteY16" fmla="*/ 28569 h 171447"/>
                <a:gd name="connsiteX17" fmla="*/ 58522 w 190558"/>
                <a:gd name="connsiteY17" fmla="*/ 31483 h 171447"/>
                <a:gd name="connsiteX18" fmla="*/ 48492 w 190558"/>
                <a:gd name="connsiteY18" fmla="*/ 41866 h 171447"/>
                <a:gd name="connsiteX19" fmla="*/ 51727 w 190558"/>
                <a:gd name="connsiteY19" fmla="*/ 51436 h 171447"/>
                <a:gd name="connsiteX20" fmla="*/ 61046 w 190558"/>
                <a:gd name="connsiteY20" fmla="*/ 48666 h 171447"/>
                <a:gd name="connsiteX21" fmla="*/ 65256 w 190558"/>
                <a:gd name="connsiteY21" fmla="*/ 44094 h 171447"/>
                <a:gd name="connsiteX22" fmla="*/ 71438 w 190558"/>
                <a:gd name="connsiteY22" fmla="*/ 42856 h 171447"/>
                <a:gd name="connsiteX23" fmla="*/ 77915 w 190558"/>
                <a:gd name="connsiteY23" fmla="*/ 45123 h 171447"/>
                <a:gd name="connsiteX24" fmla="*/ 80963 w 190558"/>
                <a:gd name="connsiteY24" fmla="*/ 52372 h 171447"/>
                <a:gd name="connsiteX25" fmla="*/ 75362 w 190558"/>
                <a:gd name="connsiteY25" fmla="*/ 58925 h 171447"/>
                <a:gd name="connsiteX26" fmla="*/ 64294 w 190558"/>
                <a:gd name="connsiteY26" fmla="*/ 78565 h 171447"/>
                <a:gd name="connsiteX27" fmla="*/ 71438 w 190558"/>
                <a:gd name="connsiteY27" fmla="*/ 85709 h 171447"/>
                <a:gd name="connsiteX28" fmla="*/ 78581 w 190558"/>
                <a:gd name="connsiteY28" fmla="*/ 78565 h 171447"/>
                <a:gd name="connsiteX29" fmla="*/ 84182 w 190558"/>
                <a:gd name="connsiteY29" fmla="*/ 70155 h 171447"/>
                <a:gd name="connsiteX30" fmla="*/ 84992 w 190558"/>
                <a:gd name="connsiteY30" fmla="*/ 69536 h 171447"/>
                <a:gd name="connsiteX31" fmla="*/ 95250 w 190558"/>
                <a:gd name="connsiteY31" fmla="*/ 52372 h 171447"/>
                <a:gd name="connsiteX32" fmla="*/ 86982 w 190558"/>
                <a:gd name="connsiteY32" fmla="*/ 34065 h 171447"/>
                <a:gd name="connsiteX33" fmla="*/ 71438 w 190558"/>
                <a:gd name="connsiteY33" fmla="*/ 28569 h 171447"/>
                <a:gd name="connsiteX34" fmla="*/ 71453 w 190558"/>
                <a:gd name="connsiteY34" fmla="*/ 0 h 171447"/>
                <a:gd name="connsiteX35" fmla="*/ 142875 w 190558"/>
                <a:gd name="connsiteY35" fmla="*/ 71453 h 171447"/>
                <a:gd name="connsiteX36" fmla="*/ 71422 w 190558"/>
                <a:gd name="connsiteY36" fmla="*/ 142875 h 171447"/>
                <a:gd name="connsiteX37" fmla="*/ 42015 w 190558"/>
                <a:gd name="connsiteY37" fmla="*/ 136535 h 171447"/>
                <a:gd name="connsiteX38" fmla="*/ 11192 w 190558"/>
                <a:gd name="connsiteY38" fmla="*/ 142745 h 171447"/>
                <a:gd name="connsiteX39" fmla="*/ 184 w 190558"/>
                <a:gd name="connsiteY39" fmla="*/ 135074 h 171447"/>
                <a:gd name="connsiteX40" fmla="*/ 210 w 190558"/>
                <a:gd name="connsiteY40" fmla="*/ 131601 h 171447"/>
                <a:gd name="connsiteX41" fmla="*/ 6696 w 190558"/>
                <a:gd name="connsiteY41" fmla="*/ 101663 h 171447"/>
                <a:gd name="connsiteX42" fmla="*/ 0 w 190558"/>
                <a:gd name="connsiteY42" fmla="*/ 71422 h 171447"/>
                <a:gd name="connsiteX43" fmla="*/ 71453 w 190558"/>
                <a:gd name="connsiteY43" fmla="*/ 0 h 17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58" h="171447">
                  <a:moveTo>
                    <a:pt x="71438" y="95234"/>
                  </a:moveTo>
                  <a:cubicBezTo>
                    <a:pt x="66177" y="95234"/>
                    <a:pt x="61913" y="99498"/>
                    <a:pt x="61913" y="104759"/>
                  </a:cubicBezTo>
                  <a:cubicBezTo>
                    <a:pt x="61913" y="110020"/>
                    <a:pt x="66177" y="114284"/>
                    <a:pt x="71438" y="114284"/>
                  </a:cubicBezTo>
                  <a:cubicBezTo>
                    <a:pt x="76698" y="114284"/>
                    <a:pt x="80963" y="110020"/>
                    <a:pt x="80963" y="104759"/>
                  </a:cubicBezTo>
                  <a:cubicBezTo>
                    <a:pt x="80963" y="99498"/>
                    <a:pt x="76698" y="95234"/>
                    <a:pt x="71438" y="95234"/>
                  </a:cubicBezTo>
                  <a:close/>
                  <a:moveTo>
                    <a:pt x="142437" y="32465"/>
                  </a:moveTo>
                  <a:cubicBezTo>
                    <a:pt x="144770" y="33273"/>
                    <a:pt x="147058" y="34201"/>
                    <a:pt x="149294" y="35245"/>
                  </a:cubicBezTo>
                  <a:cubicBezTo>
                    <a:pt x="185056" y="51947"/>
                    <a:pt x="200506" y="94478"/>
                    <a:pt x="183804" y="130239"/>
                  </a:cubicBezTo>
                  <a:cubicBezTo>
                    <a:pt x="186209" y="140148"/>
                    <a:pt x="188401" y="150106"/>
                    <a:pt x="190376" y="160110"/>
                  </a:cubicBezTo>
                  <a:cubicBezTo>
                    <a:pt x="190606" y="161263"/>
                    <a:pt x="190618" y="162450"/>
                    <a:pt x="190413" y="163608"/>
                  </a:cubicBezTo>
                  <a:cubicBezTo>
                    <a:pt x="189503" y="168768"/>
                    <a:pt x="184582" y="172212"/>
                    <a:pt x="179422" y="171301"/>
                  </a:cubicBezTo>
                  <a:cubicBezTo>
                    <a:pt x="173450" y="170254"/>
                    <a:pt x="160487" y="167872"/>
                    <a:pt x="148485" y="165110"/>
                  </a:cubicBezTo>
                  <a:cubicBezTo>
                    <a:pt x="139503" y="169177"/>
                    <a:pt x="129540" y="171435"/>
                    <a:pt x="119063" y="171435"/>
                  </a:cubicBezTo>
                  <a:cubicBezTo>
                    <a:pt x="101042" y="171461"/>
                    <a:pt x="83683" y="164654"/>
                    <a:pt x="70485" y="152385"/>
                  </a:cubicBezTo>
                  <a:cubicBezTo>
                    <a:pt x="84438" y="152554"/>
                    <a:pt x="98198" y="149114"/>
                    <a:pt x="110430" y="142399"/>
                  </a:cubicBezTo>
                  <a:cubicBezTo>
                    <a:pt x="149625" y="120880"/>
                    <a:pt x="163956" y="71661"/>
                    <a:pt x="142437" y="32465"/>
                  </a:cubicBezTo>
                  <a:close/>
                  <a:moveTo>
                    <a:pt x="71438" y="28569"/>
                  </a:moveTo>
                  <a:cubicBezTo>
                    <a:pt x="67104" y="28569"/>
                    <a:pt x="62656" y="29273"/>
                    <a:pt x="58522" y="31483"/>
                  </a:cubicBezTo>
                  <a:cubicBezTo>
                    <a:pt x="54312" y="33731"/>
                    <a:pt x="50997" y="37227"/>
                    <a:pt x="48492" y="41866"/>
                  </a:cubicBezTo>
                  <a:cubicBezTo>
                    <a:pt x="46742" y="45402"/>
                    <a:pt x="48190" y="49687"/>
                    <a:pt x="51727" y="51436"/>
                  </a:cubicBezTo>
                  <a:cubicBezTo>
                    <a:pt x="55079" y="53095"/>
                    <a:pt x="59144" y="51887"/>
                    <a:pt x="61046" y="48666"/>
                  </a:cubicBezTo>
                  <a:cubicBezTo>
                    <a:pt x="62446" y="46095"/>
                    <a:pt x="63884" y="44818"/>
                    <a:pt x="65256" y="44094"/>
                  </a:cubicBezTo>
                  <a:cubicBezTo>
                    <a:pt x="66685" y="43323"/>
                    <a:pt x="68628" y="42856"/>
                    <a:pt x="71438" y="42856"/>
                  </a:cubicBezTo>
                  <a:cubicBezTo>
                    <a:pt x="73571" y="42856"/>
                    <a:pt x="76076" y="43609"/>
                    <a:pt x="77915" y="45123"/>
                  </a:cubicBezTo>
                  <a:cubicBezTo>
                    <a:pt x="79543" y="46457"/>
                    <a:pt x="80963" y="48590"/>
                    <a:pt x="80963" y="52372"/>
                  </a:cubicBezTo>
                  <a:cubicBezTo>
                    <a:pt x="80963" y="54229"/>
                    <a:pt x="80248" y="55086"/>
                    <a:pt x="75362" y="58925"/>
                  </a:cubicBezTo>
                  <a:cubicBezTo>
                    <a:pt x="71076" y="62297"/>
                    <a:pt x="64294" y="67764"/>
                    <a:pt x="64294" y="78565"/>
                  </a:cubicBezTo>
                  <a:cubicBezTo>
                    <a:pt x="64294" y="82511"/>
                    <a:pt x="67492" y="85709"/>
                    <a:pt x="71438" y="85709"/>
                  </a:cubicBezTo>
                  <a:cubicBezTo>
                    <a:pt x="75383" y="85709"/>
                    <a:pt x="78581" y="82511"/>
                    <a:pt x="78581" y="78565"/>
                  </a:cubicBezTo>
                  <a:cubicBezTo>
                    <a:pt x="78581" y="75041"/>
                    <a:pt x="80143" y="73336"/>
                    <a:pt x="84182" y="70155"/>
                  </a:cubicBezTo>
                  <a:lnTo>
                    <a:pt x="84992" y="69536"/>
                  </a:lnTo>
                  <a:cubicBezTo>
                    <a:pt x="88678" y="66697"/>
                    <a:pt x="95250" y="61658"/>
                    <a:pt x="95250" y="52372"/>
                  </a:cubicBezTo>
                  <a:cubicBezTo>
                    <a:pt x="95250" y="44294"/>
                    <a:pt x="91907" y="38103"/>
                    <a:pt x="86982" y="34065"/>
                  </a:cubicBezTo>
                  <a:cubicBezTo>
                    <a:pt x="82575" y="30520"/>
                    <a:pt x="77093" y="28582"/>
                    <a:pt x="71438" y="28569"/>
                  </a:cubicBezTo>
                  <a:close/>
                  <a:moveTo>
                    <a:pt x="71453" y="0"/>
                  </a:moveTo>
                  <a:cubicBezTo>
                    <a:pt x="110907" y="9"/>
                    <a:pt x="142884" y="32000"/>
                    <a:pt x="142875" y="71453"/>
                  </a:cubicBezTo>
                  <a:cubicBezTo>
                    <a:pt x="142867" y="110907"/>
                    <a:pt x="110876" y="142884"/>
                    <a:pt x="71422" y="142875"/>
                  </a:cubicBezTo>
                  <a:cubicBezTo>
                    <a:pt x="61280" y="142872"/>
                    <a:pt x="51256" y="140711"/>
                    <a:pt x="42015" y="136535"/>
                  </a:cubicBezTo>
                  <a:cubicBezTo>
                    <a:pt x="30032" y="139297"/>
                    <a:pt x="17126" y="141678"/>
                    <a:pt x="11192" y="142745"/>
                  </a:cubicBezTo>
                  <a:cubicBezTo>
                    <a:pt x="6034" y="143667"/>
                    <a:pt x="1106" y="140232"/>
                    <a:pt x="184" y="135074"/>
                  </a:cubicBezTo>
                  <a:cubicBezTo>
                    <a:pt x="-21" y="133925"/>
                    <a:pt x="-13" y="132747"/>
                    <a:pt x="210" y="131601"/>
                  </a:cubicBezTo>
                  <a:cubicBezTo>
                    <a:pt x="1334" y="125790"/>
                    <a:pt x="3829" y="113332"/>
                    <a:pt x="6696" y="101663"/>
                  </a:cubicBezTo>
                  <a:cubicBezTo>
                    <a:pt x="2272" y="92197"/>
                    <a:pt x="-15" y="81871"/>
                    <a:pt x="0" y="71422"/>
                  </a:cubicBezTo>
                  <a:cubicBezTo>
                    <a:pt x="9" y="31968"/>
                    <a:pt x="32000" y="-9"/>
                    <a:pt x="71453" y="0"/>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D1629657-49A2-5903-ACB9-195CA2657165}"/>
              </a:ext>
              <a:ext uri="{C183D7F6-B498-43B3-948B-1728B52AA6E4}">
                <adec:decorative xmlns:adec="http://schemas.microsoft.com/office/drawing/2017/decorative" val="1"/>
              </a:ext>
            </a:extLst>
          </p:cNvPr>
          <p:cNvGrpSpPr/>
          <p:nvPr/>
        </p:nvGrpSpPr>
        <p:grpSpPr>
          <a:xfrm>
            <a:off x="588263" y="5767983"/>
            <a:ext cx="557780" cy="558040"/>
            <a:chOff x="588263" y="5695411"/>
            <a:chExt cx="557780" cy="558040"/>
          </a:xfrm>
        </p:grpSpPr>
        <p:sp>
          <p:nvSpPr>
            <p:cNvPr id="26" name="Oval 25">
              <a:extLst>
                <a:ext uri="{FF2B5EF4-FFF2-40B4-BE49-F238E27FC236}">
                  <a16:creationId xmlns:a16="http://schemas.microsoft.com/office/drawing/2014/main" id="{C91EE813-9F12-66DE-36A3-C7C7F131095F}"/>
                </a:ext>
              </a:extLst>
            </p:cNvPr>
            <p:cNvSpPr>
              <a:spLocks/>
            </p:cNvSpPr>
            <p:nvPr/>
          </p:nvSpPr>
          <p:spPr bwMode="auto">
            <a:xfrm>
              <a:off x="588263" y="5695411"/>
              <a:ext cx="557780" cy="558040"/>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Segoe Sans Display Semibold" pitchFamily="2" charset="0"/>
              </a:endParaRPr>
            </a:p>
          </p:txBody>
        </p:sp>
        <p:sp>
          <p:nvSpPr>
            <p:cNvPr id="27" name="Freeform: Shape 26" descr="Icon of a document with a lifeline">
              <a:extLst>
                <a:ext uri="{FF2B5EF4-FFF2-40B4-BE49-F238E27FC236}">
                  <a16:creationId xmlns:a16="http://schemas.microsoft.com/office/drawing/2014/main" id="{2E82A0DF-D46E-91EA-98DC-90894A869CEF}"/>
                </a:ext>
              </a:extLst>
            </p:cNvPr>
            <p:cNvSpPr>
              <a:spLocks/>
            </p:cNvSpPr>
            <p:nvPr/>
          </p:nvSpPr>
          <p:spPr>
            <a:xfrm>
              <a:off x="745107" y="5838826"/>
              <a:ext cx="244094" cy="271212"/>
            </a:xfrm>
            <a:custGeom>
              <a:avLst/>
              <a:gdLst>
                <a:gd name="connsiteX0" fmla="*/ 48627 w 171424"/>
                <a:gd name="connsiteY0" fmla="*/ 67703 h 190500"/>
                <a:gd name="connsiteX1" fmla="*/ 58447 w 171424"/>
                <a:gd name="connsiteY1" fmla="*/ 70075 h 190500"/>
                <a:gd name="connsiteX2" fmla="*/ 58504 w 171424"/>
                <a:gd name="connsiteY2" fmla="*/ 70170 h 190500"/>
                <a:gd name="connsiteX3" fmla="*/ 58981 w 171424"/>
                <a:gd name="connsiteY3" fmla="*/ 71151 h 190500"/>
                <a:gd name="connsiteX4" fmla="*/ 81965 w 171424"/>
                <a:gd name="connsiteY4" fmla="*/ 128568 h 190500"/>
                <a:gd name="connsiteX5" fmla="*/ 95557 w 171424"/>
                <a:gd name="connsiteY5" fmla="*/ 108565 h 190500"/>
                <a:gd name="connsiteX6" fmla="*/ 100757 w 171424"/>
                <a:gd name="connsiteY6" fmla="*/ 104860 h 190500"/>
                <a:gd name="connsiteX7" fmla="*/ 100853 w 171424"/>
                <a:gd name="connsiteY7" fmla="*/ 104841 h 190500"/>
                <a:gd name="connsiteX8" fmla="*/ 101862 w 171424"/>
                <a:gd name="connsiteY8" fmla="*/ 104775 h 190500"/>
                <a:gd name="connsiteX9" fmla="*/ 120912 w 171424"/>
                <a:gd name="connsiteY9" fmla="*/ 104775 h 190500"/>
                <a:gd name="connsiteX10" fmla="*/ 127944 w 171424"/>
                <a:gd name="connsiteY10" fmla="*/ 110815 h 190500"/>
                <a:gd name="connsiteX11" fmla="*/ 121989 w 171424"/>
                <a:gd name="connsiteY11" fmla="*/ 118976 h 190500"/>
                <a:gd name="connsiteX12" fmla="*/ 121893 w 171424"/>
                <a:gd name="connsiteY12" fmla="*/ 118995 h 190500"/>
                <a:gd name="connsiteX13" fmla="*/ 120912 w 171424"/>
                <a:gd name="connsiteY13" fmla="*/ 119062 h 190500"/>
                <a:gd name="connsiteX14" fmla="*/ 106110 w 171424"/>
                <a:gd name="connsiteY14" fmla="*/ 119062 h 190500"/>
                <a:gd name="connsiteX15" fmla="*/ 87260 w 171424"/>
                <a:gd name="connsiteY15" fmla="*/ 148532 h 190500"/>
                <a:gd name="connsiteX16" fmla="*/ 84632 w 171424"/>
                <a:gd name="connsiteY16" fmla="*/ 151331 h 190500"/>
                <a:gd name="connsiteX17" fmla="*/ 74821 w 171424"/>
                <a:gd name="connsiteY17" fmla="*/ 148923 h 190500"/>
                <a:gd name="connsiteX18" fmla="*/ 74773 w 171424"/>
                <a:gd name="connsiteY18" fmla="*/ 148828 h 190500"/>
                <a:gd name="connsiteX19" fmla="*/ 74306 w 171424"/>
                <a:gd name="connsiteY19" fmla="*/ 147866 h 190500"/>
                <a:gd name="connsiteX20" fmla="*/ 52046 w 171424"/>
                <a:gd name="connsiteY20" fmla="*/ 92287 h 190500"/>
                <a:gd name="connsiteX21" fmla="*/ 42198 w 171424"/>
                <a:gd name="connsiteY21" fmla="*/ 114785 h 190500"/>
                <a:gd name="connsiteX22" fmla="*/ 36816 w 171424"/>
                <a:gd name="connsiteY22" fmla="*/ 118967 h 190500"/>
                <a:gd name="connsiteX23" fmla="*/ 36702 w 171424"/>
                <a:gd name="connsiteY23" fmla="*/ 118986 h 190500"/>
                <a:gd name="connsiteX24" fmla="*/ 35644 w 171424"/>
                <a:gd name="connsiteY24" fmla="*/ 119062 h 190500"/>
                <a:gd name="connsiteX25" fmla="*/ 7117 w 171424"/>
                <a:gd name="connsiteY25" fmla="*/ 119062 h 190500"/>
                <a:gd name="connsiteX26" fmla="*/ 86 w 171424"/>
                <a:gd name="connsiteY26" fmla="*/ 113021 h 190500"/>
                <a:gd name="connsiteX27" fmla="*/ 6041 w 171424"/>
                <a:gd name="connsiteY27" fmla="*/ 104860 h 190500"/>
                <a:gd name="connsiteX28" fmla="*/ 6136 w 171424"/>
                <a:gd name="connsiteY28" fmla="*/ 104841 h 190500"/>
                <a:gd name="connsiteX29" fmla="*/ 7117 w 171424"/>
                <a:gd name="connsiteY29" fmla="*/ 104775 h 190500"/>
                <a:gd name="connsiteX30" fmla="*/ 30977 w 171424"/>
                <a:gd name="connsiteY30" fmla="*/ 104775 h 190500"/>
                <a:gd name="connsiteX31" fmla="*/ 45808 w 171424"/>
                <a:gd name="connsiteY31" fmla="*/ 70932 h 190500"/>
                <a:gd name="connsiteX32" fmla="*/ 48627 w 171424"/>
                <a:gd name="connsiteY32" fmla="*/ 67703 h 190500"/>
                <a:gd name="connsiteX33" fmla="*/ 109511 w 171424"/>
                <a:gd name="connsiteY33" fmla="*/ 4762 h 190500"/>
                <a:gd name="connsiteX34" fmla="*/ 166661 w 171424"/>
                <a:gd name="connsiteY34" fmla="*/ 61912 h 190500"/>
                <a:gd name="connsiteX35" fmla="*/ 114273 w 171424"/>
                <a:gd name="connsiteY35" fmla="*/ 61912 h 190500"/>
                <a:gd name="connsiteX36" fmla="*/ 109511 w 171424"/>
                <a:gd name="connsiteY36" fmla="*/ 57150 h 190500"/>
                <a:gd name="connsiteX37" fmla="*/ 38074 w 171424"/>
                <a:gd name="connsiteY37" fmla="*/ 0 h 190500"/>
                <a:gd name="connsiteX38" fmla="*/ 95224 w 171424"/>
                <a:gd name="connsiteY38" fmla="*/ 0 h 190500"/>
                <a:gd name="connsiteX39" fmla="*/ 95224 w 171424"/>
                <a:gd name="connsiteY39" fmla="*/ 57188 h 190500"/>
                <a:gd name="connsiteX40" fmla="*/ 114274 w 171424"/>
                <a:gd name="connsiteY40" fmla="*/ 76200 h 190500"/>
                <a:gd name="connsiteX41" fmla="*/ 171424 w 171424"/>
                <a:gd name="connsiteY41" fmla="*/ 76200 h 190500"/>
                <a:gd name="connsiteX42" fmla="*/ 171424 w 171424"/>
                <a:gd name="connsiteY42" fmla="*/ 171450 h 190500"/>
                <a:gd name="connsiteX43" fmla="*/ 152374 w 171424"/>
                <a:gd name="connsiteY43" fmla="*/ 190500 h 190500"/>
                <a:gd name="connsiteX44" fmla="*/ 38074 w 171424"/>
                <a:gd name="connsiteY44" fmla="*/ 190500 h 190500"/>
                <a:gd name="connsiteX45" fmla="*/ 19024 w 171424"/>
                <a:gd name="connsiteY45" fmla="*/ 171450 h 190500"/>
                <a:gd name="connsiteX46" fmla="*/ 19024 w 171424"/>
                <a:gd name="connsiteY46" fmla="*/ 128588 h 190500"/>
                <a:gd name="connsiteX47" fmla="*/ 35998 w 171424"/>
                <a:gd name="connsiteY47" fmla="*/ 128588 h 190500"/>
                <a:gd name="connsiteX48" fmla="*/ 37836 w 171424"/>
                <a:gd name="connsiteY48" fmla="*/ 128454 h 190500"/>
                <a:gd name="connsiteX49" fmla="*/ 38369 w 171424"/>
                <a:gd name="connsiteY49" fmla="*/ 128368 h 190500"/>
                <a:gd name="connsiteX50" fmla="*/ 50914 w 171424"/>
                <a:gd name="connsiteY50" fmla="*/ 118615 h 190500"/>
                <a:gd name="connsiteX51" fmla="*/ 51657 w 171424"/>
                <a:gd name="connsiteY51" fmla="*/ 116919 h 190500"/>
                <a:gd name="connsiteX52" fmla="*/ 65582 w 171424"/>
                <a:gd name="connsiteY52" fmla="*/ 151714 h 190500"/>
                <a:gd name="connsiteX53" fmla="*/ 66373 w 171424"/>
                <a:gd name="connsiteY53" fmla="*/ 153353 h 190500"/>
                <a:gd name="connsiteX54" fmla="*/ 66639 w 171424"/>
                <a:gd name="connsiteY54" fmla="*/ 153791 h 190500"/>
                <a:gd name="connsiteX55" fmla="*/ 95472 w 171424"/>
                <a:gd name="connsiteY55" fmla="*/ 153381 h 190500"/>
                <a:gd name="connsiteX56" fmla="*/ 111331 w 171424"/>
                <a:gd name="connsiteY56" fmla="*/ 128588 h 190500"/>
                <a:gd name="connsiteX57" fmla="*/ 121237 w 171424"/>
                <a:gd name="connsiteY57" fmla="*/ 128588 h 190500"/>
                <a:gd name="connsiteX58" fmla="*/ 122923 w 171424"/>
                <a:gd name="connsiteY58" fmla="*/ 128473 h 190500"/>
                <a:gd name="connsiteX59" fmla="*/ 123418 w 171424"/>
                <a:gd name="connsiteY59" fmla="*/ 128397 h 190500"/>
                <a:gd name="connsiteX60" fmla="*/ 137574 w 171424"/>
                <a:gd name="connsiteY60" fmla="*/ 111926 h 190500"/>
                <a:gd name="connsiteX61" fmla="*/ 120913 w 171424"/>
                <a:gd name="connsiteY61" fmla="*/ 95250 h 190500"/>
                <a:gd name="connsiteX62" fmla="*/ 101530 w 171424"/>
                <a:gd name="connsiteY62" fmla="*/ 95250 h 190500"/>
                <a:gd name="connsiteX63" fmla="*/ 99777 w 171424"/>
                <a:gd name="connsiteY63" fmla="*/ 95374 h 190500"/>
                <a:gd name="connsiteX64" fmla="*/ 99263 w 171424"/>
                <a:gd name="connsiteY64" fmla="*/ 95450 h 190500"/>
                <a:gd name="connsiteX65" fmla="*/ 87452 w 171424"/>
                <a:gd name="connsiteY65" fmla="*/ 103546 h 190500"/>
                <a:gd name="connsiteX66" fmla="*/ 84156 w 171424"/>
                <a:gd name="connsiteY66" fmla="*/ 108404 h 190500"/>
                <a:gd name="connsiteX67" fmla="*/ 67697 w 171424"/>
                <a:gd name="connsiteY67" fmla="*/ 67313 h 190500"/>
                <a:gd name="connsiteX68" fmla="*/ 66887 w 171424"/>
                <a:gd name="connsiteY68" fmla="*/ 65637 h 190500"/>
                <a:gd name="connsiteX69" fmla="*/ 66611 w 171424"/>
                <a:gd name="connsiteY69" fmla="*/ 65180 h 190500"/>
                <a:gd name="connsiteX70" fmla="*/ 37083 w 171424"/>
                <a:gd name="connsiteY70" fmla="*/ 67123 h 190500"/>
                <a:gd name="connsiteX71" fmla="*/ 24758 w 171424"/>
                <a:gd name="connsiteY71" fmla="*/ 95250 h 190500"/>
                <a:gd name="connsiteX72" fmla="*/ 19024 w 171424"/>
                <a:gd name="connsiteY72" fmla="*/ 95250 h 190500"/>
                <a:gd name="connsiteX73" fmla="*/ 19024 w 171424"/>
                <a:gd name="connsiteY73" fmla="*/ 19050 h 190500"/>
                <a:gd name="connsiteX74" fmla="*/ 38074 w 171424"/>
                <a:gd name="connsiteY74"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1424" h="190500">
                  <a:moveTo>
                    <a:pt x="48627" y="67703"/>
                  </a:moveTo>
                  <a:cubicBezTo>
                    <a:pt x="51994" y="65646"/>
                    <a:pt x="56391" y="66708"/>
                    <a:pt x="58447" y="70075"/>
                  </a:cubicBezTo>
                  <a:lnTo>
                    <a:pt x="58504" y="70170"/>
                  </a:lnTo>
                  <a:lnTo>
                    <a:pt x="58981" y="71151"/>
                  </a:lnTo>
                  <a:lnTo>
                    <a:pt x="81965" y="128568"/>
                  </a:lnTo>
                  <a:lnTo>
                    <a:pt x="95557" y="108565"/>
                  </a:lnTo>
                  <a:cubicBezTo>
                    <a:pt x="96611" y="106581"/>
                    <a:pt x="98538" y="105209"/>
                    <a:pt x="100757" y="104860"/>
                  </a:cubicBezTo>
                  <a:lnTo>
                    <a:pt x="100853" y="104841"/>
                  </a:lnTo>
                  <a:lnTo>
                    <a:pt x="101862" y="104775"/>
                  </a:lnTo>
                  <a:lnTo>
                    <a:pt x="120912" y="104775"/>
                  </a:lnTo>
                  <a:cubicBezTo>
                    <a:pt x="124421" y="104788"/>
                    <a:pt x="127402" y="107348"/>
                    <a:pt x="127944" y="110815"/>
                  </a:cubicBezTo>
                  <a:cubicBezTo>
                    <a:pt x="128553" y="114713"/>
                    <a:pt x="125886" y="118367"/>
                    <a:pt x="121989" y="118976"/>
                  </a:cubicBezTo>
                  <a:lnTo>
                    <a:pt x="121893" y="118995"/>
                  </a:lnTo>
                  <a:lnTo>
                    <a:pt x="120912" y="119062"/>
                  </a:lnTo>
                  <a:lnTo>
                    <a:pt x="106110" y="119062"/>
                  </a:lnTo>
                  <a:lnTo>
                    <a:pt x="87260" y="148532"/>
                  </a:lnTo>
                  <a:cubicBezTo>
                    <a:pt x="86657" y="149688"/>
                    <a:pt x="85747" y="150655"/>
                    <a:pt x="84632" y="151331"/>
                  </a:cubicBezTo>
                  <a:cubicBezTo>
                    <a:pt x="81258" y="153375"/>
                    <a:pt x="76865" y="152298"/>
                    <a:pt x="74821" y="148923"/>
                  </a:cubicBezTo>
                  <a:lnTo>
                    <a:pt x="74773" y="148828"/>
                  </a:lnTo>
                  <a:lnTo>
                    <a:pt x="74306" y="147866"/>
                  </a:lnTo>
                  <a:lnTo>
                    <a:pt x="52046" y="92287"/>
                  </a:lnTo>
                  <a:lnTo>
                    <a:pt x="42198" y="114785"/>
                  </a:lnTo>
                  <a:cubicBezTo>
                    <a:pt x="41227" y="117000"/>
                    <a:pt x="39202" y="118573"/>
                    <a:pt x="36816" y="118967"/>
                  </a:cubicBezTo>
                  <a:lnTo>
                    <a:pt x="36702" y="118986"/>
                  </a:lnTo>
                  <a:lnTo>
                    <a:pt x="35644" y="119062"/>
                  </a:lnTo>
                  <a:lnTo>
                    <a:pt x="7117" y="119062"/>
                  </a:lnTo>
                  <a:cubicBezTo>
                    <a:pt x="3608" y="119049"/>
                    <a:pt x="628" y="116488"/>
                    <a:pt x="86" y="113021"/>
                  </a:cubicBezTo>
                  <a:cubicBezTo>
                    <a:pt x="-524" y="109124"/>
                    <a:pt x="2143" y="105470"/>
                    <a:pt x="6041" y="104860"/>
                  </a:cubicBezTo>
                  <a:lnTo>
                    <a:pt x="6136" y="104841"/>
                  </a:lnTo>
                  <a:lnTo>
                    <a:pt x="7117" y="104775"/>
                  </a:lnTo>
                  <a:lnTo>
                    <a:pt x="30977" y="104775"/>
                  </a:lnTo>
                  <a:lnTo>
                    <a:pt x="45808" y="70932"/>
                  </a:lnTo>
                  <a:cubicBezTo>
                    <a:pt x="46395" y="69592"/>
                    <a:pt x="47379" y="68465"/>
                    <a:pt x="48627" y="67703"/>
                  </a:cubicBezTo>
                  <a:close/>
                  <a:moveTo>
                    <a:pt x="109511" y="4762"/>
                  </a:moveTo>
                  <a:lnTo>
                    <a:pt x="166661" y="61912"/>
                  </a:lnTo>
                  <a:lnTo>
                    <a:pt x="114273" y="61912"/>
                  </a:lnTo>
                  <a:cubicBezTo>
                    <a:pt x="111643" y="61912"/>
                    <a:pt x="109511" y="59780"/>
                    <a:pt x="109511" y="57150"/>
                  </a:cubicBezTo>
                  <a:close/>
                  <a:moveTo>
                    <a:pt x="38074" y="0"/>
                  </a:moveTo>
                  <a:lnTo>
                    <a:pt x="95224" y="0"/>
                  </a:lnTo>
                  <a:lnTo>
                    <a:pt x="95224" y="57188"/>
                  </a:lnTo>
                  <a:cubicBezTo>
                    <a:pt x="95245" y="67694"/>
                    <a:pt x="103768" y="76200"/>
                    <a:pt x="114274" y="76200"/>
                  </a:cubicBezTo>
                  <a:lnTo>
                    <a:pt x="171424" y="76200"/>
                  </a:lnTo>
                  <a:lnTo>
                    <a:pt x="171424" y="171450"/>
                  </a:lnTo>
                  <a:cubicBezTo>
                    <a:pt x="171424" y="181971"/>
                    <a:pt x="162895" y="190500"/>
                    <a:pt x="152374" y="190500"/>
                  </a:cubicBezTo>
                  <a:lnTo>
                    <a:pt x="38074" y="190500"/>
                  </a:lnTo>
                  <a:cubicBezTo>
                    <a:pt x="27553" y="190500"/>
                    <a:pt x="19024" y="181971"/>
                    <a:pt x="19024" y="171450"/>
                  </a:cubicBezTo>
                  <a:lnTo>
                    <a:pt x="19024" y="128588"/>
                  </a:lnTo>
                  <a:lnTo>
                    <a:pt x="35998" y="128588"/>
                  </a:lnTo>
                  <a:lnTo>
                    <a:pt x="37836" y="128454"/>
                  </a:lnTo>
                  <a:lnTo>
                    <a:pt x="38369" y="128368"/>
                  </a:lnTo>
                  <a:cubicBezTo>
                    <a:pt x="43931" y="127447"/>
                    <a:pt x="48651" y="123778"/>
                    <a:pt x="50914" y="118615"/>
                  </a:cubicBezTo>
                  <a:lnTo>
                    <a:pt x="51657" y="116919"/>
                  </a:lnTo>
                  <a:lnTo>
                    <a:pt x="65582" y="151714"/>
                  </a:lnTo>
                  <a:lnTo>
                    <a:pt x="66373" y="153353"/>
                  </a:lnTo>
                  <a:lnTo>
                    <a:pt x="66639" y="153791"/>
                  </a:lnTo>
                  <a:cubicBezTo>
                    <a:pt x="73078" y="164592"/>
                    <a:pt x="89147" y="164697"/>
                    <a:pt x="95472" y="153381"/>
                  </a:cubicBezTo>
                  <a:lnTo>
                    <a:pt x="111331" y="128588"/>
                  </a:lnTo>
                  <a:lnTo>
                    <a:pt x="121237" y="128588"/>
                  </a:lnTo>
                  <a:lnTo>
                    <a:pt x="122923" y="128473"/>
                  </a:lnTo>
                  <a:lnTo>
                    <a:pt x="123418" y="128397"/>
                  </a:lnTo>
                  <a:cubicBezTo>
                    <a:pt x="131556" y="127156"/>
                    <a:pt x="137570" y="120159"/>
                    <a:pt x="137574" y="111926"/>
                  </a:cubicBezTo>
                  <a:cubicBezTo>
                    <a:pt x="137578" y="102720"/>
                    <a:pt x="130119" y="95255"/>
                    <a:pt x="120913" y="95250"/>
                  </a:cubicBezTo>
                  <a:lnTo>
                    <a:pt x="101530" y="95250"/>
                  </a:lnTo>
                  <a:lnTo>
                    <a:pt x="99777" y="95374"/>
                  </a:lnTo>
                  <a:lnTo>
                    <a:pt x="99263" y="95450"/>
                  </a:lnTo>
                  <a:cubicBezTo>
                    <a:pt x="94308" y="96234"/>
                    <a:pt x="89970" y="99208"/>
                    <a:pt x="87452" y="103546"/>
                  </a:cubicBezTo>
                  <a:lnTo>
                    <a:pt x="84156" y="108404"/>
                  </a:lnTo>
                  <a:lnTo>
                    <a:pt x="67697" y="67313"/>
                  </a:lnTo>
                  <a:lnTo>
                    <a:pt x="66887" y="65637"/>
                  </a:lnTo>
                  <a:lnTo>
                    <a:pt x="66611" y="65180"/>
                  </a:lnTo>
                  <a:cubicBezTo>
                    <a:pt x="59848" y="53902"/>
                    <a:pt x="42636" y="54464"/>
                    <a:pt x="37083" y="67123"/>
                  </a:cubicBezTo>
                  <a:lnTo>
                    <a:pt x="24758" y="95250"/>
                  </a:lnTo>
                  <a:lnTo>
                    <a:pt x="19024" y="95250"/>
                  </a:lnTo>
                  <a:lnTo>
                    <a:pt x="19024" y="19050"/>
                  </a:lnTo>
                  <a:cubicBezTo>
                    <a:pt x="19024" y="8529"/>
                    <a:pt x="27553" y="0"/>
                    <a:pt x="38074" y="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grpSp>
      <p:pic>
        <p:nvPicPr>
          <p:cNvPr id="28" name="Picture 2">
            <a:extLst>
              <a:ext uri="{FF2B5EF4-FFF2-40B4-BE49-F238E27FC236}">
                <a16:creationId xmlns:a16="http://schemas.microsoft.com/office/drawing/2014/main" id="{752BC428-0E97-9712-ADB4-E66E3EEFEB5B}"/>
              </a:ext>
              <a:ext uri="{C183D7F6-B498-43B3-948B-1728B52AA6E4}">
                <adec:decorative xmlns:adec="http://schemas.microsoft.com/office/drawing/2017/decorative" val="1"/>
              </a:ext>
            </a:extLst>
          </p:cNvPr>
          <p:cNvPicPr>
            <a:picLocks noChangeArrowheads="1"/>
          </p:cNvPicPr>
          <p:nvPr/>
        </p:nvPicPr>
        <p:blipFill rotWithShape="1">
          <a:blip r:embed="rId3">
            <a:extLst>
              <a:ext uri="{28A0092B-C50C-407E-A947-70E740481C1C}">
                <a14:useLocalDpi xmlns:a14="http://schemas.microsoft.com/office/drawing/2010/main" val="0"/>
              </a:ext>
            </a:extLst>
          </a:blip>
          <a:srcRect l="24324" t="1094" r="24324" b="1094"/>
          <a:stretch/>
        </p:blipFill>
        <p:spPr bwMode="auto">
          <a:xfrm>
            <a:off x="6474993" y="1471613"/>
            <a:ext cx="521064" cy="5210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2578D2F1-ADFC-C022-DA22-2F90D3D0D9E9}"/>
              </a:ext>
              <a:ext uri="{C183D7F6-B498-43B3-948B-1728B52AA6E4}">
                <adec:decorative xmlns:adec="http://schemas.microsoft.com/office/drawing/2017/decorative" val="1"/>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423886" y="1466850"/>
            <a:ext cx="530590" cy="530586"/>
          </a:xfrm>
          <a:prstGeom prst="rect">
            <a:avLst/>
          </a:prstGeom>
          <a:effectLst/>
        </p:spPr>
      </p:pic>
      <p:pic>
        <p:nvPicPr>
          <p:cNvPr id="30" name="Picture 29">
            <a:extLst>
              <a:ext uri="{FF2B5EF4-FFF2-40B4-BE49-F238E27FC236}">
                <a16:creationId xmlns:a16="http://schemas.microsoft.com/office/drawing/2014/main" id="{D9A8D178-B93A-C42F-D765-95C2804177B5}"/>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44624" y="1459289"/>
            <a:ext cx="596426" cy="595774"/>
          </a:xfrm>
          <a:prstGeom prst="rect">
            <a:avLst/>
          </a:prstGeom>
        </p:spPr>
      </p:pic>
      <p:sp>
        <p:nvSpPr>
          <p:cNvPr id="6" name="Title 5">
            <a:extLst>
              <a:ext uri="{FF2B5EF4-FFF2-40B4-BE49-F238E27FC236}">
                <a16:creationId xmlns:a16="http://schemas.microsoft.com/office/drawing/2014/main" id="{2A3F378C-F0FA-32F2-E2C8-04A234CC6EEC}"/>
              </a:ext>
            </a:extLst>
          </p:cNvPr>
          <p:cNvSpPr>
            <a:spLocks noGrp="1"/>
          </p:cNvSpPr>
          <p:nvPr>
            <p:ph type="title"/>
          </p:nvPr>
        </p:nvSpPr>
        <p:spPr/>
        <p:txBody>
          <a:bodyPr/>
          <a:lstStyle/>
          <a:p>
            <a:r>
              <a:rPr lang="en-US" dirty="0">
                <a:ea typeface="+mj-ea"/>
                <a:cs typeface="+mj-cs"/>
              </a:rPr>
              <a:t>Energy Asset Evaluation Accelerator</a:t>
            </a:r>
          </a:p>
        </p:txBody>
      </p:sp>
      <p:sp>
        <p:nvSpPr>
          <p:cNvPr id="31" name="Rectangle 30">
            <a:extLst>
              <a:ext uri="{FF2B5EF4-FFF2-40B4-BE49-F238E27FC236}">
                <a16:creationId xmlns:a16="http://schemas.microsoft.com/office/drawing/2014/main" id="{B6A00C4C-23E8-0B57-2366-AFD38AC6DBF3}"/>
              </a:ext>
              <a:ext uri="{C183D7F6-B498-43B3-948B-1728B52AA6E4}">
                <adec:decorative xmlns:adec="http://schemas.microsoft.com/office/drawing/2017/decorative" val="0"/>
              </a:ext>
            </a:extLst>
          </p:cNvPr>
          <p:cNvSpPr/>
          <p:nvPr/>
        </p:nvSpPr>
        <p:spPr bwMode="auto">
          <a:xfrm>
            <a:off x="1312668" y="1318664"/>
            <a:ext cx="4275332" cy="984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Integrates Azure Data Manager for Energy, Microsoft Fabric, and Microsoft 365 Copilot to transform the access, analysis, and sharing of energy data for rapid asset evaluation</a:t>
            </a:r>
          </a:p>
        </p:txBody>
      </p:sp>
      <p:sp>
        <p:nvSpPr>
          <p:cNvPr id="32" name="TextBox 31">
            <a:extLst>
              <a:ext uri="{FF2B5EF4-FFF2-40B4-BE49-F238E27FC236}">
                <a16:creationId xmlns:a16="http://schemas.microsoft.com/office/drawing/2014/main" id="{538B6C8C-312C-44B0-50F8-17EAFD4CA8A6}"/>
              </a:ext>
              <a:ext uri="{C183D7F6-B498-43B3-948B-1728B52AA6E4}">
                <adec:decorative xmlns:adec="http://schemas.microsoft.com/office/drawing/2017/decorative" val="0"/>
              </a:ext>
            </a:extLst>
          </p:cNvPr>
          <p:cNvSpPr txBox="1"/>
          <p:nvPr/>
        </p:nvSpPr>
        <p:spPr>
          <a:xfrm>
            <a:off x="1303518" y="2660815"/>
            <a:ext cx="4275332" cy="738664"/>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vides quick and actionable insights from structured and unstructured data in a single interface</a:t>
            </a:r>
          </a:p>
        </p:txBody>
      </p:sp>
      <p:sp>
        <p:nvSpPr>
          <p:cNvPr id="33" name="TextBox 32">
            <a:extLst>
              <a:ext uri="{FF2B5EF4-FFF2-40B4-BE49-F238E27FC236}">
                <a16:creationId xmlns:a16="http://schemas.microsoft.com/office/drawing/2014/main" id="{8F6D582B-4749-A24B-136D-05A4B35DE727}"/>
              </a:ext>
              <a:ext uri="{C183D7F6-B498-43B3-948B-1728B52AA6E4}">
                <adec:decorative xmlns:adec="http://schemas.microsoft.com/office/drawing/2017/decorative" val="0"/>
              </a:ext>
            </a:extLst>
          </p:cNvPr>
          <p:cNvSpPr txBox="1"/>
          <p:nvPr/>
        </p:nvSpPr>
        <p:spPr>
          <a:xfrm>
            <a:off x="1290320" y="3912655"/>
            <a:ext cx="4275332" cy="246221"/>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Enables teams to decrease time to decision</a:t>
            </a:r>
          </a:p>
        </p:txBody>
      </p:sp>
      <p:sp>
        <p:nvSpPr>
          <p:cNvPr id="34" name="TextBox 33">
            <a:extLst>
              <a:ext uri="{FF2B5EF4-FFF2-40B4-BE49-F238E27FC236}">
                <a16:creationId xmlns:a16="http://schemas.microsoft.com/office/drawing/2014/main" id="{D3F6F957-B3D5-55D2-0968-6858ABFBF945}"/>
              </a:ext>
              <a:ext uri="{C183D7F6-B498-43B3-948B-1728B52AA6E4}">
                <adec:decorative xmlns:adec="http://schemas.microsoft.com/office/drawing/2017/decorative" val="0"/>
              </a:ext>
            </a:extLst>
          </p:cNvPr>
          <p:cNvSpPr txBox="1"/>
          <p:nvPr/>
        </p:nvSpPr>
        <p:spPr>
          <a:xfrm>
            <a:off x="1303518" y="4672051"/>
            <a:ext cx="4275332" cy="738664"/>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Ask about specific well data questions and receive helpful answers without having to search through entire documents or databases</a:t>
            </a:r>
          </a:p>
        </p:txBody>
      </p:sp>
      <p:sp>
        <p:nvSpPr>
          <p:cNvPr id="35" name="TextBox 34">
            <a:extLst>
              <a:ext uri="{FF2B5EF4-FFF2-40B4-BE49-F238E27FC236}">
                <a16:creationId xmlns:a16="http://schemas.microsoft.com/office/drawing/2014/main" id="{DB4AD5C8-715C-CD91-EFF7-CBA26BE2B55B}"/>
              </a:ext>
              <a:ext uri="{C183D7F6-B498-43B3-948B-1728B52AA6E4}">
                <adec:decorative xmlns:adec="http://schemas.microsoft.com/office/drawing/2017/decorative" val="0"/>
              </a:ext>
            </a:extLst>
          </p:cNvPr>
          <p:cNvSpPr txBox="1"/>
          <p:nvPr/>
        </p:nvSpPr>
        <p:spPr>
          <a:xfrm>
            <a:off x="1303518" y="5800782"/>
            <a:ext cx="4275332" cy="492443"/>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Suggests additional prompts for deeper insights into wellbore data </a:t>
            </a:r>
          </a:p>
        </p:txBody>
      </p:sp>
      <p:sp>
        <p:nvSpPr>
          <p:cNvPr id="36" name="Rectangle 35">
            <a:extLst>
              <a:ext uri="{FF2B5EF4-FFF2-40B4-BE49-F238E27FC236}">
                <a16:creationId xmlns:a16="http://schemas.microsoft.com/office/drawing/2014/main" id="{70225F54-9016-85BD-7F2E-C0B93B608F6F}"/>
              </a:ext>
              <a:ext uri="{C183D7F6-B498-43B3-948B-1728B52AA6E4}">
                <adec:decorative xmlns:adec="http://schemas.microsoft.com/office/drawing/2017/decorative" val="0"/>
              </a:ext>
            </a:extLst>
          </p:cNvPr>
          <p:cNvSpPr/>
          <p:nvPr/>
        </p:nvSpPr>
        <p:spPr bwMode="auto">
          <a:xfrm>
            <a:off x="5932866" y="2394385"/>
            <a:ext cx="1605318"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Semibold"/>
                <a:ea typeface="+mn-ea"/>
                <a:cs typeface="+mn-cs"/>
              </a:rPr>
              <a:t>Azure Data Manager for Energy</a:t>
            </a:r>
          </a:p>
        </p:txBody>
      </p:sp>
      <p:sp>
        <p:nvSpPr>
          <p:cNvPr id="37" name="Rectangle 36">
            <a:extLst>
              <a:ext uri="{FF2B5EF4-FFF2-40B4-BE49-F238E27FC236}">
                <a16:creationId xmlns:a16="http://schemas.microsoft.com/office/drawing/2014/main" id="{9107E745-C32F-6E3F-0C26-BD69A302F0C7}"/>
              </a:ext>
              <a:ext uri="{C183D7F6-B498-43B3-948B-1728B52AA6E4}">
                <adec:decorative xmlns:adec="http://schemas.microsoft.com/office/drawing/2017/decorative" val="0"/>
              </a:ext>
            </a:extLst>
          </p:cNvPr>
          <p:cNvSpPr/>
          <p:nvPr/>
        </p:nvSpPr>
        <p:spPr bwMode="auto">
          <a:xfrm>
            <a:off x="7886522" y="2394385"/>
            <a:ext cx="1605318"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Semibold"/>
                <a:ea typeface="+mn-ea"/>
                <a:cs typeface="+mn-cs"/>
              </a:rPr>
              <a:t>Microsoft</a:t>
            </a:r>
            <a:br>
              <a:rPr kumimoji="0" lang="en-US" sz="1400" b="0" i="0" u="none" strike="noStrike" kern="1200" cap="none" spc="0" normalizeH="0" baseline="0" noProof="0">
                <a:ln>
                  <a:noFill/>
                </a:ln>
                <a:solidFill>
                  <a:srgbClr val="FFFFFF"/>
                </a:solidFill>
                <a:effectLst/>
                <a:uLnTx/>
                <a:uFillTx/>
                <a:latin typeface="Segoe Sans Display Semibold"/>
                <a:ea typeface="+mn-ea"/>
                <a:cs typeface="+mn-cs"/>
              </a:rPr>
            </a:br>
            <a:r>
              <a:rPr kumimoji="0" lang="en-US" sz="1400" b="0" i="0" u="none" strike="noStrike" kern="1200" cap="none" spc="0" normalizeH="0" baseline="0" noProof="0">
                <a:ln>
                  <a:noFill/>
                </a:ln>
                <a:solidFill>
                  <a:srgbClr val="FFFFFF"/>
                </a:solidFill>
                <a:effectLst/>
                <a:uLnTx/>
                <a:uFillTx/>
                <a:latin typeface="Segoe Sans Display Semibold"/>
                <a:ea typeface="+mn-ea"/>
                <a:cs typeface="+mn-cs"/>
              </a:rPr>
              <a:t>Fabric</a:t>
            </a:r>
          </a:p>
        </p:txBody>
      </p:sp>
      <p:sp>
        <p:nvSpPr>
          <p:cNvPr id="38" name="Rectangle 37">
            <a:extLst>
              <a:ext uri="{FF2B5EF4-FFF2-40B4-BE49-F238E27FC236}">
                <a16:creationId xmlns:a16="http://schemas.microsoft.com/office/drawing/2014/main" id="{FC4CD7F8-A1C7-1DBA-C30E-E09DEE77F09A}"/>
              </a:ext>
              <a:ext uri="{C183D7F6-B498-43B3-948B-1728B52AA6E4}">
                <adec:decorative xmlns:adec="http://schemas.microsoft.com/office/drawing/2017/decorative" val="0"/>
              </a:ext>
            </a:extLst>
          </p:cNvPr>
          <p:cNvSpPr/>
          <p:nvPr/>
        </p:nvSpPr>
        <p:spPr bwMode="auto">
          <a:xfrm>
            <a:off x="9840178" y="2394385"/>
            <a:ext cx="1605318"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Semibold"/>
                <a:ea typeface="+mn-ea"/>
                <a:cs typeface="+mn-cs"/>
              </a:rPr>
              <a:t>Microsoft 365 Copilot</a:t>
            </a:r>
          </a:p>
        </p:txBody>
      </p:sp>
    </p:spTree>
    <p:extLst>
      <p:ext uri="{BB962C8B-B14F-4D97-AF65-F5344CB8AC3E}">
        <p14:creationId xmlns:p14="http://schemas.microsoft.com/office/powerpoint/2010/main" val="33386899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ADE50-0B5C-699E-841A-FE44A3A0A9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3BA16F-F709-ECB3-840E-8F170F83BF92}"/>
              </a:ext>
            </a:extLst>
          </p:cNvPr>
          <p:cNvSpPr>
            <a:spLocks noGrp="1"/>
          </p:cNvSpPr>
          <p:nvPr>
            <p:ph type="title"/>
          </p:nvPr>
        </p:nvSpPr>
        <p:spPr/>
        <p:txBody>
          <a:bodyPr/>
          <a:lstStyle/>
          <a:p>
            <a:r>
              <a:rPr lang="en-US" b="1">
                <a:cs typeface="Segoe UI"/>
              </a:rPr>
              <a:t>Journey to the Frontier Firm </a:t>
            </a:r>
            <a:endParaRPr lang="en-US" b="1"/>
          </a:p>
        </p:txBody>
      </p:sp>
      <p:cxnSp>
        <p:nvCxnSpPr>
          <p:cNvPr id="23" name="Straight Connector 22">
            <a:extLst>
              <a:ext uri="{FF2B5EF4-FFF2-40B4-BE49-F238E27FC236}">
                <a16:creationId xmlns:a16="http://schemas.microsoft.com/office/drawing/2014/main" id="{A19B3850-8AC3-D90B-E049-4D531644D773}"/>
              </a:ext>
              <a:ext uri="{C183D7F6-B498-43B3-948B-1728B52AA6E4}">
                <adec:decorative xmlns:adec="http://schemas.microsoft.com/office/drawing/2017/decorative" val="1"/>
              </a:ext>
            </a:extLst>
          </p:cNvPr>
          <p:cNvCxnSpPr>
            <a:cxnSpLocks/>
          </p:cNvCxnSpPr>
          <p:nvPr/>
        </p:nvCxnSpPr>
        <p:spPr>
          <a:xfrm>
            <a:off x="3874740" y="1476386"/>
            <a:ext cx="0" cy="459784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0BE0911-F43A-8358-F742-896FE0668C1E}"/>
              </a:ext>
              <a:ext uri="{C183D7F6-B498-43B3-948B-1728B52AA6E4}">
                <adec:decorative xmlns:adec="http://schemas.microsoft.com/office/drawing/2017/decorative" val="1"/>
              </a:ext>
            </a:extLst>
          </p:cNvPr>
          <p:cNvCxnSpPr>
            <a:cxnSpLocks/>
          </p:cNvCxnSpPr>
          <p:nvPr/>
        </p:nvCxnSpPr>
        <p:spPr>
          <a:xfrm>
            <a:off x="7789624" y="1491300"/>
            <a:ext cx="0" cy="459784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516FF164-3B88-5E28-247B-F736EFA5615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368" y="3616139"/>
            <a:ext cx="2247900" cy="600075"/>
          </a:xfrm>
          <a:prstGeom prst="rect">
            <a:avLst/>
          </a:prstGeom>
        </p:spPr>
      </p:pic>
      <p:pic>
        <p:nvPicPr>
          <p:cNvPr id="20" name="Graphic 19">
            <a:extLst>
              <a:ext uri="{FF2B5EF4-FFF2-40B4-BE49-F238E27FC236}">
                <a16:creationId xmlns:a16="http://schemas.microsoft.com/office/drawing/2014/main" id="{09CB1633-DFF9-A51A-BBCC-8E9862E4734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42178" y="2844614"/>
            <a:ext cx="2143125" cy="1371600"/>
          </a:xfrm>
          <a:prstGeom prst="rect">
            <a:avLst/>
          </a:prstGeom>
        </p:spPr>
      </p:pic>
      <p:pic>
        <p:nvPicPr>
          <p:cNvPr id="24" name="Graphic 23">
            <a:extLst>
              <a:ext uri="{FF2B5EF4-FFF2-40B4-BE49-F238E27FC236}">
                <a16:creationId xmlns:a16="http://schemas.microsoft.com/office/drawing/2014/main" id="{653A672D-758A-A307-D19E-4D70D0B880E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87565" y="2844614"/>
            <a:ext cx="2914650" cy="1371600"/>
          </a:xfrm>
          <a:prstGeom prst="rect">
            <a:avLst/>
          </a:prstGeom>
        </p:spPr>
      </p:pic>
      <p:sp>
        <p:nvSpPr>
          <p:cNvPr id="10" name="Text Placeholder 2">
            <a:extLst>
              <a:ext uri="{FF2B5EF4-FFF2-40B4-BE49-F238E27FC236}">
                <a16:creationId xmlns:a16="http://schemas.microsoft.com/office/drawing/2014/main" id="{F2AABCD1-4428-1EF7-5D68-B1693BB33241}"/>
              </a:ext>
            </a:extLst>
          </p:cNvPr>
          <p:cNvSpPr txBox="1">
            <a:spLocks/>
          </p:cNvSpPr>
          <p:nvPr/>
        </p:nvSpPr>
        <p:spPr>
          <a:xfrm>
            <a:off x="384398" y="1476386"/>
            <a:ext cx="3291840"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2000" kern="1200" spc="0" baseline="0">
                <a:solidFill>
                  <a:schemeClr val="tx1"/>
                </a:solidFill>
                <a:latin typeface="Segoe Pro Light" panose="020B0302040504020203" pitchFamily="34" charset="0"/>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Semibold"/>
                <a:ea typeface="+mn-ea"/>
                <a:cs typeface="Segoe UI Semilight"/>
              </a:rPr>
              <a:t>Phase 1</a:t>
            </a: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Human with assistant</a:t>
            </a:r>
          </a:p>
        </p:txBody>
      </p:sp>
      <p:sp>
        <p:nvSpPr>
          <p:cNvPr id="6" name="Text Placeholder 2">
            <a:extLst>
              <a:ext uri="{FF2B5EF4-FFF2-40B4-BE49-F238E27FC236}">
                <a16:creationId xmlns:a16="http://schemas.microsoft.com/office/drawing/2014/main" id="{57F91F02-BB36-12FA-4012-4026B566FA9A}"/>
              </a:ext>
            </a:extLst>
          </p:cNvPr>
          <p:cNvSpPr txBox="1">
            <a:spLocks/>
          </p:cNvSpPr>
          <p:nvPr/>
        </p:nvSpPr>
        <p:spPr>
          <a:xfrm>
            <a:off x="732774" y="4694255"/>
            <a:ext cx="2595088" cy="160043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2000" kern="1200" spc="0" baseline="0">
                <a:solidFill>
                  <a:schemeClr val="tx1"/>
                </a:solidFill>
                <a:latin typeface="Segoe Pro Light" panose="020B0302040504020203" pitchFamily="34" charset="0"/>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Every employee has </a:t>
            </a:r>
            <a:b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b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an AI assistant that </a:t>
            </a:r>
            <a:b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b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helps them work better and faster</a:t>
            </a: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a:endParaRP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panose="020B0402040204020203" pitchFamily="34" charset="0"/>
            </a:endParaRPr>
          </a:p>
        </p:txBody>
      </p:sp>
      <p:sp>
        <p:nvSpPr>
          <p:cNvPr id="12" name="Text Placeholder 2">
            <a:extLst>
              <a:ext uri="{FF2B5EF4-FFF2-40B4-BE49-F238E27FC236}">
                <a16:creationId xmlns:a16="http://schemas.microsoft.com/office/drawing/2014/main" id="{3D4D14DB-F124-2796-6ED7-25937193ACC7}"/>
              </a:ext>
            </a:extLst>
          </p:cNvPr>
          <p:cNvSpPr txBox="1">
            <a:spLocks/>
          </p:cNvSpPr>
          <p:nvPr/>
        </p:nvSpPr>
        <p:spPr>
          <a:xfrm>
            <a:off x="4167820" y="1476386"/>
            <a:ext cx="3291840"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2000" kern="1200" spc="0" baseline="0">
                <a:solidFill>
                  <a:schemeClr val="tx1"/>
                </a:solidFill>
                <a:latin typeface="Segoe Pro Light" panose="020B0302040504020203" pitchFamily="34" charset="0"/>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Semibold"/>
                <a:ea typeface="+mn-ea"/>
                <a:cs typeface="Segoe UI Semilight"/>
              </a:rPr>
              <a:t>Phase 2</a:t>
            </a: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Human-led agents</a:t>
            </a:r>
          </a:p>
        </p:txBody>
      </p:sp>
      <p:sp>
        <p:nvSpPr>
          <p:cNvPr id="7" name="Text Placeholder 4">
            <a:extLst>
              <a:ext uri="{FF2B5EF4-FFF2-40B4-BE49-F238E27FC236}">
                <a16:creationId xmlns:a16="http://schemas.microsoft.com/office/drawing/2014/main" id="{F6707600-DC93-4624-0663-A9D9FAAEE43E}"/>
              </a:ext>
            </a:extLst>
          </p:cNvPr>
          <p:cNvSpPr txBox="1">
            <a:spLocks/>
          </p:cNvSpPr>
          <p:nvPr/>
        </p:nvSpPr>
        <p:spPr>
          <a:xfrm>
            <a:off x="4279047" y="4694255"/>
            <a:ext cx="3069387" cy="1600438"/>
          </a:xfrm>
          <a:prstGeom prst="rect">
            <a:avLst/>
          </a:prstGeom>
        </p:spPr>
        <p:txBody>
          <a:bodyPr vert="horz" wrap="square" lIns="0" tIns="0" rIns="0" bIns="0" rtlCol="0" anchor="t">
            <a:spAutoFit/>
          </a:bodyPr>
          <a:lstStyle>
            <a:defPPr>
              <a:defRPr lang="en-US"/>
            </a:defPPr>
            <a:lvl1pPr marR="0" indent="0" defTabSz="932742" fontAlgn="auto">
              <a:lnSpc>
                <a:spcPct val="100000"/>
              </a:lnSpc>
              <a:spcBef>
                <a:spcPct val="20000"/>
              </a:spcBef>
              <a:spcAft>
                <a:spcPts val="0"/>
              </a:spcAft>
              <a:buClrTx/>
              <a:buSzPct val="90000"/>
              <a:buFont typeface="Arial" panose="020B0604020202020204" pitchFamily="34" charset="0"/>
              <a:buNone/>
              <a:tabLst/>
              <a:defRPr sz="2000" spc="0" baseline="0">
                <a:latin typeface="Segoe Pro Light" panose="020B0302040504020203" pitchFamily="34" charset="0"/>
                <a:cs typeface="Segoe UI Semilight" panose="020B0402040204020203" pitchFamily="34" charset="0"/>
              </a:defRPr>
            </a:lvl1pPr>
            <a:lvl2pPr marL="265176" marR="0" indent="-128016"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384048" marR="0" indent="-118872" defTabSz="932742" fontAlgn="auto">
              <a:lnSpc>
                <a:spcPct val="100000"/>
              </a:lnSpc>
              <a:spcBef>
                <a:spcPct val="20000"/>
              </a:spcBef>
              <a:spcAft>
                <a:spcPts val="0"/>
              </a:spcAft>
              <a:buClrTx/>
              <a:buSzPct val="90000"/>
              <a:buFont typeface="Arial" panose="020B0604020202020204" pitchFamily="34" charset="0"/>
              <a:buChar char="•"/>
              <a:tabLst/>
              <a:defRPr sz="12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0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Agents join teams as “digital colleagues,” taking on specific tasks at human direction</a:t>
            </a: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a:endParaRP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panose="020B0402040204020203" pitchFamily="34" charset="0"/>
            </a:endParaRPr>
          </a:p>
        </p:txBody>
      </p:sp>
      <p:sp>
        <p:nvSpPr>
          <p:cNvPr id="13" name="Text Placeholder 2">
            <a:extLst>
              <a:ext uri="{FF2B5EF4-FFF2-40B4-BE49-F238E27FC236}">
                <a16:creationId xmlns:a16="http://schemas.microsoft.com/office/drawing/2014/main" id="{68937B96-9041-5229-4CDE-7A22BF0C9D92}"/>
              </a:ext>
            </a:extLst>
          </p:cNvPr>
          <p:cNvSpPr txBox="1">
            <a:spLocks/>
          </p:cNvSpPr>
          <p:nvPr/>
        </p:nvSpPr>
        <p:spPr>
          <a:xfrm>
            <a:off x="8298970" y="1476386"/>
            <a:ext cx="3291840"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2000" kern="1200" spc="0" baseline="0">
                <a:solidFill>
                  <a:schemeClr val="tx1"/>
                </a:solidFill>
                <a:latin typeface="Segoe Pro Light" panose="020B0302040504020203" pitchFamily="34" charset="0"/>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Semibold"/>
                <a:ea typeface="+mn-ea"/>
                <a:cs typeface="Segoe UI Semilight"/>
              </a:rPr>
              <a:t>Phase 3</a:t>
            </a: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Human-led, agent-operated</a:t>
            </a: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panose="020B0402040204020203" pitchFamily="34" charset="0"/>
            </a:endParaRPr>
          </a:p>
        </p:txBody>
      </p:sp>
      <p:sp>
        <p:nvSpPr>
          <p:cNvPr id="9" name="Text Placeholder 5">
            <a:extLst>
              <a:ext uri="{FF2B5EF4-FFF2-40B4-BE49-F238E27FC236}">
                <a16:creationId xmlns:a16="http://schemas.microsoft.com/office/drawing/2014/main" id="{074DF688-44D5-67D6-E0AA-F47B1445DCFC}"/>
              </a:ext>
            </a:extLst>
          </p:cNvPr>
          <p:cNvSpPr txBox="1">
            <a:spLocks/>
          </p:cNvSpPr>
          <p:nvPr/>
        </p:nvSpPr>
        <p:spPr>
          <a:xfrm>
            <a:off x="8267470" y="4694255"/>
            <a:ext cx="3354840" cy="1600438"/>
          </a:xfrm>
          <a:prstGeom prst="rect">
            <a:avLst/>
          </a:prstGeom>
        </p:spPr>
        <p:txBody>
          <a:bodyPr vert="horz" wrap="square" lIns="0" tIns="0" rIns="0" bIns="0" rtlCol="0" anchor="t">
            <a:spAutoFit/>
          </a:bodyPr>
          <a:lstStyle>
            <a:defPPr>
              <a:defRPr lang="en-US"/>
            </a:defPPr>
            <a:lvl1pPr marR="0" indent="0" defTabSz="932742" fontAlgn="auto">
              <a:lnSpc>
                <a:spcPct val="100000"/>
              </a:lnSpc>
              <a:spcBef>
                <a:spcPct val="20000"/>
              </a:spcBef>
              <a:spcAft>
                <a:spcPts val="0"/>
              </a:spcAft>
              <a:buClrTx/>
              <a:buSzPct val="90000"/>
              <a:buFont typeface="Arial" panose="020B0604020202020204" pitchFamily="34" charset="0"/>
              <a:buNone/>
              <a:tabLst/>
              <a:defRPr sz="2000" spc="0" baseline="0">
                <a:latin typeface="Segoe Pro Light" panose="020B0302040504020203" pitchFamily="34" charset="0"/>
                <a:cs typeface="Segoe UI Semilight" panose="020B0402040204020203" pitchFamily="34" charset="0"/>
              </a:defRPr>
            </a:lvl1pPr>
            <a:lvl2pPr marL="265176" marR="0" indent="-128016"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384048" marR="0" indent="-118872" defTabSz="932742" fontAlgn="auto">
              <a:lnSpc>
                <a:spcPct val="100000"/>
              </a:lnSpc>
              <a:spcBef>
                <a:spcPct val="20000"/>
              </a:spcBef>
              <a:spcAft>
                <a:spcPts val="0"/>
              </a:spcAft>
              <a:buClrTx/>
              <a:buSzPct val="90000"/>
              <a:buFont typeface="Arial" panose="020B0604020202020204" pitchFamily="34" charset="0"/>
              <a:buChar char="•"/>
              <a:tabLst/>
              <a:defRPr sz="12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0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Pro Light"/>
                <a:ea typeface="+mn-ea"/>
                <a:cs typeface="Segoe UI Semilight"/>
              </a:rPr>
              <a:t>Humans set direction and agents run entire business processes and workflows,  checking in as needed</a:t>
            </a: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a:endParaRPr>
          </a:p>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FFFFFF"/>
              </a:solidFill>
              <a:effectLst/>
              <a:uLnTx/>
              <a:uFillTx/>
              <a:latin typeface="Segoe Pro Light" panose="020B03020405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287539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20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2000"/>
                                        <p:tgtEl>
                                          <p:spTgt spid="2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20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2000"/>
                                        <p:tgtEl>
                                          <p:spTgt spid="2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6" grpId="0"/>
      <p:bldP spid="12" grpId="0"/>
      <p:bldP spid="7" grpId="0"/>
      <p:bldP spid="13" grpId="0"/>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011D-FC2F-B22A-D11A-F00BAF28DF28}"/>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008A895-97B2-7FD1-DDCE-C121DBF040B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515880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B7F09-6711-D1B2-208A-AD3578AB49EE}"/>
            </a:ext>
          </a:extLst>
        </p:cNvPr>
        <p:cNvGrpSpPr/>
        <p:nvPr/>
      </p:nvGrpSpPr>
      <p:grpSpPr>
        <a:xfrm>
          <a:off x="0" y="0"/>
          <a:ext cx="0" cy="0"/>
          <a:chOff x="0" y="0"/>
          <a:chExt cx="0" cy="0"/>
        </a:xfrm>
      </p:grpSpPr>
      <p:sp>
        <p:nvSpPr>
          <p:cNvPr id="17" name="!! Opportunities box">
            <a:extLst>
              <a:ext uri="{FF2B5EF4-FFF2-40B4-BE49-F238E27FC236}">
                <a16:creationId xmlns:a16="http://schemas.microsoft.com/office/drawing/2014/main" id="{0AEF6C18-44AB-6986-0A78-7D7684B6D4BC}"/>
              </a:ext>
              <a:ext uri="{C183D7F6-B498-43B3-948B-1728B52AA6E4}">
                <adec:decorative xmlns:adec="http://schemas.microsoft.com/office/drawing/2017/decorative" val="1"/>
              </a:ext>
            </a:extLst>
          </p:cNvPr>
          <p:cNvSpPr txBox="1">
            <a:spLocks/>
          </p:cNvSpPr>
          <p:nvPr/>
        </p:nvSpPr>
        <p:spPr>
          <a:xfrm>
            <a:off x="586740" y="1529525"/>
            <a:ext cx="11018520" cy="5034788"/>
          </a:xfrm>
          <a:prstGeom prst="roundRect">
            <a:avLst>
              <a:gd name="adj" fmla="val 2511"/>
            </a:avLst>
          </a:prstGeom>
          <a:noFill/>
          <a:ln w="19050" cap="rnd" cmpd="sng" algn="ctr">
            <a:solidFill>
              <a:srgbClr val="0A2526">
                <a:alpha val="25000"/>
              </a:srgbClr>
            </a:solidFill>
            <a:prstDash val="solid"/>
            <a:headEnd type="none" w="lg" len="sm"/>
            <a:tailEnd type="none" w="lg" len="sm"/>
          </a:ln>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18" name="Rectangle: Rounded Corners 17">
            <a:extLst>
              <a:ext uri="{FF2B5EF4-FFF2-40B4-BE49-F238E27FC236}">
                <a16:creationId xmlns:a16="http://schemas.microsoft.com/office/drawing/2014/main" id="{78D25A8B-12D2-D033-A67F-EEC1FC96EBEC}"/>
              </a:ext>
              <a:ext uri="{C183D7F6-B498-43B3-948B-1728B52AA6E4}">
                <adec:decorative xmlns:adec="http://schemas.microsoft.com/office/drawing/2017/decorative" val="0"/>
              </a:ext>
            </a:extLst>
          </p:cNvPr>
          <p:cNvSpPr/>
          <p:nvPr/>
        </p:nvSpPr>
        <p:spPr bwMode="auto">
          <a:xfrm>
            <a:off x="4746591" y="1277292"/>
            <a:ext cx="2698818" cy="492442"/>
          </a:xfrm>
          <a:prstGeom prst="roundRect">
            <a:avLst>
              <a:gd name="adj" fmla="val 50000"/>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2000" b="1" i="0" u="none" strike="noStrike" kern="1200" cap="none" spc="0" normalizeH="0" baseline="0" noProof="0">
                <a:ln w="3175">
                  <a:noFill/>
                </a:ln>
                <a:solidFill>
                  <a:srgbClr val="091F2C"/>
                </a:solidFill>
                <a:effectLst/>
                <a:uLnTx/>
                <a:uFillTx/>
                <a:latin typeface="Segoe UI"/>
                <a:ea typeface="+mn-ea"/>
                <a:cs typeface="+mn-cs"/>
              </a:rPr>
              <a:t>Success framework</a:t>
            </a:r>
          </a:p>
        </p:txBody>
      </p:sp>
      <p:pic>
        <p:nvPicPr>
          <p:cNvPr id="6" name="Picture 5">
            <a:extLst>
              <a:ext uri="{FF2B5EF4-FFF2-40B4-BE49-F238E27FC236}">
                <a16:creationId xmlns:a16="http://schemas.microsoft.com/office/drawing/2014/main" id="{A6DC3DAB-F3D4-F48B-E6B5-A09D9D65DA2A}"/>
              </a:ext>
              <a:ext uri="{C183D7F6-B498-43B3-948B-1728B52AA6E4}">
                <adec:decorative xmlns:adec="http://schemas.microsoft.com/office/drawing/2017/decorative" val="1"/>
              </a:ext>
            </a:extLst>
          </p:cNvPr>
          <p:cNvPicPr>
            <a:picLocks/>
          </p:cNvPicPr>
          <p:nvPr/>
        </p:nvPicPr>
        <p:blipFill>
          <a:blip r:embed="rId3" cstate="email">
            <a:alphaModFix amt="90000"/>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717264" y="1910352"/>
            <a:ext cx="10757473" cy="1097280"/>
          </a:xfrm>
          <a:prstGeom prst="roundRect">
            <a:avLst>
              <a:gd name="adj" fmla="val 21888"/>
            </a:avLst>
          </a:prstGeom>
          <a:ln>
            <a:noFill/>
          </a:ln>
        </p:spPr>
      </p:pic>
      <p:pic>
        <p:nvPicPr>
          <p:cNvPr id="5" name="Picture 4">
            <a:extLst>
              <a:ext uri="{FF2B5EF4-FFF2-40B4-BE49-F238E27FC236}">
                <a16:creationId xmlns:a16="http://schemas.microsoft.com/office/drawing/2014/main" id="{AD1B6274-D9D9-88C1-B9AE-E942437D6D5F}"/>
              </a:ext>
              <a:ext uri="{C183D7F6-B498-43B3-948B-1728B52AA6E4}">
                <adec:decorative xmlns:adec="http://schemas.microsoft.com/office/drawing/2017/decorative" val="1"/>
              </a:ext>
            </a:extLst>
          </p:cNvPr>
          <p:cNvPicPr>
            <a:picLocks noChangeAspect="1"/>
          </p:cNvPicPr>
          <p:nvPr/>
        </p:nvPicPr>
        <p:blipFill>
          <a:blip r:embed="rId5" cstate="email">
            <a:alphaModFix amt="90000"/>
            <a:extLst>
              <a:ext uri="{BEBA8EAE-BF5A-486C-A8C5-ECC9F3942E4B}">
                <a14:imgProps xmlns:a14="http://schemas.microsoft.com/office/drawing/2010/main">
                  <a14:imgLayer r:embed="rId6">
                    <a14:imgEffect>
                      <a14:brightnessContrast bright="-24000"/>
                    </a14:imgEffect>
                  </a14:imgLayer>
                </a14:imgProps>
              </a:ext>
              <a:ext uri="{28A0092B-C50C-407E-A947-70E740481C1C}">
                <a14:useLocalDpi xmlns:a14="http://schemas.microsoft.com/office/drawing/2010/main"/>
              </a:ext>
            </a:extLst>
          </a:blip>
          <a:srcRect/>
          <a:stretch>
            <a:fillRect/>
          </a:stretch>
        </p:blipFill>
        <p:spPr>
          <a:xfrm>
            <a:off x="717263" y="3060360"/>
            <a:ext cx="10757474" cy="1097280"/>
          </a:xfrm>
          <a:prstGeom prst="roundRect">
            <a:avLst>
              <a:gd name="adj" fmla="val 21888"/>
            </a:avLst>
          </a:prstGeom>
          <a:ln>
            <a:noFill/>
          </a:ln>
        </p:spPr>
      </p:pic>
      <p:pic>
        <p:nvPicPr>
          <p:cNvPr id="4" name="Picture 3">
            <a:extLst>
              <a:ext uri="{FF2B5EF4-FFF2-40B4-BE49-F238E27FC236}">
                <a16:creationId xmlns:a16="http://schemas.microsoft.com/office/drawing/2014/main" id="{4EAAF4C3-1D8B-860D-7F0B-DCDF2DF2C880}"/>
              </a:ext>
              <a:ext uri="{C183D7F6-B498-43B3-948B-1728B52AA6E4}">
                <adec:decorative xmlns:adec="http://schemas.microsoft.com/office/drawing/2017/decorative" val="1"/>
              </a:ext>
            </a:extLst>
          </p:cNvPr>
          <p:cNvPicPr>
            <a:picLocks noChangeAspect="1"/>
          </p:cNvPicPr>
          <p:nvPr/>
        </p:nvPicPr>
        <p:blipFill>
          <a:blip r:embed="rId7" cstate="email">
            <a:alphaModFix amt="90000"/>
            <a:extLst>
              <a:ext uri="{BEBA8EAE-BF5A-486C-A8C5-ECC9F3942E4B}">
                <a14:imgProps xmlns:a14="http://schemas.microsoft.com/office/drawing/2010/main">
                  <a14:imgLayer r:embed="rId8">
                    <a14:imgEffect>
                      <a14:colorTemperature colorTemp="7699"/>
                    </a14:imgEffect>
                    <a14:imgEffect>
                      <a14:saturation sat="80000"/>
                    </a14:imgEffect>
                    <a14:imgEffect>
                      <a14:brightnessContrast bright="-16000"/>
                    </a14:imgEffect>
                  </a14:imgLayer>
                </a14:imgProps>
              </a:ext>
              <a:ext uri="{28A0092B-C50C-407E-A947-70E740481C1C}">
                <a14:useLocalDpi xmlns:a14="http://schemas.microsoft.com/office/drawing/2010/main"/>
              </a:ext>
            </a:extLst>
          </a:blip>
          <a:srcRect/>
          <a:stretch>
            <a:fillRect/>
          </a:stretch>
        </p:blipFill>
        <p:spPr>
          <a:xfrm>
            <a:off x="717263" y="4204394"/>
            <a:ext cx="10757474" cy="1096026"/>
          </a:xfrm>
          <a:prstGeom prst="roundRect">
            <a:avLst>
              <a:gd name="adj" fmla="val 21888"/>
            </a:avLst>
          </a:prstGeom>
          <a:ln>
            <a:noFill/>
          </a:ln>
        </p:spPr>
      </p:pic>
      <p:pic>
        <p:nvPicPr>
          <p:cNvPr id="3" name="Picture 2">
            <a:extLst>
              <a:ext uri="{FF2B5EF4-FFF2-40B4-BE49-F238E27FC236}">
                <a16:creationId xmlns:a16="http://schemas.microsoft.com/office/drawing/2014/main" id="{1B9802ED-AF27-C618-6222-11A84177FFDE}"/>
              </a:ext>
              <a:ext uri="{C183D7F6-B498-43B3-948B-1728B52AA6E4}">
                <adec:decorative xmlns:adec="http://schemas.microsoft.com/office/drawing/2017/decorative" val="1"/>
              </a:ext>
            </a:extLst>
          </p:cNvPr>
          <p:cNvPicPr>
            <a:picLocks noChangeAspect="1"/>
          </p:cNvPicPr>
          <p:nvPr/>
        </p:nvPicPr>
        <p:blipFill>
          <a:blip r:embed="rId9" cstate="email">
            <a:alphaModFix amt="90000"/>
            <a:extLst>
              <a:ext uri="{BEBA8EAE-BF5A-486C-A8C5-ECC9F3942E4B}">
                <a14:imgProps xmlns:a14="http://schemas.microsoft.com/office/drawing/2010/main">
                  <a14:imgLayer r:embed="rId10">
                    <a14:imgEffect>
                      <a14:brightnessContrast bright="-18000"/>
                    </a14:imgEffect>
                  </a14:imgLayer>
                </a14:imgProps>
              </a:ext>
              <a:ext uri="{28A0092B-C50C-407E-A947-70E740481C1C}">
                <a14:useLocalDpi xmlns:a14="http://schemas.microsoft.com/office/drawing/2010/main"/>
              </a:ext>
            </a:extLst>
          </a:blip>
          <a:srcRect/>
          <a:stretch>
            <a:fillRect/>
          </a:stretch>
        </p:blipFill>
        <p:spPr>
          <a:xfrm>
            <a:off x="717263" y="5337879"/>
            <a:ext cx="10757474" cy="1096025"/>
          </a:xfrm>
          <a:prstGeom prst="roundRect">
            <a:avLst>
              <a:gd name="adj" fmla="val 21888"/>
            </a:avLst>
          </a:prstGeom>
          <a:ln>
            <a:noFill/>
          </a:ln>
        </p:spPr>
      </p:pic>
      <p:sp>
        <p:nvSpPr>
          <p:cNvPr id="21" name="TextBox 20">
            <a:extLst>
              <a:ext uri="{FF2B5EF4-FFF2-40B4-BE49-F238E27FC236}">
                <a16:creationId xmlns:a16="http://schemas.microsoft.com/office/drawing/2014/main" id="{195A686D-FAB6-545C-E9A5-CDD6ADBAC33E}"/>
              </a:ext>
            </a:extLst>
          </p:cNvPr>
          <p:cNvSpPr txBox="1"/>
          <p:nvPr/>
        </p:nvSpPr>
        <p:spPr>
          <a:xfrm>
            <a:off x="1033450" y="2320492"/>
            <a:ext cx="380659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a:ea typeface="+mn-ea"/>
                <a:cs typeface="+mn-cs"/>
              </a:rPr>
              <a:t>Enrich employee experiences</a:t>
            </a:r>
          </a:p>
        </p:txBody>
      </p:sp>
      <p:sp>
        <p:nvSpPr>
          <p:cNvPr id="24" name="TextBox 23">
            <a:extLst>
              <a:ext uri="{FF2B5EF4-FFF2-40B4-BE49-F238E27FC236}">
                <a16:creationId xmlns:a16="http://schemas.microsoft.com/office/drawing/2014/main" id="{546754FA-6548-8B97-B28E-752DD8D2FACA}"/>
              </a:ext>
            </a:extLst>
          </p:cNvPr>
          <p:cNvSpPr txBox="1"/>
          <p:nvPr/>
        </p:nvSpPr>
        <p:spPr>
          <a:xfrm>
            <a:off x="1033451" y="3462792"/>
            <a:ext cx="335807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a:ea typeface="+mn-ea"/>
                <a:cs typeface="+mn-cs"/>
              </a:rPr>
              <a:t>Reinvent customer engagement</a:t>
            </a:r>
          </a:p>
        </p:txBody>
      </p:sp>
      <p:sp>
        <p:nvSpPr>
          <p:cNvPr id="22" name="TextBox 21">
            <a:extLst>
              <a:ext uri="{FF2B5EF4-FFF2-40B4-BE49-F238E27FC236}">
                <a16:creationId xmlns:a16="http://schemas.microsoft.com/office/drawing/2014/main" id="{636344CE-3EB5-0666-CBF3-61B96B7D16F0}"/>
              </a:ext>
            </a:extLst>
          </p:cNvPr>
          <p:cNvSpPr txBox="1"/>
          <p:nvPr/>
        </p:nvSpPr>
        <p:spPr>
          <a:xfrm>
            <a:off x="1033450" y="4605092"/>
            <a:ext cx="387361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a:ea typeface="+mn-ea"/>
                <a:cs typeface="+mn-cs"/>
              </a:rPr>
              <a:t>Reshape business processes</a:t>
            </a:r>
          </a:p>
        </p:txBody>
      </p:sp>
      <p:sp>
        <p:nvSpPr>
          <p:cNvPr id="23" name="TextBox 22">
            <a:extLst>
              <a:ext uri="{FF2B5EF4-FFF2-40B4-BE49-F238E27FC236}">
                <a16:creationId xmlns:a16="http://schemas.microsoft.com/office/drawing/2014/main" id="{A27202C4-F13F-1F56-FBB9-0EEB1D38D99D}"/>
              </a:ext>
            </a:extLst>
          </p:cNvPr>
          <p:cNvSpPr txBox="1"/>
          <p:nvPr/>
        </p:nvSpPr>
        <p:spPr>
          <a:xfrm>
            <a:off x="1033450" y="5747391"/>
            <a:ext cx="32394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a:ea typeface="+mn-ea"/>
                <a:cs typeface="+mn-cs"/>
              </a:rPr>
              <a:t>Bend the curve on innovation</a:t>
            </a:r>
          </a:p>
        </p:txBody>
      </p:sp>
      <p:sp>
        <p:nvSpPr>
          <p:cNvPr id="25" name="Rectangle: Rounded Corners 24">
            <a:extLst>
              <a:ext uri="{FF2B5EF4-FFF2-40B4-BE49-F238E27FC236}">
                <a16:creationId xmlns:a16="http://schemas.microsoft.com/office/drawing/2014/main" id="{BA5A765B-198A-3B32-B124-2139971756BF}"/>
              </a:ext>
            </a:extLst>
          </p:cNvPr>
          <p:cNvSpPr/>
          <p:nvPr/>
        </p:nvSpPr>
        <p:spPr bwMode="auto">
          <a:xfrm>
            <a:off x="4487060" y="202196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r employees use AI to onboard faster, get answer instantly and navigate policies easily?</a:t>
            </a:r>
          </a:p>
        </p:txBody>
      </p:sp>
      <p:sp>
        <p:nvSpPr>
          <p:cNvPr id="26" name="Rectangle: Rounded Corners 25">
            <a:extLst>
              <a:ext uri="{FF2B5EF4-FFF2-40B4-BE49-F238E27FC236}">
                <a16:creationId xmlns:a16="http://schemas.microsoft.com/office/drawing/2014/main" id="{57C56DD1-F026-3815-1559-5D104EACF2C8}"/>
              </a:ext>
            </a:extLst>
          </p:cNvPr>
          <p:cNvSpPr/>
          <p:nvPr/>
        </p:nvSpPr>
        <p:spPr bwMode="auto">
          <a:xfrm>
            <a:off x="6771245" y="202196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 use AI agents to personalize learning and guide career growth? </a:t>
            </a:r>
          </a:p>
        </p:txBody>
      </p:sp>
      <p:sp>
        <p:nvSpPr>
          <p:cNvPr id="27" name="Rectangle: Rounded Corners 26">
            <a:extLst>
              <a:ext uri="{FF2B5EF4-FFF2-40B4-BE49-F238E27FC236}">
                <a16:creationId xmlns:a16="http://schemas.microsoft.com/office/drawing/2014/main" id="{921B1B8B-127C-AD60-7EE5-FB0AAFDE17B1}"/>
              </a:ext>
            </a:extLst>
          </p:cNvPr>
          <p:cNvSpPr/>
          <p:nvPr/>
        </p:nvSpPr>
        <p:spPr bwMode="auto">
          <a:xfrm>
            <a:off x="9055430" y="202196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Are you automating end-to-end onboarding, benefits, and internal mobility processe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Title 12">
            <a:extLst>
              <a:ext uri="{FF2B5EF4-FFF2-40B4-BE49-F238E27FC236}">
                <a16:creationId xmlns:a16="http://schemas.microsoft.com/office/drawing/2014/main" id="{CE57690A-9841-D95D-B2A4-17561F78F586}"/>
              </a:ext>
            </a:extLst>
          </p:cNvPr>
          <p:cNvSpPr txBox="1">
            <a:spLocks/>
          </p:cNvSpPr>
          <p:nvPr/>
        </p:nvSpPr>
        <p:spPr>
          <a:xfrm>
            <a:off x="588263" y="457200"/>
            <a:ext cx="11018520" cy="553998"/>
          </a:xfrm>
          <a:prstGeom prst="rect">
            <a:avLst/>
          </a:prstGeom>
        </p:spPr>
        <p:txBody>
          <a:bodyPr>
            <a:normAutofit fontScale="900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Where are you on the journey to Becoming Frontier?</a:t>
            </a:r>
          </a:p>
        </p:txBody>
      </p:sp>
      <p:sp>
        <p:nvSpPr>
          <p:cNvPr id="29" name="Rectangle: Rounded Corners 28">
            <a:extLst>
              <a:ext uri="{FF2B5EF4-FFF2-40B4-BE49-F238E27FC236}">
                <a16:creationId xmlns:a16="http://schemas.microsoft.com/office/drawing/2014/main" id="{556DA51C-18AC-E9D2-8629-02AA3497B73F}"/>
              </a:ext>
            </a:extLst>
          </p:cNvPr>
          <p:cNvSpPr/>
          <p:nvPr/>
        </p:nvSpPr>
        <p:spPr bwMode="auto">
          <a:xfrm>
            <a:off x="4487060" y="3151800"/>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r customer-facing teams use AI to get ready for customer meeting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92176848-4717-AEBE-7620-274496E77FA3}"/>
              </a:ext>
            </a:extLst>
          </p:cNvPr>
          <p:cNvSpPr/>
          <p:nvPr/>
        </p:nvSpPr>
        <p:spPr bwMode="auto">
          <a:xfrm>
            <a:off x="6771245" y="3151800"/>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 use agents to triage customer issues and inquires across multiple channel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B74FB5DD-768D-5894-E16C-2B159BBB6E08}"/>
              </a:ext>
            </a:extLst>
          </p:cNvPr>
          <p:cNvSpPr/>
          <p:nvPr/>
        </p:nvSpPr>
        <p:spPr bwMode="auto">
          <a:xfrm>
            <a:off x="9055430" y="3151800"/>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 have multiple agents that fully resolves customer problems?</a:t>
            </a:r>
          </a:p>
        </p:txBody>
      </p:sp>
      <p:sp>
        <p:nvSpPr>
          <p:cNvPr id="32" name="Rectangle: Rounded Corners 31">
            <a:extLst>
              <a:ext uri="{FF2B5EF4-FFF2-40B4-BE49-F238E27FC236}">
                <a16:creationId xmlns:a16="http://schemas.microsoft.com/office/drawing/2014/main" id="{BCDAD152-08A3-2E9C-0B94-CF0A58798B60}"/>
              </a:ext>
            </a:extLst>
          </p:cNvPr>
          <p:cNvSpPr/>
          <p:nvPr/>
        </p:nvSpPr>
        <p:spPr bwMode="auto">
          <a:xfrm>
            <a:off x="4487060" y="429520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operations teams use AI to work more efficiently?</a:t>
            </a:r>
          </a:p>
        </p:txBody>
      </p:sp>
      <p:sp>
        <p:nvSpPr>
          <p:cNvPr id="33" name="Rectangle: Rounded Corners 32">
            <a:extLst>
              <a:ext uri="{FF2B5EF4-FFF2-40B4-BE49-F238E27FC236}">
                <a16:creationId xmlns:a16="http://schemas.microsoft.com/office/drawing/2014/main" id="{367EA52B-A831-C0BC-3D76-CB37D9824633}"/>
              </a:ext>
            </a:extLst>
          </p:cNvPr>
          <p:cNvSpPr/>
          <p:nvPr/>
        </p:nvSpPr>
        <p:spPr bwMode="auto">
          <a:xfrm>
            <a:off x="6771245" y="429520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AI agents proactively gain insights and help improve operation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Rounded Corners 33">
            <a:extLst>
              <a:ext uri="{FF2B5EF4-FFF2-40B4-BE49-F238E27FC236}">
                <a16:creationId xmlns:a16="http://schemas.microsoft.com/office/drawing/2014/main" id="{2216A409-A7EE-6B72-F815-F3977E1083FD}"/>
              </a:ext>
            </a:extLst>
          </p:cNvPr>
          <p:cNvSpPr/>
          <p:nvPr/>
        </p:nvSpPr>
        <p:spPr bwMode="auto">
          <a:xfrm>
            <a:off x="9055430" y="4295207"/>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Are you automating department workflows like procurement, compliance, and IT suppor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Rectangle: Rounded Corners 34">
            <a:extLst>
              <a:ext uri="{FF2B5EF4-FFF2-40B4-BE49-F238E27FC236}">
                <a16:creationId xmlns:a16="http://schemas.microsoft.com/office/drawing/2014/main" id="{B3CF7A72-34F0-25DF-1509-DFB997415CE4}"/>
              </a:ext>
            </a:extLst>
          </p:cNvPr>
          <p:cNvSpPr/>
          <p:nvPr/>
        </p:nvSpPr>
        <p:spPr bwMode="auto">
          <a:xfrm>
            <a:off x="4487060" y="5428691"/>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your developers leverage AI to speed up product develop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9BB39C61-D1E2-E05B-E345-ED048435B5CE}"/>
              </a:ext>
            </a:extLst>
          </p:cNvPr>
          <p:cNvSpPr/>
          <p:nvPr/>
        </p:nvSpPr>
        <p:spPr bwMode="auto">
          <a:xfrm>
            <a:off x="6745326" y="5428691"/>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o AI agents automate testing, docs, and release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1DBAD982-163F-3E7F-15FD-9C082004194F}"/>
              </a:ext>
            </a:extLst>
          </p:cNvPr>
          <p:cNvSpPr/>
          <p:nvPr/>
        </p:nvSpPr>
        <p:spPr bwMode="auto">
          <a:xfrm>
            <a:off x="9003592" y="5428691"/>
            <a:ext cx="2148840" cy="914400"/>
          </a:xfrm>
          <a:prstGeom prst="roundRect">
            <a:avLst>
              <a:gd name="adj" fmla="val 7287"/>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Are you implementing multiple agents across your product development pipeline?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989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grpId="0" nodeType="afterEffect">
                                  <p:stCondLst>
                                    <p:cond delay="10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par>
                          <p:cTn id="19" fill="hold">
                            <p:stCondLst>
                              <p:cond delay="1600"/>
                            </p:stCondLst>
                            <p:childTnLst>
                              <p:par>
                                <p:cTn id="20" presetID="10" presetClass="entr" presetSubtype="0" fill="hold" grpId="0" nodeType="afterEffect">
                                  <p:stCondLst>
                                    <p:cond delay="2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par>
                          <p:cTn id="23" fill="hold">
                            <p:stCondLst>
                              <p:cond delay="2350"/>
                            </p:stCondLst>
                            <p:childTnLst>
                              <p:par>
                                <p:cTn id="24" presetID="10" presetClass="entr" presetSubtype="0" fill="hold" grpId="0" nodeType="afterEffect">
                                  <p:stCondLst>
                                    <p:cond delay="25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1000"/>
                                        <p:tgtEl>
                                          <p:spTgt spid="24"/>
                                        </p:tgtEl>
                                      </p:cBhvr>
                                    </p:animEffect>
                                    <p:anim calcmode="lin" valueType="num">
                                      <p:cBhvr>
                                        <p:cTn id="32" dur="1000" fill="hold"/>
                                        <p:tgtEl>
                                          <p:spTgt spid="24"/>
                                        </p:tgtEl>
                                        <p:attrNameLst>
                                          <p:attrName>ppt_x</p:attrName>
                                        </p:attrNameLst>
                                      </p:cBhvr>
                                      <p:tavLst>
                                        <p:tav tm="0">
                                          <p:val>
                                            <p:strVal val="#ppt_x"/>
                                          </p:val>
                                        </p:tav>
                                        <p:tav tm="100000">
                                          <p:val>
                                            <p:strVal val="#ppt_x"/>
                                          </p:val>
                                        </p:tav>
                                      </p:tavLst>
                                    </p:anim>
                                    <p:anim calcmode="lin" valueType="num">
                                      <p:cBhvr>
                                        <p:cTn id="33" dur="1000" fill="hold"/>
                                        <p:tgtEl>
                                          <p:spTgt spid="24"/>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1000"/>
                                        <p:tgtEl>
                                          <p:spTgt spid="5"/>
                                        </p:tgtEl>
                                      </p:cBhvr>
                                    </p:animEffect>
                                    <p:anim calcmode="lin" valueType="num">
                                      <p:cBhvr>
                                        <p:cTn id="37" dur="1000" fill="hold"/>
                                        <p:tgtEl>
                                          <p:spTgt spid="5"/>
                                        </p:tgtEl>
                                        <p:attrNameLst>
                                          <p:attrName>ppt_x</p:attrName>
                                        </p:attrNameLst>
                                      </p:cBhvr>
                                      <p:tavLst>
                                        <p:tav tm="0">
                                          <p:val>
                                            <p:strVal val="#ppt_x"/>
                                          </p:val>
                                        </p:tav>
                                        <p:tav tm="100000">
                                          <p:val>
                                            <p:strVal val="#ppt_x"/>
                                          </p:val>
                                        </p:tav>
                                      </p:tavLst>
                                    </p:anim>
                                    <p:anim calcmode="lin" valueType="num">
                                      <p:cBhvr>
                                        <p:cTn id="38" dur="1000" fill="hold"/>
                                        <p:tgtEl>
                                          <p:spTgt spid="5"/>
                                        </p:tgtEl>
                                        <p:attrNameLst>
                                          <p:attrName>ppt_y</p:attrName>
                                        </p:attrNameLst>
                                      </p:cBhvr>
                                      <p:tavLst>
                                        <p:tav tm="0">
                                          <p:val>
                                            <p:strVal val="#ppt_y+.1"/>
                                          </p:val>
                                        </p:tav>
                                        <p:tav tm="100000">
                                          <p:val>
                                            <p:strVal val="#ppt_y"/>
                                          </p:val>
                                        </p:tav>
                                      </p:tavLst>
                                    </p:anim>
                                  </p:childTnLst>
                                </p:cTn>
                              </p:par>
                            </p:childTnLst>
                          </p:cTn>
                        </p:par>
                        <p:par>
                          <p:cTn id="39" fill="hold">
                            <p:stCondLst>
                              <p:cond delay="1000"/>
                            </p:stCondLst>
                            <p:childTnLst>
                              <p:par>
                                <p:cTn id="40" presetID="10" presetClass="entr" presetSubtype="0" fill="hold" grpId="0" nodeType="afterEffect">
                                  <p:stCondLst>
                                    <p:cond delay="10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par>
                          <p:cTn id="43" fill="hold">
                            <p:stCondLst>
                              <p:cond delay="1600"/>
                            </p:stCondLst>
                            <p:childTnLst>
                              <p:par>
                                <p:cTn id="44" presetID="10" presetClass="entr" presetSubtype="0" fill="hold" grpId="0" nodeType="afterEffect">
                                  <p:stCondLst>
                                    <p:cond delay="25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childTnLst>
                          </p:cTn>
                        </p:par>
                        <p:par>
                          <p:cTn id="47" fill="hold">
                            <p:stCondLst>
                              <p:cond delay="2350"/>
                            </p:stCondLst>
                            <p:childTnLst>
                              <p:par>
                                <p:cTn id="48" presetID="10" presetClass="entr" presetSubtype="0" fill="hold" grpId="0" nodeType="afterEffect">
                                  <p:stCondLst>
                                    <p:cond delay="250"/>
                                  </p:stCondLst>
                                  <p:childTnLst>
                                    <p:set>
                                      <p:cBhvr>
                                        <p:cTn id="49" dur="1" fill="hold">
                                          <p:stCondLst>
                                            <p:cond delay="0"/>
                                          </p:stCondLst>
                                        </p:cTn>
                                        <p:tgtEl>
                                          <p:spTgt spid="31"/>
                                        </p:tgtEl>
                                        <p:attrNameLst>
                                          <p:attrName>style.visibility</p:attrName>
                                        </p:attrNameLst>
                                      </p:cBhvr>
                                      <p:to>
                                        <p:strVal val="visible"/>
                                      </p:to>
                                    </p:set>
                                    <p:animEffect transition="in" filter="fade">
                                      <p:cBhvr>
                                        <p:cTn id="50" dur="500"/>
                                        <p:tgtEl>
                                          <p:spTgt spid="31"/>
                                        </p:tgtEl>
                                      </p:cBhvr>
                                    </p:animEffect>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1000"/>
                                        <p:tgtEl>
                                          <p:spTgt spid="22"/>
                                        </p:tgtEl>
                                      </p:cBhvr>
                                    </p:animEffect>
                                    <p:anim calcmode="lin" valueType="num">
                                      <p:cBhvr>
                                        <p:cTn id="56" dur="1000" fill="hold"/>
                                        <p:tgtEl>
                                          <p:spTgt spid="22"/>
                                        </p:tgtEl>
                                        <p:attrNameLst>
                                          <p:attrName>ppt_x</p:attrName>
                                        </p:attrNameLst>
                                      </p:cBhvr>
                                      <p:tavLst>
                                        <p:tav tm="0">
                                          <p:val>
                                            <p:strVal val="#ppt_x"/>
                                          </p:val>
                                        </p:tav>
                                        <p:tav tm="100000">
                                          <p:val>
                                            <p:strVal val="#ppt_x"/>
                                          </p:val>
                                        </p:tav>
                                      </p:tavLst>
                                    </p:anim>
                                    <p:anim calcmode="lin" valueType="num">
                                      <p:cBhvr>
                                        <p:cTn id="57" dur="1000" fill="hold"/>
                                        <p:tgtEl>
                                          <p:spTgt spid="22"/>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1000"/>
                                        <p:tgtEl>
                                          <p:spTgt spid="4"/>
                                        </p:tgtEl>
                                      </p:cBhvr>
                                    </p:animEffect>
                                    <p:anim calcmode="lin" valueType="num">
                                      <p:cBhvr>
                                        <p:cTn id="61" dur="1000" fill="hold"/>
                                        <p:tgtEl>
                                          <p:spTgt spid="4"/>
                                        </p:tgtEl>
                                        <p:attrNameLst>
                                          <p:attrName>ppt_x</p:attrName>
                                        </p:attrNameLst>
                                      </p:cBhvr>
                                      <p:tavLst>
                                        <p:tav tm="0">
                                          <p:val>
                                            <p:strVal val="#ppt_x"/>
                                          </p:val>
                                        </p:tav>
                                        <p:tav tm="100000">
                                          <p:val>
                                            <p:strVal val="#ppt_x"/>
                                          </p:val>
                                        </p:tav>
                                      </p:tavLst>
                                    </p:anim>
                                    <p:anim calcmode="lin" valueType="num">
                                      <p:cBhvr>
                                        <p:cTn id="62" dur="1000" fill="hold"/>
                                        <p:tgtEl>
                                          <p:spTgt spid="4"/>
                                        </p:tgtEl>
                                        <p:attrNameLst>
                                          <p:attrName>ppt_y</p:attrName>
                                        </p:attrNameLst>
                                      </p:cBhvr>
                                      <p:tavLst>
                                        <p:tav tm="0">
                                          <p:val>
                                            <p:strVal val="#ppt_y+.1"/>
                                          </p:val>
                                        </p:tav>
                                        <p:tav tm="100000">
                                          <p:val>
                                            <p:strVal val="#ppt_y"/>
                                          </p:val>
                                        </p:tav>
                                      </p:tavLst>
                                    </p:anim>
                                  </p:childTnLst>
                                </p:cTn>
                              </p:par>
                            </p:childTnLst>
                          </p:cTn>
                        </p:par>
                        <p:par>
                          <p:cTn id="63" fill="hold">
                            <p:stCondLst>
                              <p:cond delay="1000"/>
                            </p:stCondLst>
                            <p:childTnLst>
                              <p:par>
                                <p:cTn id="64" presetID="10" presetClass="entr" presetSubtype="0" fill="hold" grpId="0" nodeType="afterEffect">
                                  <p:stCondLst>
                                    <p:cond delay="10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par>
                          <p:cTn id="67" fill="hold">
                            <p:stCondLst>
                              <p:cond delay="1600"/>
                            </p:stCondLst>
                            <p:childTnLst>
                              <p:par>
                                <p:cTn id="68" presetID="10" presetClass="entr" presetSubtype="0" fill="hold" grpId="0" nodeType="afterEffect">
                                  <p:stCondLst>
                                    <p:cond delay="25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2350"/>
                            </p:stCondLst>
                            <p:childTnLst>
                              <p:par>
                                <p:cTn id="72" presetID="10" presetClass="entr" presetSubtype="0" fill="hold" grpId="0" nodeType="afterEffect">
                                  <p:stCondLst>
                                    <p:cond delay="250"/>
                                  </p:stCondLst>
                                  <p:childTnLst>
                                    <p:set>
                                      <p:cBhvr>
                                        <p:cTn id="73" dur="1" fill="hold">
                                          <p:stCondLst>
                                            <p:cond delay="0"/>
                                          </p:stCondLst>
                                        </p:cTn>
                                        <p:tgtEl>
                                          <p:spTgt spid="34"/>
                                        </p:tgtEl>
                                        <p:attrNameLst>
                                          <p:attrName>style.visibility</p:attrName>
                                        </p:attrNameLst>
                                      </p:cBhvr>
                                      <p:to>
                                        <p:strVal val="visible"/>
                                      </p:to>
                                    </p:set>
                                    <p:animEffect transition="in" filter="fade">
                                      <p:cBhvr>
                                        <p:cTn id="74" dur="500"/>
                                        <p:tgtEl>
                                          <p:spTgt spid="34"/>
                                        </p:tgtEl>
                                      </p:cBhvr>
                                    </p:animEffect>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3"/>
                                        </p:tgtEl>
                                        <p:attrNameLst>
                                          <p:attrName>style.visibility</p:attrName>
                                        </p:attrNameLst>
                                      </p:cBhvr>
                                      <p:to>
                                        <p:strVal val="visible"/>
                                      </p:to>
                                    </p:set>
                                    <p:animEffect transition="in" filter="fade">
                                      <p:cBhvr>
                                        <p:cTn id="79" dur="1000"/>
                                        <p:tgtEl>
                                          <p:spTgt spid="3"/>
                                        </p:tgtEl>
                                      </p:cBhvr>
                                    </p:animEffect>
                                    <p:anim calcmode="lin" valueType="num">
                                      <p:cBhvr>
                                        <p:cTn id="80" dur="1000" fill="hold"/>
                                        <p:tgtEl>
                                          <p:spTgt spid="3"/>
                                        </p:tgtEl>
                                        <p:attrNameLst>
                                          <p:attrName>ppt_x</p:attrName>
                                        </p:attrNameLst>
                                      </p:cBhvr>
                                      <p:tavLst>
                                        <p:tav tm="0">
                                          <p:val>
                                            <p:strVal val="#ppt_x"/>
                                          </p:val>
                                        </p:tav>
                                        <p:tav tm="100000">
                                          <p:val>
                                            <p:strVal val="#ppt_x"/>
                                          </p:val>
                                        </p:tav>
                                      </p:tavLst>
                                    </p:anim>
                                    <p:anim calcmode="lin" valueType="num">
                                      <p:cBhvr>
                                        <p:cTn id="81" dur="1000" fill="hold"/>
                                        <p:tgtEl>
                                          <p:spTgt spid="3"/>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00"/>
                                        <p:tgtEl>
                                          <p:spTgt spid="23"/>
                                        </p:tgtEl>
                                      </p:cBhvr>
                                    </p:animEffect>
                                    <p:anim calcmode="lin" valueType="num">
                                      <p:cBhvr>
                                        <p:cTn id="85" dur="1000" fill="hold"/>
                                        <p:tgtEl>
                                          <p:spTgt spid="23"/>
                                        </p:tgtEl>
                                        <p:attrNameLst>
                                          <p:attrName>ppt_x</p:attrName>
                                        </p:attrNameLst>
                                      </p:cBhvr>
                                      <p:tavLst>
                                        <p:tav tm="0">
                                          <p:val>
                                            <p:strVal val="#ppt_x"/>
                                          </p:val>
                                        </p:tav>
                                        <p:tav tm="100000">
                                          <p:val>
                                            <p:strVal val="#ppt_x"/>
                                          </p:val>
                                        </p:tav>
                                      </p:tavLst>
                                    </p:anim>
                                    <p:anim calcmode="lin" valueType="num">
                                      <p:cBhvr>
                                        <p:cTn id="86" dur="1000" fill="hold"/>
                                        <p:tgtEl>
                                          <p:spTgt spid="23"/>
                                        </p:tgtEl>
                                        <p:attrNameLst>
                                          <p:attrName>ppt_y</p:attrName>
                                        </p:attrNameLst>
                                      </p:cBhvr>
                                      <p:tavLst>
                                        <p:tav tm="0">
                                          <p:val>
                                            <p:strVal val="#ppt_y+.1"/>
                                          </p:val>
                                        </p:tav>
                                        <p:tav tm="100000">
                                          <p:val>
                                            <p:strVal val="#ppt_y"/>
                                          </p:val>
                                        </p:tav>
                                      </p:tavLst>
                                    </p:anim>
                                  </p:childTnLst>
                                </p:cTn>
                              </p:par>
                            </p:childTnLst>
                          </p:cTn>
                        </p:par>
                        <p:par>
                          <p:cTn id="87" fill="hold">
                            <p:stCondLst>
                              <p:cond delay="1000"/>
                            </p:stCondLst>
                            <p:childTnLst>
                              <p:par>
                                <p:cTn id="88" presetID="10" presetClass="entr" presetSubtype="0" fill="hold" grpId="0" nodeType="afterEffect">
                                  <p:stCondLst>
                                    <p:cond delay="100"/>
                                  </p:stCondLst>
                                  <p:childTnLst>
                                    <p:set>
                                      <p:cBhvr>
                                        <p:cTn id="89" dur="1" fill="hold">
                                          <p:stCondLst>
                                            <p:cond delay="0"/>
                                          </p:stCondLst>
                                        </p:cTn>
                                        <p:tgtEl>
                                          <p:spTgt spid="35"/>
                                        </p:tgtEl>
                                        <p:attrNameLst>
                                          <p:attrName>style.visibility</p:attrName>
                                        </p:attrNameLst>
                                      </p:cBhvr>
                                      <p:to>
                                        <p:strVal val="visible"/>
                                      </p:to>
                                    </p:set>
                                    <p:animEffect transition="in" filter="fade">
                                      <p:cBhvr>
                                        <p:cTn id="90" dur="500"/>
                                        <p:tgtEl>
                                          <p:spTgt spid="35"/>
                                        </p:tgtEl>
                                      </p:cBhvr>
                                    </p:animEffect>
                                  </p:childTnLst>
                                </p:cTn>
                              </p:par>
                            </p:childTnLst>
                          </p:cTn>
                        </p:par>
                        <p:par>
                          <p:cTn id="91" fill="hold">
                            <p:stCondLst>
                              <p:cond delay="1600"/>
                            </p:stCondLst>
                            <p:childTnLst>
                              <p:par>
                                <p:cTn id="92" presetID="10" presetClass="entr" presetSubtype="0" fill="hold" grpId="0" nodeType="afterEffect">
                                  <p:stCondLst>
                                    <p:cond delay="25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par>
                          <p:cTn id="95" fill="hold">
                            <p:stCondLst>
                              <p:cond delay="2350"/>
                            </p:stCondLst>
                            <p:childTnLst>
                              <p:par>
                                <p:cTn id="96" presetID="10" presetClass="entr" presetSubtype="0" fill="hold" grpId="0" nodeType="afterEffect">
                                  <p:stCondLst>
                                    <p:cond delay="25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4" grpId="0"/>
      <p:bldP spid="22" grpId="0"/>
      <p:bldP spid="23" grpId="0"/>
      <p:bldP spid="25" grpId="0" animBg="1"/>
      <p:bldP spid="26" grpId="0" animBg="1"/>
      <p:bldP spid="27" grpId="0" animBg="1"/>
      <p:bldP spid="29" grpId="0" animBg="1"/>
      <p:bldP spid="30" grpId="0" animBg="1"/>
      <p:bldP spid="31" grpId="0" animBg="1"/>
      <p:bldP spid="32" grpId="0" animBg="1"/>
      <p:bldP spid="33" grpId="0" animBg="1"/>
      <p:bldP spid="34" grpId="0" animBg="1"/>
      <p:bldP spid="35" grpId="0" animBg="1"/>
      <p:bldP spid="36" grpId="0" animBg="1"/>
      <p:bldP spid="3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FE028-B8BF-E1ED-6096-A973C647107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B400D9D-5D98-DC77-FD5E-FE0EF5485150}"/>
              </a:ext>
            </a:extLst>
          </p:cNvPr>
          <p:cNvSpPr>
            <a:spLocks noGrp="1"/>
          </p:cNvSpPr>
          <p:nvPr>
            <p:ph type="title"/>
          </p:nvPr>
        </p:nvSpPr>
        <p:spPr/>
        <p:txBody>
          <a:bodyPr/>
          <a:lstStyle/>
          <a:p>
            <a:r>
              <a:rPr lang="en-US">
                <a:ea typeface="+mj-ea"/>
                <a:cs typeface="+mj-cs"/>
              </a:rPr>
              <a:t>Microsoft’s AI Advantage </a:t>
            </a:r>
          </a:p>
        </p:txBody>
      </p:sp>
      <p:sp>
        <p:nvSpPr>
          <p:cNvPr id="9" name="Rectangle: Rounded Corners 8">
            <a:extLst>
              <a:ext uri="{FF2B5EF4-FFF2-40B4-BE49-F238E27FC236}">
                <a16:creationId xmlns:a16="http://schemas.microsoft.com/office/drawing/2014/main" id="{9BA62A2C-2327-5EF9-E164-8714E34B15C7}"/>
              </a:ext>
              <a:ext uri="{C183D7F6-B498-43B3-948B-1728B52AA6E4}">
                <adec:decorative xmlns:adec="http://schemas.microsoft.com/office/drawing/2017/decorative" val="1"/>
              </a:ext>
            </a:extLst>
          </p:cNvPr>
          <p:cNvSpPr>
            <a:spLocks/>
          </p:cNvSpPr>
          <p:nvPr/>
        </p:nvSpPr>
        <p:spPr bwMode="auto">
          <a:xfrm>
            <a:off x="581025" y="1720645"/>
            <a:ext cx="11036808" cy="4642055"/>
          </a:xfrm>
          <a:prstGeom prst="roundRect">
            <a:avLst>
              <a:gd name="adj" fmla="val 3240"/>
            </a:avLst>
          </a:prstGeom>
          <a:ln w="19050" cap="rnd">
            <a:solidFill>
              <a:schemeClr val="tx1">
                <a:alpha val="2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p>
            <a:pPr marL="0" marR="0" lvl="0" indent="0" algn="ctr" defTabSz="1427220" rtl="0" eaLnBrk="1" fontAlgn="auto" latinLnBrk="0" hangingPunct="1">
              <a:lnSpc>
                <a:spcPct val="100000"/>
              </a:lnSpc>
              <a:spcBef>
                <a:spcPts val="400"/>
              </a:spcBef>
              <a:spcAft>
                <a:spcPts val="0"/>
              </a:spcAft>
              <a:buClrTx/>
              <a:buSzTx/>
              <a:buFontTx/>
              <a:buNone/>
              <a:tabLst/>
              <a:defRPr/>
            </a:pPr>
            <a:endParaRPr kumimoji="0" lang="en-US" sz="4000" b="0" i="0" u="none" strike="noStrike" kern="1200" cap="none" spc="0" normalizeH="0" baseline="0" noProof="0">
              <a:ln>
                <a:noFill/>
              </a:ln>
              <a:gradFill>
                <a:gsLst>
                  <a:gs pos="80460">
                    <a:srgbClr val="000000"/>
                  </a:gs>
                  <a:gs pos="59551">
                    <a:srgbClr val="000000"/>
                  </a:gs>
                </a:gsLst>
                <a:path path="circle">
                  <a:fillToRect l="100000" t="100000"/>
                </a:path>
              </a:gradFill>
              <a:effectLst/>
              <a:uLnTx/>
              <a:uFillTx/>
              <a:latin typeface="Segoe UI Variable Display Semibold" pitchFamily="2" charset="0"/>
              <a:ea typeface="+mn-ea"/>
              <a:cs typeface="+mn-cs"/>
            </a:endParaRPr>
          </a:p>
        </p:txBody>
      </p:sp>
      <p:sp>
        <p:nvSpPr>
          <p:cNvPr id="11" name="Title 2">
            <a:extLst>
              <a:ext uri="{FF2B5EF4-FFF2-40B4-BE49-F238E27FC236}">
                <a16:creationId xmlns:a16="http://schemas.microsoft.com/office/drawing/2014/main" id="{B7799A35-0274-4DE6-C0D0-C9388B7DFA79}"/>
              </a:ext>
            </a:extLst>
          </p:cNvPr>
          <p:cNvSpPr txBox="1">
            <a:spLocks/>
          </p:cNvSpPr>
          <p:nvPr/>
        </p:nvSpPr>
        <p:spPr>
          <a:xfrm>
            <a:off x="715647" y="1437354"/>
            <a:ext cx="5323205" cy="553998"/>
          </a:xfrm>
          <a:prstGeom prst="roundRect">
            <a:avLst>
              <a:gd name="adj" fmla="val 50000"/>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000">
                <a:solidFill>
                  <a:srgbClr val="FFFFFF"/>
                </a:solidFill>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Segoe UI" pitchFamily="34" charset="0"/>
              </a:rPr>
              <a:t>The </a:t>
            </a:r>
            <a:r>
              <a:rPr kumimoji="0" lang="en-US" sz="2000" b="0" i="0" u="none" strike="noStrike" kern="1200" cap="none" spc="0" normalizeH="0" baseline="0" noProof="0">
                <a:ln>
                  <a:noFill/>
                </a:ln>
                <a:solidFill>
                  <a:prstClr val="white"/>
                </a:solidFill>
                <a:effectLst/>
                <a:uLnTx/>
                <a:uFillTx/>
                <a:latin typeface="Segoe UI Semibold"/>
                <a:ea typeface="+mn-ea"/>
                <a:cs typeface="Segoe UI" pitchFamily="34" charset="0"/>
              </a:rPr>
              <a:t>proven leader </a:t>
            </a:r>
            <a:r>
              <a:rPr kumimoji="0" lang="en-US" sz="2000" b="0" i="0" u="none" strike="noStrike" kern="1200" cap="none" spc="0" normalizeH="0" baseline="0" noProof="0">
                <a:ln>
                  <a:noFill/>
                </a:ln>
                <a:solidFill>
                  <a:prstClr val="white"/>
                </a:solidFill>
                <a:effectLst/>
                <a:uLnTx/>
                <a:uFillTx/>
                <a:latin typeface="Segoe UI"/>
                <a:ea typeface="+mn-ea"/>
                <a:cs typeface="Segoe UI" pitchFamily="34" charset="0"/>
              </a:rPr>
              <a:t>for AI transformation</a:t>
            </a:r>
          </a:p>
        </p:txBody>
      </p:sp>
      <p:sp>
        <p:nvSpPr>
          <p:cNvPr id="13" name="TextBox 12" hidden="1">
            <a:extLst>
              <a:ext uri="{FF2B5EF4-FFF2-40B4-BE49-F238E27FC236}">
                <a16:creationId xmlns:a16="http://schemas.microsoft.com/office/drawing/2014/main" id="{25E395A4-4C43-450C-CA56-587741E49BEB}"/>
              </a:ext>
            </a:extLst>
          </p:cNvPr>
          <p:cNvSpPr txBox="1"/>
          <p:nvPr/>
        </p:nvSpPr>
        <p:spPr>
          <a:xfrm>
            <a:off x="1371343" y="2892160"/>
            <a:ext cx="4206817" cy="21544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a:endParaRPr>
          </a:p>
        </p:txBody>
      </p:sp>
      <p:sp>
        <p:nvSpPr>
          <p:cNvPr id="16" name="TextBox 15" hidden="1">
            <a:extLst>
              <a:ext uri="{FF2B5EF4-FFF2-40B4-BE49-F238E27FC236}">
                <a16:creationId xmlns:a16="http://schemas.microsoft.com/office/drawing/2014/main" id="{46D5DECA-2772-F05E-E36A-ED1EEF7B79A9}"/>
              </a:ext>
            </a:extLst>
          </p:cNvPr>
          <p:cNvSpPr txBox="1"/>
          <p:nvPr/>
        </p:nvSpPr>
        <p:spPr>
          <a:xfrm>
            <a:off x="7666051" y="2894167"/>
            <a:ext cx="3919269" cy="21544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a:endParaRPr>
          </a:p>
        </p:txBody>
      </p:sp>
      <p:sp>
        <p:nvSpPr>
          <p:cNvPr id="18" name="TextBox 17" hidden="1">
            <a:extLst>
              <a:ext uri="{FF2B5EF4-FFF2-40B4-BE49-F238E27FC236}">
                <a16:creationId xmlns:a16="http://schemas.microsoft.com/office/drawing/2014/main" id="{5B244347-8F52-A1C7-89B8-4D4924F95B6E}"/>
              </a:ext>
            </a:extLst>
          </p:cNvPr>
          <p:cNvSpPr txBox="1"/>
          <p:nvPr/>
        </p:nvSpPr>
        <p:spPr>
          <a:xfrm>
            <a:off x="7047824" y="5027740"/>
            <a:ext cx="4537496"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a:endParaRPr>
          </a:p>
        </p:txBody>
      </p:sp>
      <p:sp>
        <p:nvSpPr>
          <p:cNvPr id="20" name="TextBox 19" hidden="1">
            <a:extLst>
              <a:ext uri="{FF2B5EF4-FFF2-40B4-BE49-F238E27FC236}">
                <a16:creationId xmlns:a16="http://schemas.microsoft.com/office/drawing/2014/main" id="{FA086B49-F732-1F03-0E55-B04502627181}"/>
              </a:ext>
            </a:extLst>
          </p:cNvPr>
          <p:cNvSpPr txBox="1"/>
          <p:nvPr/>
        </p:nvSpPr>
        <p:spPr>
          <a:xfrm>
            <a:off x="921688" y="5036626"/>
            <a:ext cx="4767534" cy="21544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panose="020B0502040204020203" pitchFamily="34" charset="0"/>
              <a:ea typeface="+mn-ea"/>
              <a:cs typeface="Segoe UI"/>
            </a:endParaRPr>
          </a:p>
        </p:txBody>
      </p:sp>
      <p:sp>
        <p:nvSpPr>
          <p:cNvPr id="12" name="TextBox 11">
            <a:extLst>
              <a:ext uri="{FF2B5EF4-FFF2-40B4-BE49-F238E27FC236}">
                <a16:creationId xmlns:a16="http://schemas.microsoft.com/office/drawing/2014/main" id="{EB3C461C-5FB6-5E8A-C72B-35DE52C1D4D1}"/>
              </a:ext>
            </a:extLst>
          </p:cNvPr>
          <p:cNvSpPr txBox="1">
            <a:spLocks/>
          </p:cNvSpPr>
          <p:nvPr/>
        </p:nvSpPr>
        <p:spPr>
          <a:xfrm>
            <a:off x="1457324" y="2274598"/>
            <a:ext cx="9952227" cy="307777"/>
          </a:xfrm>
          <a:prstGeom prst="rect">
            <a:avLst/>
          </a:prstGeom>
          <a:noFill/>
        </p:spPr>
        <p:txBody>
          <a:bodyPr wrap="square" lIns="0" tIns="0" rIns="0" bIns="0" anchor="ctr">
            <a:spAutoFit/>
          </a:bodyPr>
          <a:lstStyle>
            <a:defPPr>
              <a:defRPr lang="en-US"/>
            </a:defPPr>
            <a:lvl1pPr>
              <a:defRPr b="1">
                <a:ln w="3175">
                  <a:noFill/>
                </a:ln>
                <a:gradFill flip="none" rotWithShape="1">
                  <a:gsLst>
                    <a:gs pos="98000">
                      <a:srgbClr val="0A6BBA"/>
                    </a:gs>
                    <a:gs pos="48000">
                      <a:srgbClr val="399A91"/>
                    </a:gs>
                  </a:gsLst>
                  <a:lin ang="10800000" scaled="1"/>
                  <a:tileRect/>
                </a:gra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w="3175">
                  <a:noFill/>
                </a:ln>
                <a:solidFill>
                  <a:prstClr val="black"/>
                </a:solidFill>
                <a:effectLst/>
                <a:uLnTx/>
                <a:uFillTx/>
                <a:latin typeface="Segoe UI Semibold"/>
                <a:ea typeface="+mn-ea"/>
                <a:cs typeface="Segoe Sans Display Semibold"/>
              </a:rPr>
              <a:t>Essential tools for agentic business transformation to empower your workforce.</a:t>
            </a:r>
            <a:endParaRPr kumimoji="0" lang="en-US" sz="1800" b="0" i="0" u="none" strike="noStrike" kern="1200" cap="none" spc="0" normalizeH="0" baseline="0" noProof="0">
              <a:ln w="3175">
                <a:noFill/>
              </a:ln>
              <a:solidFill>
                <a:prstClr val="black"/>
              </a:solidFill>
              <a:effectLst/>
              <a:uLnTx/>
              <a:uFillTx/>
              <a:latin typeface="Segoe UI Semibold"/>
              <a:ea typeface="+mn-ea"/>
              <a:cs typeface="Segoe UI" pitchFamily="34" charset="0"/>
            </a:endParaRPr>
          </a:p>
        </p:txBody>
      </p:sp>
      <p:sp>
        <p:nvSpPr>
          <p:cNvPr id="15" name="TextBox 14">
            <a:extLst>
              <a:ext uri="{FF2B5EF4-FFF2-40B4-BE49-F238E27FC236}">
                <a16:creationId xmlns:a16="http://schemas.microsoft.com/office/drawing/2014/main" id="{8B871E7C-47D0-3A92-46B1-2FBEA8E41214}"/>
              </a:ext>
            </a:extLst>
          </p:cNvPr>
          <p:cNvSpPr txBox="1">
            <a:spLocks/>
          </p:cNvSpPr>
          <p:nvPr/>
        </p:nvSpPr>
        <p:spPr>
          <a:xfrm>
            <a:off x="1457324" y="4023136"/>
            <a:ext cx="9952227" cy="307777"/>
          </a:xfrm>
          <a:prstGeom prst="rect">
            <a:avLst/>
          </a:prstGeom>
          <a:noFill/>
        </p:spPr>
        <p:txBody>
          <a:bodyPr wrap="square" lIns="0" tIns="0" rIns="0" bIns="0" anchor="ctr">
            <a:spAutoFit/>
          </a:bodyPr>
          <a:lstStyle>
            <a:defPPr>
              <a:defRPr lang="en-US"/>
            </a:defPPr>
            <a:lvl1pPr>
              <a:defRPr b="1">
                <a:ln w="3175">
                  <a:noFill/>
                </a:ln>
                <a:gradFill flip="none" rotWithShape="1">
                  <a:gsLst>
                    <a:gs pos="98000">
                      <a:srgbClr val="0A6BBA"/>
                    </a:gs>
                    <a:gs pos="48000">
                      <a:srgbClr val="399A91"/>
                    </a:gs>
                  </a:gsLst>
                  <a:lin ang="10800000" scaled="1"/>
                  <a:tileRect/>
                </a:gra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1" i="0" u="none" strike="noStrike" kern="0" cap="none" spc="0" normalizeH="0" baseline="0" noProof="0">
                <a:ln w="3175">
                  <a:noFill/>
                </a:ln>
                <a:solidFill>
                  <a:prstClr val="black"/>
                </a:solidFill>
                <a:effectLst/>
                <a:uLnTx/>
                <a:uFillTx/>
                <a:latin typeface="Segoe UI Semibold"/>
                <a:ea typeface="+mn-ea"/>
                <a:cs typeface="Segoe UI Semibold" panose="020B0702040204020203" pitchFamily="34" charset="0"/>
              </a:rPr>
              <a:t>Use the most widely adopted AI developer tools for any platform.</a:t>
            </a:r>
          </a:p>
        </p:txBody>
      </p:sp>
      <p:cxnSp>
        <p:nvCxnSpPr>
          <p:cNvPr id="33" name="Straight Connector 32">
            <a:extLst>
              <a:ext uri="{FF2B5EF4-FFF2-40B4-BE49-F238E27FC236}">
                <a16:creationId xmlns:a16="http://schemas.microsoft.com/office/drawing/2014/main" id="{EFDC7A93-7A0E-3C3D-D5E6-26F68E076703}"/>
              </a:ext>
            </a:extLst>
          </p:cNvPr>
          <p:cNvCxnSpPr>
            <a:cxnSpLocks/>
          </p:cNvCxnSpPr>
          <p:nvPr/>
        </p:nvCxnSpPr>
        <p:spPr>
          <a:xfrm>
            <a:off x="1451736" y="2865621"/>
            <a:ext cx="9957816"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FB96FAF-FC12-5184-D921-7F4DD68DD0C0}"/>
              </a:ext>
            </a:extLst>
          </p:cNvPr>
          <p:cNvCxnSpPr>
            <a:cxnSpLocks/>
          </p:cNvCxnSpPr>
          <p:nvPr/>
        </p:nvCxnSpPr>
        <p:spPr>
          <a:xfrm>
            <a:off x="1451736" y="5488428"/>
            <a:ext cx="9957816"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AF5C14D-7F04-D6D0-38A0-1ACE76F4327B}"/>
              </a:ext>
            </a:extLst>
          </p:cNvPr>
          <p:cNvSpPr txBox="1">
            <a:spLocks/>
          </p:cNvSpPr>
          <p:nvPr/>
        </p:nvSpPr>
        <p:spPr>
          <a:xfrm>
            <a:off x="1457324" y="3148867"/>
            <a:ext cx="9952227" cy="307777"/>
          </a:xfrm>
          <a:prstGeom prst="rect">
            <a:avLst/>
          </a:prstGeom>
          <a:noFill/>
        </p:spPr>
        <p:txBody>
          <a:bodyPr wrap="square" lIns="0" tIns="0" rIns="0" bIns="0" anchor="ctr">
            <a:spAutoFit/>
          </a:bodyPr>
          <a:lstStyle>
            <a:defPPr>
              <a:defRPr lang="en-US"/>
            </a:defPPr>
            <a:lvl1pPr>
              <a:defRPr b="1">
                <a:ln w="3175">
                  <a:noFill/>
                </a:ln>
                <a:gradFill flip="none" rotWithShape="1">
                  <a:gsLst>
                    <a:gs pos="98000">
                      <a:srgbClr val="0A6BBA"/>
                    </a:gs>
                    <a:gs pos="48000">
                      <a:srgbClr val="399A91"/>
                    </a:gs>
                  </a:gsLst>
                  <a:lin ang="10800000" scaled="1"/>
                  <a:tileRect/>
                </a:gra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w="3175">
                  <a:noFill/>
                </a:ln>
                <a:solidFill>
                  <a:prstClr val="black"/>
                </a:solidFill>
                <a:effectLst/>
                <a:uLnTx/>
                <a:uFillTx/>
                <a:latin typeface="Segoe UI Semibold"/>
                <a:ea typeface="+mn-ea"/>
                <a:cs typeface="Segoe Sans Display Semibold"/>
              </a:rPr>
              <a:t>Leverage the Microsoft cloud platform to deliver AI capabilities.</a:t>
            </a:r>
            <a:endParaRPr kumimoji="0" lang="en-US" sz="1600" b="0" i="0" u="none" strike="noStrike" kern="1200" cap="none" spc="0" normalizeH="0" baseline="0" noProof="0">
              <a:ln w="3175">
                <a:noFill/>
              </a:ln>
              <a:solidFill>
                <a:prstClr val="black"/>
              </a:solidFill>
              <a:effectLst/>
              <a:uLnTx/>
              <a:uFillTx/>
              <a:latin typeface="Segoe UI Semibold"/>
              <a:ea typeface="+mn-ea"/>
              <a:cs typeface="Segoe UI"/>
            </a:endParaRPr>
          </a:p>
        </p:txBody>
      </p:sp>
      <p:grpSp>
        <p:nvGrpSpPr>
          <p:cNvPr id="26" name="Group 25">
            <a:extLst>
              <a:ext uri="{FF2B5EF4-FFF2-40B4-BE49-F238E27FC236}">
                <a16:creationId xmlns:a16="http://schemas.microsoft.com/office/drawing/2014/main" id="{360B6EC0-0C20-3602-6F68-24C8C873DC6D}"/>
              </a:ext>
            </a:extLst>
          </p:cNvPr>
          <p:cNvGrpSpPr>
            <a:grpSpLocks/>
          </p:cNvGrpSpPr>
          <p:nvPr/>
        </p:nvGrpSpPr>
        <p:grpSpPr>
          <a:xfrm>
            <a:off x="763143" y="2172454"/>
            <a:ext cx="512064" cy="512064"/>
            <a:chOff x="731606" y="2172454"/>
            <a:chExt cx="512064" cy="512064"/>
          </a:xfrm>
        </p:grpSpPr>
        <p:sp>
          <p:nvSpPr>
            <p:cNvPr id="21" name="Oval 20">
              <a:extLst>
                <a:ext uri="{FF2B5EF4-FFF2-40B4-BE49-F238E27FC236}">
                  <a16:creationId xmlns:a16="http://schemas.microsoft.com/office/drawing/2014/main" id="{C480A428-803E-C2BC-2451-9D31FDB2309C}"/>
                </a:ext>
                <a:ext uri="{C183D7F6-B498-43B3-948B-1728B52AA6E4}">
                  <adec:decorative xmlns:adec="http://schemas.microsoft.com/office/drawing/2017/decorative" val="1"/>
                </a:ext>
              </a:extLst>
            </p:cNvPr>
            <p:cNvSpPr>
              <a:spLocks/>
            </p:cNvSpPr>
            <p:nvPr/>
          </p:nvSpPr>
          <p:spPr bwMode="auto">
            <a:xfrm>
              <a:off x="731606" y="2172454"/>
              <a:ext cx="512064" cy="512064"/>
            </a:xfrm>
            <a:prstGeom prst="ellipse">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pic>
          <p:nvPicPr>
            <p:cNvPr id="27" name="Graphic 26" descr="Aperture with solid fill">
              <a:extLst>
                <a:ext uri="{FF2B5EF4-FFF2-40B4-BE49-F238E27FC236}">
                  <a16:creationId xmlns:a16="http://schemas.microsoft.com/office/drawing/2014/main" id="{EDD9929E-50CC-FF1C-D6D9-5E48B9206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5551" y="2237299"/>
              <a:ext cx="382374" cy="382374"/>
            </a:xfrm>
            <a:prstGeom prst="rect">
              <a:avLst/>
            </a:prstGeom>
          </p:spPr>
        </p:pic>
      </p:grpSp>
      <p:sp>
        <p:nvSpPr>
          <p:cNvPr id="29" name="TextBox 28">
            <a:extLst>
              <a:ext uri="{FF2B5EF4-FFF2-40B4-BE49-F238E27FC236}">
                <a16:creationId xmlns:a16="http://schemas.microsoft.com/office/drawing/2014/main" id="{230FC328-9B60-9436-CBD2-BCE6071C28E2}"/>
              </a:ext>
            </a:extLst>
          </p:cNvPr>
          <p:cNvSpPr txBox="1">
            <a:spLocks/>
          </p:cNvSpPr>
          <p:nvPr/>
        </p:nvSpPr>
        <p:spPr>
          <a:xfrm>
            <a:off x="1454530" y="4885117"/>
            <a:ext cx="9952227" cy="307777"/>
          </a:xfrm>
          <a:prstGeom prst="rect">
            <a:avLst/>
          </a:prstGeom>
          <a:noFill/>
        </p:spPr>
        <p:txBody>
          <a:bodyPr wrap="square" lIns="0" tIns="0" rIns="0" bIns="0" anchor="t">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Semibold"/>
                <a:ea typeface="+mn-ea"/>
                <a:cs typeface="Segoe UI Semibold" panose="020B0702040204020203" pitchFamily="34" charset="0"/>
              </a:rPr>
              <a:t>Unified </a:t>
            </a:r>
            <a:r>
              <a:rPr kumimoji="0" lang="en-US" sz="2000" b="1" i="0" u="none" strike="noStrike" kern="0" cap="none" spc="0" normalizeH="0" baseline="0" noProof="0">
                <a:ln>
                  <a:noFill/>
                </a:ln>
                <a:solidFill>
                  <a:prstClr val="black"/>
                </a:solidFill>
                <a:effectLst/>
                <a:uLnTx/>
                <a:uFillTx/>
                <a:latin typeface="Segoe UI Semibold"/>
                <a:ea typeface="+mn-ea"/>
                <a:cs typeface="Segoe UI Semibold" panose="020B0702040204020203" pitchFamily="34" charset="0"/>
              </a:rPr>
              <a:t>data platform that brings together data </a:t>
            </a:r>
            <a:r>
              <a:rPr kumimoji="0" lang="en-US" sz="2000" b="0" i="0" u="none" strike="noStrike" kern="0" cap="none" spc="0" normalizeH="0" baseline="0" noProof="0">
                <a:ln>
                  <a:noFill/>
                </a:ln>
                <a:solidFill>
                  <a:prstClr val="black"/>
                </a:solidFill>
                <a:effectLst/>
                <a:uLnTx/>
                <a:uFillTx/>
                <a:latin typeface="Segoe UI Semibold"/>
                <a:ea typeface="+mn-ea"/>
                <a:cs typeface="Segoe UI Semibold" panose="020B0702040204020203" pitchFamily="34" charset="0"/>
              </a:rPr>
              <a:t>and analytics into a single experience.</a:t>
            </a:r>
          </a:p>
        </p:txBody>
      </p:sp>
      <p:sp>
        <p:nvSpPr>
          <p:cNvPr id="31" name="TextBox 30">
            <a:extLst>
              <a:ext uri="{FF2B5EF4-FFF2-40B4-BE49-F238E27FC236}">
                <a16:creationId xmlns:a16="http://schemas.microsoft.com/office/drawing/2014/main" id="{D85A7606-0733-382C-3D46-033F25830E77}"/>
              </a:ext>
            </a:extLst>
          </p:cNvPr>
          <p:cNvSpPr txBox="1">
            <a:spLocks/>
          </p:cNvSpPr>
          <p:nvPr/>
        </p:nvSpPr>
        <p:spPr>
          <a:xfrm>
            <a:off x="1457324" y="5771674"/>
            <a:ext cx="9952227" cy="307777"/>
          </a:xfrm>
          <a:prstGeom prst="rect">
            <a:avLst/>
          </a:prstGeom>
          <a:noFill/>
        </p:spPr>
        <p:txBody>
          <a:bodyPr wrap="square" lIns="0" tIns="0" rIns="0" bIns="0" anchor="t">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Segoe UI Semibold"/>
                <a:ea typeface="+mn-ea"/>
                <a:cs typeface="Segoe UI Semibold" panose="020B0702040204020203" pitchFamily="34" charset="0"/>
              </a:rPr>
              <a:t>Protect your organization with Microsoft's AI-first end-to-end security platform. </a:t>
            </a:r>
          </a:p>
        </p:txBody>
      </p:sp>
      <p:sp>
        <p:nvSpPr>
          <p:cNvPr id="4" name="Oval 3">
            <a:extLst>
              <a:ext uri="{FF2B5EF4-FFF2-40B4-BE49-F238E27FC236}">
                <a16:creationId xmlns:a16="http://schemas.microsoft.com/office/drawing/2014/main" id="{A0DA9731-AD57-318F-2538-723DB03B4646}"/>
              </a:ext>
              <a:ext uri="{C183D7F6-B498-43B3-948B-1728B52AA6E4}">
                <adec:decorative xmlns:adec="http://schemas.microsoft.com/office/drawing/2017/decorative" val="1"/>
              </a:ext>
            </a:extLst>
          </p:cNvPr>
          <p:cNvSpPr>
            <a:spLocks/>
          </p:cNvSpPr>
          <p:nvPr/>
        </p:nvSpPr>
        <p:spPr bwMode="auto">
          <a:xfrm>
            <a:off x="763143" y="3046723"/>
            <a:ext cx="512064" cy="512064"/>
          </a:xfrm>
          <a:prstGeom prst="ellipse">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44" name="Graphic 480" descr="Icon of a cloud with checkmark">
            <a:extLst>
              <a:ext uri="{FF2B5EF4-FFF2-40B4-BE49-F238E27FC236}">
                <a16:creationId xmlns:a16="http://schemas.microsoft.com/office/drawing/2014/main" id="{BA131657-5A6E-EBDE-09F1-36C4A9E7D499}"/>
              </a:ext>
            </a:extLst>
          </p:cNvPr>
          <p:cNvSpPr>
            <a:spLocks/>
          </p:cNvSpPr>
          <p:nvPr/>
        </p:nvSpPr>
        <p:spPr>
          <a:xfrm>
            <a:off x="878788" y="3169387"/>
            <a:ext cx="280774" cy="266736"/>
          </a:xfrm>
          <a:custGeom>
            <a:avLst/>
            <a:gdLst>
              <a:gd name="connsiteX0" fmla="*/ 363756 w 1780061"/>
              <a:gd name="connsiteY0" fmla="*/ 422323 h 1690616"/>
              <a:gd name="connsiteX1" fmla="*/ 957486 w 1780061"/>
              <a:gd name="connsiteY1" fmla="*/ 8008 h 1690616"/>
              <a:gd name="connsiteX2" fmla="*/ 1371805 w 1780061"/>
              <a:gd name="connsiteY2" fmla="*/ 422323 h 1690616"/>
              <a:gd name="connsiteX3" fmla="*/ 1379548 w 1780061"/>
              <a:gd name="connsiteY3" fmla="*/ 422323 h 1690616"/>
              <a:gd name="connsiteX4" fmla="*/ 1735587 w 1780061"/>
              <a:gd name="connsiteY4" fmla="*/ 778308 h 1690616"/>
              <a:gd name="connsiteX5" fmla="*/ 1732178 w 1780061"/>
              <a:gd name="connsiteY5" fmla="*/ 827465 h 1690616"/>
              <a:gd name="connsiteX6" fmla="*/ 916723 w 1780061"/>
              <a:gd name="connsiteY6" fmla="*/ 759546 h 1690616"/>
              <a:gd name="connsiteX7" fmla="*/ 715763 w 1780061"/>
              <a:gd name="connsiteY7" fmla="*/ 1134347 h 1690616"/>
              <a:gd name="connsiteX8" fmla="*/ 356012 w 1780061"/>
              <a:gd name="connsiteY8" fmla="*/ 1134347 h 1690616"/>
              <a:gd name="connsiteX9" fmla="*/ 0 w 1780061"/>
              <a:gd name="connsiteY9" fmla="*/ 778335 h 1690616"/>
              <a:gd name="connsiteX10" fmla="*/ 356012 w 1780061"/>
              <a:gd name="connsiteY10" fmla="*/ 422323 h 1690616"/>
              <a:gd name="connsiteX11" fmla="*/ 363756 w 1780061"/>
              <a:gd name="connsiteY11" fmla="*/ 422323 h 1690616"/>
              <a:gd name="connsiteX12" fmla="*/ 1290545 w 1780061"/>
              <a:gd name="connsiteY12" fmla="*/ 1690617 h 1690616"/>
              <a:gd name="connsiteX13" fmla="*/ 1780062 w 1780061"/>
              <a:gd name="connsiteY13" fmla="*/ 1201100 h 1690616"/>
              <a:gd name="connsiteX14" fmla="*/ 1290545 w 1780061"/>
              <a:gd name="connsiteY14" fmla="*/ 711583 h 1690616"/>
              <a:gd name="connsiteX15" fmla="*/ 801028 w 1780061"/>
              <a:gd name="connsiteY15" fmla="*/ 1201100 h 1690616"/>
              <a:gd name="connsiteX16" fmla="*/ 1290545 w 1780061"/>
              <a:gd name="connsiteY16" fmla="*/ 1690617 h 1690616"/>
              <a:gd name="connsiteX17" fmla="*/ 1526047 w 1780061"/>
              <a:gd name="connsiteY17" fmla="*/ 991586 h 1690616"/>
              <a:gd name="connsiteX18" fmla="*/ 1589061 w 1780061"/>
              <a:gd name="connsiteY18" fmla="*/ 991586 h 1690616"/>
              <a:gd name="connsiteX19" fmla="*/ 1589061 w 1780061"/>
              <a:gd name="connsiteY19" fmla="*/ 1054601 h 1690616"/>
              <a:gd name="connsiteX20" fmla="*/ 1233049 w 1780061"/>
              <a:gd name="connsiteY20" fmla="*/ 1410613 h 1690616"/>
              <a:gd name="connsiteX21" fmla="*/ 1170115 w 1780061"/>
              <a:gd name="connsiteY21" fmla="*/ 1410693 h 1690616"/>
              <a:gd name="connsiteX22" fmla="*/ 1170035 w 1780061"/>
              <a:gd name="connsiteY22" fmla="*/ 1410613 h 1690616"/>
              <a:gd name="connsiteX23" fmla="*/ 992028 w 1780061"/>
              <a:gd name="connsiteY23" fmla="*/ 1232607 h 1690616"/>
              <a:gd name="connsiteX24" fmla="*/ 992028 w 1780061"/>
              <a:gd name="connsiteY24" fmla="*/ 1169593 h 1690616"/>
              <a:gd name="connsiteX25" fmla="*/ 1055043 w 1780061"/>
              <a:gd name="connsiteY25" fmla="*/ 1169593 h 1690616"/>
              <a:gd name="connsiteX26" fmla="*/ 1201542 w 1780061"/>
              <a:gd name="connsiteY26" fmla="*/ 1316181 h 1690616"/>
              <a:gd name="connsiteX27" fmla="*/ 1526047 w 1780061"/>
              <a:gd name="connsiteY27" fmla="*/ 991586 h 1690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80061" h="1690616">
                <a:moveTo>
                  <a:pt x="363756" y="422323"/>
                </a:moveTo>
                <a:cubicBezTo>
                  <a:pt x="413301" y="143957"/>
                  <a:pt x="679125" y="-41537"/>
                  <a:pt x="957486" y="8008"/>
                </a:cubicBezTo>
                <a:cubicBezTo>
                  <a:pt x="1168789" y="45615"/>
                  <a:pt x="1334201" y="211026"/>
                  <a:pt x="1371805" y="422323"/>
                </a:cubicBezTo>
                <a:lnTo>
                  <a:pt x="1379548" y="422323"/>
                </a:lnTo>
                <a:cubicBezTo>
                  <a:pt x="1576165" y="422309"/>
                  <a:pt x="1735569" y="581691"/>
                  <a:pt x="1735587" y="778308"/>
                </a:cubicBezTo>
                <a:cubicBezTo>
                  <a:pt x="1735587" y="794756"/>
                  <a:pt x="1734448" y="811177"/>
                  <a:pt x="1732178" y="827465"/>
                </a:cubicBezTo>
                <a:cubicBezTo>
                  <a:pt x="1525753" y="583529"/>
                  <a:pt x="1160663" y="553122"/>
                  <a:pt x="916723" y="759546"/>
                </a:cubicBezTo>
                <a:cubicBezTo>
                  <a:pt x="804588" y="854441"/>
                  <a:pt x="732745" y="988436"/>
                  <a:pt x="715763" y="1134347"/>
                </a:cubicBezTo>
                <a:lnTo>
                  <a:pt x="356012" y="1134347"/>
                </a:lnTo>
                <a:cubicBezTo>
                  <a:pt x="159392" y="1134347"/>
                  <a:pt x="0" y="974952"/>
                  <a:pt x="0" y="778335"/>
                </a:cubicBezTo>
                <a:cubicBezTo>
                  <a:pt x="0" y="581715"/>
                  <a:pt x="159392" y="422323"/>
                  <a:pt x="356012" y="422323"/>
                </a:cubicBezTo>
                <a:lnTo>
                  <a:pt x="363756" y="422323"/>
                </a:lnTo>
                <a:close/>
                <a:moveTo>
                  <a:pt x="1290545" y="1690617"/>
                </a:moveTo>
                <a:cubicBezTo>
                  <a:pt x="1560900" y="1690617"/>
                  <a:pt x="1780062" y="1471455"/>
                  <a:pt x="1780062" y="1201100"/>
                </a:cubicBezTo>
                <a:cubicBezTo>
                  <a:pt x="1780062" y="930744"/>
                  <a:pt x="1560900" y="711583"/>
                  <a:pt x="1290545" y="711583"/>
                </a:cubicBezTo>
                <a:cubicBezTo>
                  <a:pt x="1020189" y="711583"/>
                  <a:pt x="801028" y="930744"/>
                  <a:pt x="801028" y="1201100"/>
                </a:cubicBezTo>
                <a:cubicBezTo>
                  <a:pt x="801028" y="1471455"/>
                  <a:pt x="1020189" y="1690617"/>
                  <a:pt x="1290545" y="1690617"/>
                </a:cubicBezTo>
                <a:close/>
                <a:moveTo>
                  <a:pt x="1526047" y="991586"/>
                </a:moveTo>
                <a:cubicBezTo>
                  <a:pt x="1543447" y="974186"/>
                  <a:pt x="1571661" y="974186"/>
                  <a:pt x="1589061" y="991586"/>
                </a:cubicBezTo>
                <a:cubicBezTo>
                  <a:pt x="1606461" y="1008986"/>
                  <a:pt x="1606461" y="1037200"/>
                  <a:pt x="1589061" y="1054601"/>
                </a:cubicBezTo>
                <a:lnTo>
                  <a:pt x="1233049" y="1410613"/>
                </a:lnTo>
                <a:cubicBezTo>
                  <a:pt x="1215693" y="1428013"/>
                  <a:pt x="1187515" y="1428049"/>
                  <a:pt x="1170115" y="1410693"/>
                </a:cubicBezTo>
                <a:cubicBezTo>
                  <a:pt x="1170088" y="1410666"/>
                  <a:pt x="1170061" y="1410640"/>
                  <a:pt x="1170035" y="1410613"/>
                </a:cubicBezTo>
                <a:lnTo>
                  <a:pt x="992028" y="1232607"/>
                </a:lnTo>
                <a:cubicBezTo>
                  <a:pt x="974628" y="1215207"/>
                  <a:pt x="974628" y="1186993"/>
                  <a:pt x="992028" y="1169593"/>
                </a:cubicBezTo>
                <a:cubicBezTo>
                  <a:pt x="1009429" y="1152192"/>
                  <a:pt x="1037642" y="1152192"/>
                  <a:pt x="1055043" y="1169593"/>
                </a:cubicBezTo>
                <a:lnTo>
                  <a:pt x="1201542" y="1316181"/>
                </a:lnTo>
                <a:lnTo>
                  <a:pt x="1526047" y="991586"/>
                </a:ln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Oval 6">
            <a:extLst>
              <a:ext uri="{FF2B5EF4-FFF2-40B4-BE49-F238E27FC236}">
                <a16:creationId xmlns:a16="http://schemas.microsoft.com/office/drawing/2014/main" id="{05556E90-8B89-1169-9D1F-1035937C978C}"/>
              </a:ext>
              <a:ext uri="{C183D7F6-B498-43B3-948B-1728B52AA6E4}">
                <adec:decorative xmlns:adec="http://schemas.microsoft.com/office/drawing/2017/decorative" val="1"/>
              </a:ext>
            </a:extLst>
          </p:cNvPr>
          <p:cNvSpPr>
            <a:spLocks/>
          </p:cNvSpPr>
          <p:nvPr/>
        </p:nvSpPr>
        <p:spPr bwMode="auto">
          <a:xfrm>
            <a:off x="763143" y="3920992"/>
            <a:ext cx="512064" cy="512064"/>
          </a:xfrm>
          <a:prstGeom prst="ellipse">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43" name="Free-form: Shape 69" descr="Icon of a book with a star ">
            <a:extLst>
              <a:ext uri="{FF2B5EF4-FFF2-40B4-BE49-F238E27FC236}">
                <a16:creationId xmlns:a16="http://schemas.microsoft.com/office/drawing/2014/main" id="{28B439AC-168B-09E8-97F9-908970C3C8B5}"/>
              </a:ext>
            </a:extLst>
          </p:cNvPr>
          <p:cNvSpPr>
            <a:spLocks/>
          </p:cNvSpPr>
          <p:nvPr/>
        </p:nvSpPr>
        <p:spPr>
          <a:xfrm>
            <a:off x="912496" y="4047716"/>
            <a:ext cx="213358" cy="258616"/>
          </a:xfrm>
          <a:custGeom>
            <a:avLst/>
            <a:gdLst>
              <a:gd name="connsiteX0" fmla="*/ 78580 w 157163"/>
              <a:gd name="connsiteY0" fmla="*/ 59150 h 190500"/>
              <a:gd name="connsiteX1" fmla="*/ 84781 w 157163"/>
              <a:gd name="connsiteY1" fmla="*/ 71704 h 190500"/>
              <a:gd name="connsiteX2" fmla="*/ 89639 w 157163"/>
              <a:gd name="connsiteY2" fmla="*/ 75228 h 190500"/>
              <a:gd name="connsiteX3" fmla="*/ 103479 w 157163"/>
              <a:gd name="connsiteY3" fmla="*/ 77247 h 190500"/>
              <a:gd name="connsiteX4" fmla="*/ 93458 w 157163"/>
              <a:gd name="connsiteY4" fmla="*/ 87011 h 190500"/>
              <a:gd name="connsiteX5" fmla="*/ 91601 w 157163"/>
              <a:gd name="connsiteY5" fmla="*/ 92726 h 190500"/>
              <a:gd name="connsiteX6" fmla="*/ 93973 w 157163"/>
              <a:gd name="connsiteY6" fmla="*/ 106518 h 190500"/>
              <a:gd name="connsiteX7" fmla="*/ 81590 w 157163"/>
              <a:gd name="connsiteY7" fmla="*/ 100003 h 190500"/>
              <a:gd name="connsiteX8" fmla="*/ 75570 w 157163"/>
              <a:gd name="connsiteY8" fmla="*/ 100003 h 190500"/>
              <a:gd name="connsiteX9" fmla="*/ 63188 w 157163"/>
              <a:gd name="connsiteY9" fmla="*/ 106518 h 190500"/>
              <a:gd name="connsiteX10" fmla="*/ 65560 w 157163"/>
              <a:gd name="connsiteY10" fmla="*/ 92726 h 190500"/>
              <a:gd name="connsiteX11" fmla="*/ 63702 w 157163"/>
              <a:gd name="connsiteY11" fmla="*/ 87011 h 190500"/>
              <a:gd name="connsiteX12" fmla="*/ 53682 w 157163"/>
              <a:gd name="connsiteY12" fmla="*/ 77247 h 190500"/>
              <a:gd name="connsiteX13" fmla="*/ 67531 w 157163"/>
              <a:gd name="connsiteY13" fmla="*/ 75228 h 190500"/>
              <a:gd name="connsiteX14" fmla="*/ 72389 w 157163"/>
              <a:gd name="connsiteY14" fmla="*/ 71694 h 190500"/>
              <a:gd name="connsiteX15" fmla="*/ 75738 w 157163"/>
              <a:gd name="connsiteY15" fmla="*/ 38753 h 190500"/>
              <a:gd name="connsiteX16" fmla="*/ 72790 w 157163"/>
              <a:gd name="connsiteY16" fmla="*/ 41700 h 190500"/>
              <a:gd name="connsiteX17" fmla="*/ 62313 w 157163"/>
              <a:gd name="connsiteY17" fmla="*/ 62941 h 190500"/>
              <a:gd name="connsiteX18" fmla="*/ 38881 w 157163"/>
              <a:gd name="connsiteY18" fmla="*/ 66342 h 190500"/>
              <a:gd name="connsiteX19" fmla="*/ 33402 w 157163"/>
              <a:gd name="connsiteY19" fmla="*/ 73648 h 190500"/>
              <a:gd name="connsiteX20" fmla="*/ 35290 w 157163"/>
              <a:gd name="connsiteY20" fmla="*/ 77362 h 190500"/>
              <a:gd name="connsiteX21" fmla="*/ 52245 w 157163"/>
              <a:gd name="connsiteY21" fmla="*/ 93888 h 190500"/>
              <a:gd name="connsiteX22" fmla="*/ 48244 w 157163"/>
              <a:gd name="connsiteY22" fmla="*/ 117224 h 190500"/>
              <a:gd name="connsiteX23" fmla="*/ 53500 w 157163"/>
              <a:gd name="connsiteY23" fmla="*/ 124693 h 190500"/>
              <a:gd name="connsiteX24" fmla="*/ 57617 w 157163"/>
              <a:gd name="connsiteY24" fmla="*/ 124044 h 190500"/>
              <a:gd name="connsiteX25" fmla="*/ 78581 w 157163"/>
              <a:gd name="connsiteY25" fmla="*/ 113024 h 190500"/>
              <a:gd name="connsiteX26" fmla="*/ 99536 w 157163"/>
              <a:gd name="connsiteY26" fmla="*/ 124044 h 190500"/>
              <a:gd name="connsiteX27" fmla="*/ 108264 w 157163"/>
              <a:gd name="connsiteY27" fmla="*/ 121354 h 190500"/>
              <a:gd name="connsiteX28" fmla="*/ 108918 w 157163"/>
              <a:gd name="connsiteY28" fmla="*/ 117234 h 190500"/>
              <a:gd name="connsiteX29" fmla="*/ 104918 w 157163"/>
              <a:gd name="connsiteY29" fmla="*/ 93897 h 190500"/>
              <a:gd name="connsiteX30" fmla="*/ 121872 w 157163"/>
              <a:gd name="connsiteY30" fmla="*/ 77362 h 190500"/>
              <a:gd name="connsiteX31" fmla="*/ 121997 w 157163"/>
              <a:gd name="connsiteY31" fmla="*/ 68230 h 190500"/>
              <a:gd name="connsiteX32" fmla="*/ 118291 w 157163"/>
              <a:gd name="connsiteY32" fmla="*/ 66342 h 190500"/>
              <a:gd name="connsiteX33" fmla="*/ 94859 w 157163"/>
              <a:gd name="connsiteY33" fmla="*/ 62941 h 190500"/>
              <a:gd name="connsiteX34" fmla="*/ 84382 w 157163"/>
              <a:gd name="connsiteY34" fmla="*/ 41700 h 190500"/>
              <a:gd name="connsiteX35" fmla="*/ 75738 w 157163"/>
              <a:gd name="connsiteY35" fmla="*/ 38753 h 190500"/>
              <a:gd name="connsiteX36" fmla="*/ 23813 w 157163"/>
              <a:gd name="connsiteY36" fmla="*/ 0 h 190500"/>
              <a:gd name="connsiteX37" fmla="*/ 133350 w 157163"/>
              <a:gd name="connsiteY37" fmla="*/ 0 h 190500"/>
              <a:gd name="connsiteX38" fmla="*/ 157163 w 157163"/>
              <a:gd name="connsiteY38" fmla="*/ 23813 h 190500"/>
              <a:gd name="connsiteX39" fmla="*/ 157163 w 157163"/>
              <a:gd name="connsiteY39" fmla="*/ 159544 h 190500"/>
              <a:gd name="connsiteX40" fmla="*/ 150019 w 157163"/>
              <a:gd name="connsiteY40" fmla="*/ 166688 h 190500"/>
              <a:gd name="connsiteX41" fmla="*/ 14288 w 157163"/>
              <a:gd name="connsiteY41" fmla="*/ 166688 h 190500"/>
              <a:gd name="connsiteX42" fmla="*/ 23813 w 157163"/>
              <a:gd name="connsiteY42" fmla="*/ 176213 h 190500"/>
              <a:gd name="connsiteX43" fmla="*/ 150019 w 157163"/>
              <a:gd name="connsiteY43" fmla="*/ 176213 h 190500"/>
              <a:gd name="connsiteX44" fmla="*/ 157163 w 157163"/>
              <a:gd name="connsiteY44" fmla="*/ 183356 h 190500"/>
              <a:gd name="connsiteX45" fmla="*/ 150019 w 157163"/>
              <a:gd name="connsiteY45" fmla="*/ 190500 h 190500"/>
              <a:gd name="connsiteX46" fmla="*/ 23813 w 157163"/>
              <a:gd name="connsiteY46" fmla="*/ 190500 h 190500"/>
              <a:gd name="connsiteX47" fmla="*/ 0 w 157163"/>
              <a:gd name="connsiteY47" fmla="*/ 166688 h 190500"/>
              <a:gd name="connsiteX48" fmla="*/ 0 w 157163"/>
              <a:gd name="connsiteY48" fmla="*/ 23813 h 190500"/>
              <a:gd name="connsiteX49" fmla="*/ 23813 w 157163"/>
              <a:gd name="connsiteY49"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7163" h="190500">
                <a:moveTo>
                  <a:pt x="78580" y="59150"/>
                </a:moveTo>
                <a:lnTo>
                  <a:pt x="84781" y="71704"/>
                </a:lnTo>
                <a:cubicBezTo>
                  <a:pt x="85723" y="73605"/>
                  <a:pt x="87539" y="74923"/>
                  <a:pt x="89639" y="75228"/>
                </a:cubicBezTo>
                <a:lnTo>
                  <a:pt x="103479" y="77247"/>
                </a:lnTo>
                <a:lnTo>
                  <a:pt x="93458" y="87011"/>
                </a:lnTo>
                <a:cubicBezTo>
                  <a:pt x="91936" y="88494"/>
                  <a:pt x="91242" y="90631"/>
                  <a:pt x="91601" y="92726"/>
                </a:cubicBezTo>
                <a:lnTo>
                  <a:pt x="93973" y="106518"/>
                </a:lnTo>
                <a:lnTo>
                  <a:pt x="81590" y="100003"/>
                </a:lnTo>
                <a:cubicBezTo>
                  <a:pt x="79706" y="99010"/>
                  <a:pt x="77454" y="99010"/>
                  <a:pt x="75570" y="100003"/>
                </a:cubicBezTo>
                <a:lnTo>
                  <a:pt x="63188" y="106518"/>
                </a:lnTo>
                <a:lnTo>
                  <a:pt x="65560" y="92726"/>
                </a:lnTo>
                <a:cubicBezTo>
                  <a:pt x="65912" y="90630"/>
                  <a:pt x="65226" y="88497"/>
                  <a:pt x="63702" y="87011"/>
                </a:cubicBezTo>
                <a:lnTo>
                  <a:pt x="53682" y="77247"/>
                </a:lnTo>
                <a:lnTo>
                  <a:pt x="67531" y="75228"/>
                </a:lnTo>
                <a:cubicBezTo>
                  <a:pt x="69634" y="74921"/>
                  <a:pt x="71450" y="73600"/>
                  <a:pt x="72389" y="71694"/>
                </a:cubicBezTo>
                <a:close/>
                <a:moveTo>
                  <a:pt x="75738" y="38753"/>
                </a:moveTo>
                <a:cubicBezTo>
                  <a:pt x="74456" y="39382"/>
                  <a:pt x="73420" y="40419"/>
                  <a:pt x="72790" y="41700"/>
                </a:cubicBezTo>
                <a:lnTo>
                  <a:pt x="62313" y="62941"/>
                </a:lnTo>
                <a:lnTo>
                  <a:pt x="38881" y="66342"/>
                </a:lnTo>
                <a:cubicBezTo>
                  <a:pt x="35350" y="66846"/>
                  <a:pt x="32897" y="70118"/>
                  <a:pt x="33402" y="73648"/>
                </a:cubicBezTo>
                <a:cubicBezTo>
                  <a:pt x="33604" y="75061"/>
                  <a:pt x="34268" y="76367"/>
                  <a:pt x="35290" y="77362"/>
                </a:cubicBezTo>
                <a:lnTo>
                  <a:pt x="52245" y="93888"/>
                </a:lnTo>
                <a:lnTo>
                  <a:pt x="48244" y="117224"/>
                </a:lnTo>
                <a:cubicBezTo>
                  <a:pt x="47633" y="120738"/>
                  <a:pt x="49986" y="124082"/>
                  <a:pt x="53500" y="124693"/>
                </a:cubicBezTo>
                <a:cubicBezTo>
                  <a:pt x="54906" y="124938"/>
                  <a:pt x="56354" y="124709"/>
                  <a:pt x="57617" y="124044"/>
                </a:cubicBezTo>
                <a:lnTo>
                  <a:pt x="78581" y="113024"/>
                </a:lnTo>
                <a:lnTo>
                  <a:pt x="99536" y="124044"/>
                </a:lnTo>
                <a:cubicBezTo>
                  <a:pt x="102689" y="125711"/>
                  <a:pt x="106597" y="124507"/>
                  <a:pt x="108264" y="121354"/>
                </a:cubicBezTo>
                <a:cubicBezTo>
                  <a:pt x="108932" y="120091"/>
                  <a:pt x="109162" y="118641"/>
                  <a:pt x="108918" y="117234"/>
                </a:cubicBezTo>
                <a:lnTo>
                  <a:pt x="104918" y="93897"/>
                </a:lnTo>
                <a:lnTo>
                  <a:pt x="121872" y="77362"/>
                </a:lnTo>
                <a:cubicBezTo>
                  <a:pt x="124429" y="74875"/>
                  <a:pt x="124485" y="70786"/>
                  <a:pt x="121997" y="68230"/>
                </a:cubicBezTo>
                <a:cubicBezTo>
                  <a:pt x="121004" y="67209"/>
                  <a:pt x="119701" y="66545"/>
                  <a:pt x="118291" y="66342"/>
                </a:cubicBezTo>
                <a:lnTo>
                  <a:pt x="94859" y="62941"/>
                </a:lnTo>
                <a:lnTo>
                  <a:pt x="84382" y="41700"/>
                </a:lnTo>
                <a:cubicBezTo>
                  <a:pt x="82809" y="38499"/>
                  <a:pt x="78938" y="37180"/>
                  <a:pt x="75738" y="38753"/>
                </a:cubicBezTo>
                <a:close/>
                <a:moveTo>
                  <a:pt x="23813" y="0"/>
                </a:moveTo>
                <a:lnTo>
                  <a:pt x="133350" y="0"/>
                </a:lnTo>
                <a:cubicBezTo>
                  <a:pt x="146501" y="0"/>
                  <a:pt x="157163" y="10661"/>
                  <a:pt x="157163" y="23813"/>
                </a:cubicBezTo>
                <a:lnTo>
                  <a:pt x="157163" y="159544"/>
                </a:lnTo>
                <a:cubicBezTo>
                  <a:pt x="157163" y="163489"/>
                  <a:pt x="153964" y="166688"/>
                  <a:pt x="150019" y="166688"/>
                </a:cubicBezTo>
                <a:lnTo>
                  <a:pt x="14288" y="166688"/>
                </a:lnTo>
                <a:cubicBezTo>
                  <a:pt x="14288" y="171948"/>
                  <a:pt x="18552" y="176213"/>
                  <a:pt x="23813" y="176213"/>
                </a:cubicBezTo>
                <a:lnTo>
                  <a:pt x="150019" y="176213"/>
                </a:lnTo>
                <a:cubicBezTo>
                  <a:pt x="153964" y="176213"/>
                  <a:pt x="157163" y="179411"/>
                  <a:pt x="157163" y="183356"/>
                </a:cubicBezTo>
                <a:cubicBezTo>
                  <a:pt x="157163" y="187302"/>
                  <a:pt x="153964" y="190500"/>
                  <a:pt x="150019" y="190500"/>
                </a:cubicBezTo>
                <a:lnTo>
                  <a:pt x="23813" y="190500"/>
                </a:lnTo>
                <a:cubicBezTo>
                  <a:pt x="10661" y="190500"/>
                  <a:pt x="0" y="179839"/>
                  <a:pt x="0" y="166688"/>
                </a:cubicBezTo>
                <a:lnTo>
                  <a:pt x="0" y="23813"/>
                </a:lnTo>
                <a:cubicBezTo>
                  <a:pt x="0" y="10661"/>
                  <a:pt x="10661" y="0"/>
                  <a:pt x="23813" y="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Oval 7">
            <a:extLst>
              <a:ext uri="{FF2B5EF4-FFF2-40B4-BE49-F238E27FC236}">
                <a16:creationId xmlns:a16="http://schemas.microsoft.com/office/drawing/2014/main" id="{2C962524-C9DC-0666-4CD2-0D0E36FA3346}"/>
              </a:ext>
              <a:ext uri="{C183D7F6-B498-43B3-948B-1728B52AA6E4}">
                <adec:decorative xmlns:adec="http://schemas.microsoft.com/office/drawing/2017/decorative" val="1"/>
              </a:ext>
            </a:extLst>
          </p:cNvPr>
          <p:cNvSpPr>
            <a:spLocks/>
          </p:cNvSpPr>
          <p:nvPr/>
        </p:nvSpPr>
        <p:spPr bwMode="auto">
          <a:xfrm>
            <a:off x="763143" y="5669531"/>
            <a:ext cx="512064" cy="512064"/>
          </a:xfrm>
          <a:prstGeom prst="ellipse">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45" name="Graphic 27">
            <a:extLst>
              <a:ext uri="{FF2B5EF4-FFF2-40B4-BE49-F238E27FC236}">
                <a16:creationId xmlns:a16="http://schemas.microsoft.com/office/drawing/2014/main" id="{E79F15C7-2A0B-0932-2B28-EB8521EBEC38}"/>
              </a:ext>
            </a:extLst>
          </p:cNvPr>
          <p:cNvSpPr>
            <a:spLocks/>
          </p:cNvSpPr>
          <p:nvPr/>
        </p:nvSpPr>
        <p:spPr>
          <a:xfrm>
            <a:off x="881963" y="5788351"/>
            <a:ext cx="274424" cy="274424"/>
          </a:xfrm>
          <a:custGeom>
            <a:avLst/>
            <a:gdLst>
              <a:gd name="connsiteX0" fmla="*/ 95250 w 200025"/>
              <a:gd name="connsiteY0" fmla="*/ 0 h 200025"/>
              <a:gd name="connsiteX1" fmla="*/ 190500 w 200025"/>
              <a:gd name="connsiteY1" fmla="*/ 95250 h 200025"/>
              <a:gd name="connsiteX2" fmla="*/ 189757 w 200025"/>
              <a:gd name="connsiteY2" fmla="*/ 107252 h 200025"/>
              <a:gd name="connsiteX3" fmla="*/ 150084 w 200025"/>
              <a:gd name="connsiteY3" fmla="*/ 81754 h 200025"/>
              <a:gd name="connsiteX4" fmla="*/ 123825 w 200025"/>
              <a:gd name="connsiteY4" fmla="*/ 114300 h 200025"/>
              <a:gd name="connsiteX5" fmla="*/ 123825 w 200025"/>
              <a:gd name="connsiteY5" fmla="*/ 114776 h 200025"/>
              <a:gd name="connsiteX6" fmla="*/ 104775 w 200025"/>
              <a:gd name="connsiteY6" fmla="*/ 138113 h 200025"/>
              <a:gd name="connsiteX7" fmla="*/ 104775 w 200025"/>
              <a:gd name="connsiteY7" fmla="*/ 185738 h 200025"/>
              <a:gd name="connsiteX8" fmla="*/ 105156 w 200025"/>
              <a:gd name="connsiteY8" fmla="*/ 189995 h 200025"/>
              <a:gd name="connsiteX9" fmla="*/ 95250 w 200025"/>
              <a:gd name="connsiteY9" fmla="*/ 190500 h 200025"/>
              <a:gd name="connsiteX10" fmla="*/ 0 w 200025"/>
              <a:gd name="connsiteY10" fmla="*/ 95250 h 200025"/>
              <a:gd name="connsiteX11" fmla="*/ 95250 w 200025"/>
              <a:gd name="connsiteY11" fmla="*/ 0 h 200025"/>
              <a:gd name="connsiteX12" fmla="*/ 125921 w 200025"/>
              <a:gd name="connsiteY12" fmla="*/ 66389 h 200025"/>
              <a:gd name="connsiteX13" fmla="*/ 83344 w 200025"/>
              <a:gd name="connsiteY13" fmla="*/ 108966 h 200025"/>
              <a:gd name="connsiteX14" fmla="*/ 64579 w 200025"/>
              <a:gd name="connsiteY14" fmla="*/ 90202 h 200025"/>
              <a:gd name="connsiteX15" fmla="*/ 54483 w 200025"/>
              <a:gd name="connsiteY15" fmla="*/ 90558 h 200025"/>
              <a:gd name="connsiteX16" fmla="*/ 54483 w 200025"/>
              <a:gd name="connsiteY16" fmla="*/ 100298 h 200025"/>
              <a:gd name="connsiteX17" fmla="*/ 78296 w 200025"/>
              <a:gd name="connsiteY17" fmla="*/ 124111 h 200025"/>
              <a:gd name="connsiteX18" fmla="*/ 88392 w 200025"/>
              <a:gd name="connsiteY18" fmla="*/ 124111 h 200025"/>
              <a:gd name="connsiteX19" fmla="*/ 136017 w 200025"/>
              <a:gd name="connsiteY19" fmla="*/ 76486 h 200025"/>
              <a:gd name="connsiteX20" fmla="*/ 136373 w 200025"/>
              <a:gd name="connsiteY20" fmla="*/ 66389 h 200025"/>
              <a:gd name="connsiteX21" fmla="*/ 126277 w 200025"/>
              <a:gd name="connsiteY21" fmla="*/ 66033 h 200025"/>
              <a:gd name="connsiteX22" fmla="*/ 125921 w 200025"/>
              <a:gd name="connsiteY22" fmla="*/ 66389 h 200025"/>
              <a:gd name="connsiteX23" fmla="*/ 157163 w 200025"/>
              <a:gd name="connsiteY23" fmla="*/ 90488 h 200025"/>
              <a:gd name="connsiteX24" fmla="*/ 180975 w 200025"/>
              <a:gd name="connsiteY24" fmla="*/ 114300 h 200025"/>
              <a:gd name="connsiteX25" fmla="*/ 180975 w 200025"/>
              <a:gd name="connsiteY25" fmla="*/ 123825 h 200025"/>
              <a:gd name="connsiteX26" fmla="*/ 186138 w 200025"/>
              <a:gd name="connsiteY26" fmla="*/ 123825 h 200025"/>
              <a:gd name="connsiteX27" fmla="*/ 200025 w 200025"/>
              <a:gd name="connsiteY27" fmla="*/ 138113 h 200025"/>
              <a:gd name="connsiteX28" fmla="*/ 200025 w 200025"/>
              <a:gd name="connsiteY28" fmla="*/ 185738 h 200025"/>
              <a:gd name="connsiteX29" fmla="*/ 185738 w 200025"/>
              <a:gd name="connsiteY29" fmla="*/ 200025 h 200025"/>
              <a:gd name="connsiteX30" fmla="*/ 128588 w 200025"/>
              <a:gd name="connsiteY30" fmla="*/ 200025 h 200025"/>
              <a:gd name="connsiteX31" fmla="*/ 114300 w 200025"/>
              <a:gd name="connsiteY31" fmla="*/ 185738 h 200025"/>
              <a:gd name="connsiteX32" fmla="*/ 114300 w 200025"/>
              <a:gd name="connsiteY32" fmla="*/ 138113 h 200025"/>
              <a:gd name="connsiteX33" fmla="*/ 128588 w 200025"/>
              <a:gd name="connsiteY33" fmla="*/ 123825 h 200025"/>
              <a:gd name="connsiteX34" fmla="*/ 133350 w 200025"/>
              <a:gd name="connsiteY34" fmla="*/ 123825 h 200025"/>
              <a:gd name="connsiteX35" fmla="*/ 133350 w 200025"/>
              <a:gd name="connsiteY35" fmla="*/ 114300 h 200025"/>
              <a:gd name="connsiteX36" fmla="*/ 157163 w 200025"/>
              <a:gd name="connsiteY36" fmla="*/ 90488 h 200025"/>
              <a:gd name="connsiteX37" fmla="*/ 153419 w 200025"/>
              <a:gd name="connsiteY37" fmla="*/ 170688 h 200025"/>
              <a:gd name="connsiteX38" fmla="*/ 165930 w 200025"/>
              <a:gd name="connsiteY38" fmla="*/ 165673 h 200025"/>
              <a:gd name="connsiteX39" fmla="*/ 160915 w 200025"/>
              <a:gd name="connsiteY39" fmla="*/ 153162 h 200025"/>
              <a:gd name="connsiteX40" fmla="*/ 148404 w 200025"/>
              <a:gd name="connsiteY40" fmla="*/ 158177 h 200025"/>
              <a:gd name="connsiteX41" fmla="*/ 153419 w 200025"/>
              <a:gd name="connsiteY41" fmla="*/ 170688 h 200025"/>
              <a:gd name="connsiteX42" fmla="*/ 147638 w 200025"/>
              <a:gd name="connsiteY42" fmla="*/ 114300 h 200025"/>
              <a:gd name="connsiteX43" fmla="*/ 147638 w 200025"/>
              <a:gd name="connsiteY43" fmla="*/ 123825 h 200025"/>
              <a:gd name="connsiteX44" fmla="*/ 166688 w 200025"/>
              <a:gd name="connsiteY44" fmla="*/ 123825 h 200025"/>
              <a:gd name="connsiteX45" fmla="*/ 166688 w 200025"/>
              <a:gd name="connsiteY45" fmla="*/ 114300 h 200025"/>
              <a:gd name="connsiteX46" fmla="*/ 157163 w 200025"/>
              <a:gd name="connsiteY46" fmla="*/ 104775 h 200025"/>
              <a:gd name="connsiteX47" fmla="*/ 147638 w 200025"/>
              <a:gd name="connsiteY47" fmla="*/ 11430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0025" h="200025">
                <a:moveTo>
                  <a:pt x="95250" y="0"/>
                </a:moveTo>
                <a:cubicBezTo>
                  <a:pt x="147857" y="0"/>
                  <a:pt x="190500" y="42643"/>
                  <a:pt x="190500" y="95250"/>
                </a:cubicBezTo>
                <a:cubicBezTo>
                  <a:pt x="190500" y="99317"/>
                  <a:pt x="190243" y="103318"/>
                  <a:pt x="189757" y="107252"/>
                </a:cubicBezTo>
                <a:cubicBezTo>
                  <a:pt x="185842" y="89255"/>
                  <a:pt x="168080" y="77840"/>
                  <a:pt x="150084" y="81754"/>
                </a:cubicBezTo>
                <a:cubicBezTo>
                  <a:pt x="134771" y="85085"/>
                  <a:pt x="123843" y="98629"/>
                  <a:pt x="123825" y="114300"/>
                </a:cubicBezTo>
                <a:lnTo>
                  <a:pt x="123825" y="114776"/>
                </a:lnTo>
                <a:cubicBezTo>
                  <a:pt x="112736" y="117039"/>
                  <a:pt x="104773" y="126795"/>
                  <a:pt x="104775" y="138113"/>
                </a:cubicBezTo>
                <a:lnTo>
                  <a:pt x="104775" y="185738"/>
                </a:lnTo>
                <a:cubicBezTo>
                  <a:pt x="104775" y="187185"/>
                  <a:pt x="104908" y="188614"/>
                  <a:pt x="105156" y="189995"/>
                </a:cubicBezTo>
                <a:cubicBezTo>
                  <a:pt x="101865" y="190333"/>
                  <a:pt x="98558" y="190502"/>
                  <a:pt x="95250" y="190500"/>
                </a:cubicBezTo>
                <a:cubicBezTo>
                  <a:pt x="42643" y="190500"/>
                  <a:pt x="0" y="147857"/>
                  <a:pt x="0" y="95250"/>
                </a:cubicBezTo>
                <a:cubicBezTo>
                  <a:pt x="0" y="42643"/>
                  <a:pt x="42643" y="0"/>
                  <a:pt x="95250" y="0"/>
                </a:cubicBezTo>
                <a:close/>
                <a:moveTo>
                  <a:pt x="125921" y="66389"/>
                </a:moveTo>
                <a:lnTo>
                  <a:pt x="83344" y="108966"/>
                </a:lnTo>
                <a:lnTo>
                  <a:pt x="64579" y="90202"/>
                </a:lnTo>
                <a:cubicBezTo>
                  <a:pt x="61693" y="87512"/>
                  <a:pt x="57173" y="87672"/>
                  <a:pt x="54483" y="90558"/>
                </a:cubicBezTo>
                <a:cubicBezTo>
                  <a:pt x="51927" y="93301"/>
                  <a:pt x="51927" y="97555"/>
                  <a:pt x="54483" y="100298"/>
                </a:cubicBezTo>
                <a:lnTo>
                  <a:pt x="78296" y="124111"/>
                </a:lnTo>
                <a:cubicBezTo>
                  <a:pt x="81084" y="126897"/>
                  <a:pt x="85603" y="126897"/>
                  <a:pt x="88392" y="124111"/>
                </a:cubicBezTo>
                <a:lnTo>
                  <a:pt x="136017" y="76486"/>
                </a:lnTo>
                <a:cubicBezTo>
                  <a:pt x="138903" y="73796"/>
                  <a:pt x="139063" y="69276"/>
                  <a:pt x="136373" y="66389"/>
                </a:cubicBezTo>
                <a:cubicBezTo>
                  <a:pt x="133683" y="63503"/>
                  <a:pt x="129164" y="63343"/>
                  <a:pt x="126277" y="66033"/>
                </a:cubicBezTo>
                <a:cubicBezTo>
                  <a:pt x="126154" y="66147"/>
                  <a:pt x="126035" y="66266"/>
                  <a:pt x="125921" y="66389"/>
                </a:cubicBezTo>
                <a:close/>
                <a:moveTo>
                  <a:pt x="157163" y="90488"/>
                </a:moveTo>
                <a:cubicBezTo>
                  <a:pt x="170314" y="90488"/>
                  <a:pt x="180975" y="101149"/>
                  <a:pt x="180975" y="114300"/>
                </a:cubicBezTo>
                <a:lnTo>
                  <a:pt x="180975" y="123825"/>
                </a:lnTo>
                <a:lnTo>
                  <a:pt x="186138" y="123825"/>
                </a:lnTo>
                <a:cubicBezTo>
                  <a:pt x="193872" y="124041"/>
                  <a:pt x="200028" y="130375"/>
                  <a:pt x="200025" y="138113"/>
                </a:cubicBezTo>
                <a:lnTo>
                  <a:pt x="200025" y="185738"/>
                </a:lnTo>
                <a:cubicBezTo>
                  <a:pt x="200025" y="193628"/>
                  <a:pt x="193628" y="200025"/>
                  <a:pt x="185738" y="200025"/>
                </a:cubicBezTo>
                <a:lnTo>
                  <a:pt x="128588" y="200025"/>
                </a:lnTo>
                <a:cubicBezTo>
                  <a:pt x="120697" y="200025"/>
                  <a:pt x="114300" y="193628"/>
                  <a:pt x="114300" y="185738"/>
                </a:cubicBezTo>
                <a:lnTo>
                  <a:pt x="114300" y="138113"/>
                </a:lnTo>
                <a:cubicBezTo>
                  <a:pt x="114300" y="130222"/>
                  <a:pt x="120697" y="123825"/>
                  <a:pt x="128588" y="123825"/>
                </a:cubicBezTo>
                <a:lnTo>
                  <a:pt x="133350" y="123825"/>
                </a:lnTo>
                <a:lnTo>
                  <a:pt x="133350" y="114300"/>
                </a:lnTo>
                <a:cubicBezTo>
                  <a:pt x="133350" y="101149"/>
                  <a:pt x="144011" y="90488"/>
                  <a:pt x="157163" y="90488"/>
                </a:cubicBezTo>
                <a:close/>
                <a:moveTo>
                  <a:pt x="153419" y="170688"/>
                </a:moveTo>
                <a:cubicBezTo>
                  <a:pt x="158259" y="172758"/>
                  <a:pt x="163860" y="170513"/>
                  <a:pt x="165930" y="165673"/>
                </a:cubicBezTo>
                <a:cubicBezTo>
                  <a:pt x="168000" y="160833"/>
                  <a:pt x="165755" y="155232"/>
                  <a:pt x="160915" y="153162"/>
                </a:cubicBezTo>
                <a:cubicBezTo>
                  <a:pt x="156076" y="151092"/>
                  <a:pt x="150474" y="153337"/>
                  <a:pt x="148404" y="158177"/>
                </a:cubicBezTo>
                <a:cubicBezTo>
                  <a:pt x="146334" y="163017"/>
                  <a:pt x="148580" y="168618"/>
                  <a:pt x="153419" y="170688"/>
                </a:cubicBezTo>
                <a:close/>
                <a:moveTo>
                  <a:pt x="147638" y="114300"/>
                </a:moveTo>
                <a:lnTo>
                  <a:pt x="147638" y="123825"/>
                </a:lnTo>
                <a:lnTo>
                  <a:pt x="166688" y="123825"/>
                </a:lnTo>
                <a:lnTo>
                  <a:pt x="166688" y="114300"/>
                </a:lnTo>
                <a:cubicBezTo>
                  <a:pt x="166688" y="109039"/>
                  <a:pt x="162423" y="104775"/>
                  <a:pt x="157163" y="104775"/>
                </a:cubicBezTo>
                <a:cubicBezTo>
                  <a:pt x="151902" y="104775"/>
                  <a:pt x="147638" y="109039"/>
                  <a:pt x="147638" y="11430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10" name="Straight Connector 9">
            <a:extLst>
              <a:ext uri="{FF2B5EF4-FFF2-40B4-BE49-F238E27FC236}">
                <a16:creationId xmlns:a16="http://schemas.microsoft.com/office/drawing/2014/main" id="{7BFE4431-378D-737A-B0D3-6A92455DC917}"/>
              </a:ext>
            </a:extLst>
          </p:cNvPr>
          <p:cNvCxnSpPr>
            <a:cxnSpLocks/>
          </p:cNvCxnSpPr>
          <p:nvPr/>
        </p:nvCxnSpPr>
        <p:spPr>
          <a:xfrm>
            <a:off x="1451736" y="3739890"/>
            <a:ext cx="9957816"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BCACE00-4EF3-F24A-78FB-A9B52A240B4B}"/>
              </a:ext>
            </a:extLst>
          </p:cNvPr>
          <p:cNvCxnSpPr>
            <a:cxnSpLocks/>
          </p:cNvCxnSpPr>
          <p:nvPr/>
        </p:nvCxnSpPr>
        <p:spPr>
          <a:xfrm>
            <a:off x="1451736" y="4614159"/>
            <a:ext cx="9957816"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FF94367-6800-3C42-2EE3-AF732D9BD822}"/>
              </a:ext>
            </a:extLst>
          </p:cNvPr>
          <p:cNvCxnSpPr>
            <a:cxnSpLocks/>
          </p:cNvCxnSpPr>
          <p:nvPr/>
        </p:nvCxnSpPr>
        <p:spPr>
          <a:xfrm>
            <a:off x="1451736" y="6362700"/>
            <a:ext cx="9957816"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867CA4C-672F-D16C-C7A4-77F331C4FCD3}"/>
              </a:ext>
              <a:ext uri="{C183D7F6-B498-43B3-948B-1728B52AA6E4}">
                <adec:decorative xmlns:adec="http://schemas.microsoft.com/office/drawing/2017/decorative" val="1"/>
              </a:ext>
            </a:extLst>
          </p:cNvPr>
          <p:cNvSpPr>
            <a:spLocks/>
          </p:cNvSpPr>
          <p:nvPr/>
        </p:nvSpPr>
        <p:spPr bwMode="auto">
          <a:xfrm>
            <a:off x="763143" y="4795262"/>
            <a:ext cx="512064" cy="512064"/>
          </a:xfrm>
          <a:prstGeom prst="ellipse">
            <a:avLst/>
          </a:prstGeom>
          <a:gradFill flip="none" rotWithShape="1">
            <a:gsLst>
              <a:gs pos="37000">
                <a:srgbClr val="247C94"/>
              </a:gs>
              <a:gs pos="65000">
                <a:srgbClr val="0E6EB4"/>
              </a:gs>
              <a:gs pos="3000">
                <a:srgbClr val="318581"/>
              </a:gs>
            </a:gsLst>
            <a:lin ang="8100000" scaled="1"/>
            <a:tileRect/>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pic>
        <p:nvPicPr>
          <p:cNvPr id="22" name="Graphic 21" descr="Circular flowchart with solid fill">
            <a:extLst>
              <a:ext uri="{FF2B5EF4-FFF2-40B4-BE49-F238E27FC236}">
                <a16:creationId xmlns:a16="http://schemas.microsoft.com/office/drawing/2014/main" id="{AAC797EC-A689-49B7-049B-2875032EAC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6713" y="4818832"/>
            <a:ext cx="464924" cy="464924"/>
          </a:xfrm>
          <a:prstGeom prst="rect">
            <a:avLst/>
          </a:prstGeom>
        </p:spPr>
      </p:pic>
    </p:spTree>
    <p:extLst>
      <p:ext uri="{BB962C8B-B14F-4D97-AF65-F5344CB8AC3E}">
        <p14:creationId xmlns:p14="http://schemas.microsoft.com/office/powerpoint/2010/main" val="256442608"/>
      </p:ext>
    </p:extLst>
  </p:cSld>
  <p:clrMapOvr>
    <a:overrideClrMapping bg1="lt1" tx1="dk1" bg2="lt2" tx2="dk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26617-CD63-B8DF-0DF4-582B11C8015D}"/>
            </a:ext>
          </a:extLst>
        </p:cNvPr>
        <p:cNvGrpSpPr/>
        <p:nvPr/>
      </p:nvGrpSpPr>
      <p:grpSpPr>
        <a:xfrm>
          <a:off x="0" y="0"/>
          <a:ext cx="0" cy="0"/>
          <a:chOff x="0" y="0"/>
          <a:chExt cx="0" cy="0"/>
        </a:xfrm>
      </p:grpSpPr>
      <p:sp>
        <p:nvSpPr>
          <p:cNvPr id="4" name="Title 20">
            <a:extLst>
              <a:ext uri="{FF2B5EF4-FFF2-40B4-BE49-F238E27FC236}">
                <a16:creationId xmlns:a16="http://schemas.microsoft.com/office/drawing/2014/main" id="{C8185A7B-A7C2-217D-7326-C3D321D6BC9F}"/>
              </a:ext>
            </a:extLst>
          </p:cNvPr>
          <p:cNvSpPr txBox="1">
            <a:spLocks/>
          </p:cNvSpPr>
          <p:nvPr/>
        </p:nvSpPr>
        <p:spPr>
          <a:xfrm>
            <a:off x="588963" y="2598004"/>
            <a:ext cx="2867499"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Take the next step with Microsoft </a:t>
            </a:r>
          </a:p>
        </p:txBody>
      </p:sp>
      <p:sp>
        <p:nvSpPr>
          <p:cNvPr id="5" name="Rectangle: Rounded Corners 4">
            <a:extLst>
              <a:ext uri="{FF2B5EF4-FFF2-40B4-BE49-F238E27FC236}">
                <a16:creationId xmlns:a16="http://schemas.microsoft.com/office/drawing/2014/main" id="{D64455CD-3B78-178F-C1EA-E481436DFC61}"/>
              </a:ext>
              <a:ext uri="{C183D7F6-B498-43B3-948B-1728B52AA6E4}">
                <adec:decorative xmlns:adec="http://schemas.microsoft.com/office/drawing/2017/decorative" val="1"/>
              </a:ext>
            </a:extLst>
          </p:cNvPr>
          <p:cNvSpPr/>
          <p:nvPr/>
        </p:nvSpPr>
        <p:spPr bwMode="auto">
          <a:xfrm>
            <a:off x="3648362" y="293689"/>
            <a:ext cx="7957850" cy="6270624"/>
          </a:xfrm>
          <a:prstGeom prst="roundRect">
            <a:avLst>
              <a:gd name="adj" fmla="val 339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6" name="TextBox 5">
            <a:extLst>
              <a:ext uri="{FF2B5EF4-FFF2-40B4-BE49-F238E27FC236}">
                <a16:creationId xmlns:a16="http://schemas.microsoft.com/office/drawing/2014/main" id="{A730FA07-A207-84AB-92C3-9B4D5308E182}"/>
              </a:ext>
              <a:ext uri="{C183D7F6-B498-43B3-948B-1728B52AA6E4}">
                <adec:decorative xmlns:adec="http://schemas.microsoft.com/office/drawing/2017/decorative" val="0"/>
              </a:ext>
            </a:extLst>
          </p:cNvPr>
          <p:cNvSpPr txBox="1">
            <a:spLocks/>
          </p:cNvSpPr>
          <p:nvPr/>
        </p:nvSpPr>
        <p:spPr>
          <a:xfrm>
            <a:off x="3802425" y="447752"/>
            <a:ext cx="1163275" cy="5962500"/>
          </a:xfrm>
          <a:prstGeom prst="roundRect">
            <a:avLst>
              <a:gd name="adj" fmla="val 11466"/>
            </a:avLst>
          </a:prstGeom>
          <a:solidFill>
            <a:schemeClr val="bg1">
              <a:lumMod val="85000"/>
            </a:schemeClr>
          </a:solidFill>
        </p:spPr>
        <p:txBody>
          <a:bodyPr wrap="square" lIns="128016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18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7" name="TextBox 6">
            <a:extLst>
              <a:ext uri="{FF2B5EF4-FFF2-40B4-BE49-F238E27FC236}">
                <a16:creationId xmlns:a16="http://schemas.microsoft.com/office/drawing/2014/main" id="{728C4B41-D59B-FA17-954C-F3D7799D2288}"/>
              </a:ext>
              <a:ext uri="{C183D7F6-B498-43B3-948B-1728B52AA6E4}">
                <adec:decorative xmlns:adec="http://schemas.microsoft.com/office/drawing/2017/decorative" val="0"/>
              </a:ext>
            </a:extLst>
          </p:cNvPr>
          <p:cNvSpPr txBox="1">
            <a:spLocks/>
          </p:cNvSpPr>
          <p:nvPr/>
        </p:nvSpPr>
        <p:spPr>
          <a:xfrm>
            <a:off x="8710373" y="447751"/>
            <a:ext cx="2741776" cy="5962500"/>
          </a:xfrm>
          <a:prstGeom prst="roundRect">
            <a:avLst>
              <a:gd name="adj" fmla="val 6810"/>
            </a:avLst>
          </a:prstGeom>
          <a:gradFill flip="none" rotWithShape="1">
            <a:gsLst>
              <a:gs pos="77000">
                <a:srgbClr val="0D72C4"/>
              </a:gs>
              <a:gs pos="0">
                <a:srgbClr val="9D42BB"/>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Sans Display"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Sans Display Semibold"/>
              <a:ea typeface="+mn-ea"/>
              <a:cs typeface="Segoe Sans Display" pitchFamily="2" charset="0"/>
            </a:endParaRPr>
          </a:p>
        </p:txBody>
      </p:sp>
      <p:sp>
        <p:nvSpPr>
          <p:cNvPr id="8" name="TextBox 7">
            <a:extLst>
              <a:ext uri="{FF2B5EF4-FFF2-40B4-BE49-F238E27FC236}">
                <a16:creationId xmlns:a16="http://schemas.microsoft.com/office/drawing/2014/main" id="{4B55041B-40AE-1063-F3CD-253463E9A9B1}"/>
              </a:ext>
            </a:extLst>
          </p:cNvPr>
          <p:cNvSpPr txBox="1"/>
          <p:nvPr/>
        </p:nvSpPr>
        <p:spPr>
          <a:xfrm>
            <a:off x="5194676" y="545013"/>
            <a:ext cx="2050653" cy="1231106"/>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a:rPr>
              <a:t>Explore short</a:t>
            </a:r>
            <a:r>
              <a:rPr kumimoji="0" lang="en-US" sz="2000" b="0" i="0" u="none" strike="noStrike" kern="1200" cap="none" spc="0" normalizeH="0" noProof="0" dirty="0">
                <a:ln w="3175">
                  <a:noFill/>
                </a:ln>
                <a:solidFill>
                  <a:srgbClr val="000000"/>
                </a:solidFill>
                <a:effectLst/>
                <a:uLnTx/>
                <a:uFillTx/>
                <a:latin typeface="Segoe UI Semibold"/>
                <a:ea typeface="+mn-ea"/>
                <a:cs typeface="Segoe UI"/>
              </a:rPr>
              <a:t> list of Energy Industry </a:t>
            </a: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a:rPr>
              <a:t>use cases       </a:t>
            </a:r>
          </a:p>
        </p:txBody>
      </p:sp>
      <p:sp>
        <p:nvSpPr>
          <p:cNvPr id="9" name="TextBox 8">
            <a:extLst>
              <a:ext uri="{FF2B5EF4-FFF2-40B4-BE49-F238E27FC236}">
                <a16:creationId xmlns:a16="http://schemas.microsoft.com/office/drawing/2014/main" id="{E54E219C-2946-E712-795E-E7993ECF48F5}"/>
              </a:ext>
              <a:ext uri="{C183D7F6-B498-43B3-948B-1728B52AA6E4}">
                <adec:decorative xmlns:adec="http://schemas.microsoft.com/office/drawing/2017/decorative" val="0"/>
              </a:ext>
            </a:extLst>
          </p:cNvPr>
          <p:cNvSpPr txBox="1">
            <a:spLocks/>
          </p:cNvSpPr>
          <p:nvPr/>
        </p:nvSpPr>
        <p:spPr>
          <a:xfrm>
            <a:off x="8888375" y="646209"/>
            <a:ext cx="2385772" cy="1028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cs typeface="Segoe UI" pitchFamily="34" charset="0"/>
              </a:rPr>
              <a:t>AI Use Cases: Achieve Business Goals with Microsoft AI</a:t>
            </a:r>
          </a:p>
        </p:txBody>
      </p:sp>
      <p:sp>
        <p:nvSpPr>
          <p:cNvPr id="10" name="TextBox 9">
            <a:extLst>
              <a:ext uri="{FF2B5EF4-FFF2-40B4-BE49-F238E27FC236}">
                <a16:creationId xmlns:a16="http://schemas.microsoft.com/office/drawing/2014/main" id="{E68D7480-C057-C66D-3128-B7B176AC6340}"/>
              </a:ext>
            </a:extLst>
          </p:cNvPr>
          <p:cNvSpPr txBox="1"/>
          <p:nvPr/>
        </p:nvSpPr>
        <p:spPr>
          <a:xfrm>
            <a:off x="5194676" y="2518967"/>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GB" sz="2000" b="0" i="0" u="none" strike="noStrike" kern="1200" cap="none" spc="0" normalizeH="0" baseline="0" noProof="0">
                <a:ln w="3175">
                  <a:noFill/>
                </a:ln>
                <a:solidFill>
                  <a:srgbClr val="000000"/>
                </a:solidFill>
                <a:effectLst/>
                <a:uLnTx/>
                <a:uFillTx/>
                <a:latin typeface="Segoe UI Semibold"/>
                <a:ea typeface="+mn-ea"/>
                <a:cs typeface="Segoe UI"/>
              </a:rPr>
              <a:t>Assess your AI Readiness</a:t>
            </a:r>
            <a:endParaRPr kumimoji="0" lang="en-GB" sz="2000" b="0" i="0" u="none" strike="noStrike" kern="1200" cap="none" spc="0" normalizeH="0" baseline="0" noProof="0">
              <a:ln w="3175">
                <a:noFill/>
              </a:ln>
              <a:solidFill>
                <a:srgbClr val="000000"/>
              </a:solidFill>
              <a:effectLst/>
              <a:uLnTx/>
              <a:uFillTx/>
              <a:latin typeface="Segoe UI Semibold"/>
              <a:ea typeface="+mn-ea"/>
              <a:cs typeface="Segoe UI" pitchFamily="34" charset="0"/>
            </a:endParaRPr>
          </a:p>
        </p:txBody>
      </p:sp>
      <p:sp>
        <p:nvSpPr>
          <p:cNvPr id="11" name="TextBox 10">
            <a:extLst>
              <a:ext uri="{FF2B5EF4-FFF2-40B4-BE49-F238E27FC236}">
                <a16:creationId xmlns:a16="http://schemas.microsoft.com/office/drawing/2014/main" id="{1A9AF459-7232-C350-D078-12B09ED247BB}"/>
              </a:ext>
              <a:ext uri="{C183D7F6-B498-43B3-948B-1728B52AA6E4}">
                <adec:decorative xmlns:adec="http://schemas.microsoft.com/office/drawing/2017/decorative" val="0"/>
              </a:ext>
            </a:extLst>
          </p:cNvPr>
          <p:cNvSpPr txBox="1">
            <a:spLocks/>
          </p:cNvSpPr>
          <p:nvPr/>
        </p:nvSpPr>
        <p:spPr>
          <a:xfrm>
            <a:off x="8888375" y="2158498"/>
            <a:ext cx="2385772" cy="1028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cs typeface="Segoe UI" pitchFamily="34" charset="0"/>
              </a:rPr>
              <a:t>Schedule a conversation</a:t>
            </a:r>
          </a:p>
        </p:txBody>
      </p:sp>
      <p:sp>
        <p:nvSpPr>
          <p:cNvPr id="12" name="TextBox 11">
            <a:extLst>
              <a:ext uri="{FF2B5EF4-FFF2-40B4-BE49-F238E27FC236}">
                <a16:creationId xmlns:a16="http://schemas.microsoft.com/office/drawing/2014/main" id="{DEC65DFD-E414-C96D-CB45-0930E14BD537}"/>
              </a:ext>
            </a:extLst>
          </p:cNvPr>
          <p:cNvSpPr txBox="1"/>
          <p:nvPr/>
        </p:nvSpPr>
        <p:spPr>
          <a:xfrm>
            <a:off x="5194676" y="4031256"/>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GB" sz="2000" b="0" i="0" u="none" strike="noStrike" kern="1200" cap="none" spc="0" normalizeH="0" baseline="0" noProof="0" dirty="0">
                <a:ln w="3175">
                  <a:noFill/>
                </a:ln>
                <a:solidFill>
                  <a:srgbClr val="000000"/>
                </a:solidFill>
                <a:effectLst/>
                <a:uLnTx/>
                <a:uFillTx/>
                <a:latin typeface="Segoe UI Semibold"/>
                <a:ea typeface="+mn-ea"/>
                <a:cs typeface="Segoe UI"/>
              </a:rPr>
              <a:t> Develop an AI Strategy</a:t>
            </a:r>
            <a:endParaRPr kumimoji="0" lang="en-GB"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endParaRPr>
          </a:p>
        </p:txBody>
      </p:sp>
      <p:sp>
        <p:nvSpPr>
          <p:cNvPr id="13" name="TextBox 12">
            <a:extLst>
              <a:ext uri="{FF2B5EF4-FFF2-40B4-BE49-F238E27FC236}">
                <a16:creationId xmlns:a16="http://schemas.microsoft.com/office/drawing/2014/main" id="{6F3652AE-8C7D-33EF-4645-97C20FD4ECB4}"/>
              </a:ext>
              <a:ext uri="{C183D7F6-B498-43B3-948B-1728B52AA6E4}">
                <adec:decorative xmlns:adec="http://schemas.microsoft.com/office/drawing/2017/decorative" val="0"/>
              </a:ext>
            </a:extLst>
          </p:cNvPr>
          <p:cNvSpPr txBox="1">
            <a:spLocks/>
          </p:cNvSpPr>
          <p:nvPr/>
        </p:nvSpPr>
        <p:spPr>
          <a:xfrm>
            <a:off x="8888375" y="3670787"/>
            <a:ext cx="2385772" cy="1028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cs typeface="Segoe UI" pitchFamily="34" charset="0"/>
              </a:rPr>
              <a:t>Schedule an AI Workshop at Microsoft</a:t>
            </a:r>
            <a:r>
              <a:rPr kumimoji="0" lang="en-US" sz="1800" b="0" i="0" u="none" strike="noStrike" kern="1200" cap="none" spc="0" normalizeH="0" noProof="0" dirty="0">
                <a:ln>
                  <a:noFill/>
                </a:ln>
                <a:solidFill>
                  <a:srgbClr val="FFFFFF"/>
                </a:solidFill>
                <a:effectLst/>
                <a:uLnTx/>
                <a:uFillTx/>
                <a:latin typeface="Segoe UI Semibold"/>
                <a:cs typeface="Segoe UI" pitchFamily="34" charset="0"/>
              </a:rPr>
              <a:t> Innovation Hub</a:t>
            </a:r>
            <a:endParaRPr kumimoji="0" lang="en-US" sz="1800" b="0" i="0" u="none" strike="noStrike" kern="1200" cap="none" spc="0" normalizeH="0" baseline="0" noProof="0" dirty="0">
              <a:ln>
                <a:noFill/>
              </a:ln>
              <a:solidFill>
                <a:srgbClr val="FFFFFF"/>
              </a:solidFill>
              <a:effectLst/>
              <a:uLnTx/>
              <a:uFillTx/>
              <a:latin typeface="Segoe UI Semibold"/>
              <a:cs typeface="Segoe UI" pitchFamily="34" charset="0"/>
            </a:endParaRPr>
          </a:p>
        </p:txBody>
      </p:sp>
      <p:sp>
        <p:nvSpPr>
          <p:cNvPr id="14" name="TextBox 13">
            <a:extLst>
              <a:ext uri="{FF2B5EF4-FFF2-40B4-BE49-F238E27FC236}">
                <a16:creationId xmlns:a16="http://schemas.microsoft.com/office/drawing/2014/main" id="{95B3BEB2-F56A-086C-1360-9335CF0A7953}"/>
              </a:ext>
            </a:extLst>
          </p:cNvPr>
          <p:cNvSpPr txBox="1"/>
          <p:nvPr/>
        </p:nvSpPr>
        <p:spPr>
          <a:xfrm>
            <a:off x="5194676" y="5543545"/>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a:rPr>
              <a:t>Build and Test your Agents </a:t>
            </a:r>
          </a:p>
        </p:txBody>
      </p:sp>
      <p:sp>
        <p:nvSpPr>
          <p:cNvPr id="15" name="TextBox 14">
            <a:extLst>
              <a:ext uri="{FF2B5EF4-FFF2-40B4-BE49-F238E27FC236}">
                <a16:creationId xmlns:a16="http://schemas.microsoft.com/office/drawing/2014/main" id="{6F436B3C-AD5B-4015-1265-A64868571103}"/>
              </a:ext>
              <a:ext uri="{C183D7F6-B498-43B3-948B-1728B52AA6E4}">
                <adec:decorative xmlns:adec="http://schemas.microsoft.com/office/drawing/2017/decorative" val="0"/>
              </a:ext>
            </a:extLst>
          </p:cNvPr>
          <p:cNvSpPr txBox="1">
            <a:spLocks/>
          </p:cNvSpPr>
          <p:nvPr/>
        </p:nvSpPr>
        <p:spPr>
          <a:xfrm>
            <a:off x="8888375" y="5183077"/>
            <a:ext cx="2385772" cy="1028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cs typeface="Segoe UI" pitchFamily="34" charset="0"/>
              </a:rPr>
              <a:t>Schedule a workshop to explore process mapping and agent prototyping</a:t>
            </a:r>
          </a:p>
        </p:txBody>
      </p:sp>
      <p:cxnSp>
        <p:nvCxnSpPr>
          <p:cNvPr id="16" name="Straight Connector 15">
            <a:extLst>
              <a:ext uri="{FF2B5EF4-FFF2-40B4-BE49-F238E27FC236}">
                <a16:creationId xmlns:a16="http://schemas.microsoft.com/office/drawing/2014/main" id="{9C1C9EC8-D049-F127-8C5D-B6EE43A6EBCA}"/>
              </a:ext>
            </a:extLst>
          </p:cNvPr>
          <p:cNvCxnSpPr>
            <a:cxnSpLocks/>
          </p:cNvCxnSpPr>
          <p:nvPr/>
        </p:nvCxnSpPr>
        <p:spPr>
          <a:xfrm>
            <a:off x="5175649" y="1916711"/>
            <a:ext cx="3361634"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a:extLst>
              <a:ext uri="{FF2B5EF4-FFF2-40B4-BE49-F238E27FC236}">
                <a16:creationId xmlns:a16="http://schemas.microsoft.com/office/drawing/2014/main" id="{7E21E795-DBC2-AC40-2D3C-825E32CB9DFD}"/>
              </a:ext>
            </a:extLst>
          </p:cNvPr>
          <p:cNvCxnSpPr>
            <a:cxnSpLocks/>
          </p:cNvCxnSpPr>
          <p:nvPr/>
        </p:nvCxnSpPr>
        <p:spPr>
          <a:xfrm>
            <a:off x="5175649" y="3429001"/>
            <a:ext cx="3361634"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a:extLst>
              <a:ext uri="{FF2B5EF4-FFF2-40B4-BE49-F238E27FC236}">
                <a16:creationId xmlns:a16="http://schemas.microsoft.com/office/drawing/2014/main" id="{CE3D7B44-A066-48A4-739D-E76E81185911}"/>
              </a:ext>
            </a:extLst>
          </p:cNvPr>
          <p:cNvCxnSpPr>
            <a:cxnSpLocks/>
          </p:cNvCxnSpPr>
          <p:nvPr/>
        </p:nvCxnSpPr>
        <p:spPr>
          <a:xfrm>
            <a:off x="5175649" y="4941291"/>
            <a:ext cx="3361634"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38C38169-535F-12BE-A4EB-87052C1DC9F6}"/>
              </a:ext>
            </a:extLst>
          </p:cNvPr>
          <p:cNvCxnSpPr>
            <a:cxnSpLocks/>
          </p:cNvCxnSpPr>
          <p:nvPr/>
        </p:nvCxnSpPr>
        <p:spPr>
          <a:xfrm>
            <a:off x="8888375" y="1916711"/>
            <a:ext cx="2385772" cy="0"/>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28F6D66-44B3-A8BD-09C4-5FD812FD9220}"/>
              </a:ext>
            </a:extLst>
          </p:cNvPr>
          <p:cNvCxnSpPr>
            <a:cxnSpLocks/>
          </p:cNvCxnSpPr>
          <p:nvPr/>
        </p:nvCxnSpPr>
        <p:spPr>
          <a:xfrm>
            <a:off x="8888375" y="3429001"/>
            <a:ext cx="2385772" cy="0"/>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639D0EA-A352-7205-8550-CE139D0D0B4F}"/>
              </a:ext>
            </a:extLst>
          </p:cNvPr>
          <p:cNvCxnSpPr>
            <a:cxnSpLocks/>
          </p:cNvCxnSpPr>
          <p:nvPr/>
        </p:nvCxnSpPr>
        <p:spPr>
          <a:xfrm>
            <a:off x="8888375" y="4941291"/>
            <a:ext cx="2385772" cy="0"/>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8AC17E-9634-9F50-D226-51CBA6D103C1}"/>
              </a:ext>
            </a:extLst>
          </p:cNvPr>
          <p:cNvCxnSpPr>
            <a:cxnSpLocks/>
          </p:cNvCxnSpPr>
          <p:nvPr/>
        </p:nvCxnSpPr>
        <p:spPr>
          <a:xfrm>
            <a:off x="3802425" y="1916711"/>
            <a:ext cx="1163275"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0F38BF6-9093-FB1C-9B87-A69BAF9012F3}"/>
              </a:ext>
            </a:extLst>
          </p:cNvPr>
          <p:cNvCxnSpPr>
            <a:cxnSpLocks/>
          </p:cNvCxnSpPr>
          <p:nvPr/>
        </p:nvCxnSpPr>
        <p:spPr>
          <a:xfrm>
            <a:off x="3802425" y="3429001"/>
            <a:ext cx="1163275"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E9F5A04-90C2-10C7-C35E-2AF56BF016E3}"/>
              </a:ext>
            </a:extLst>
          </p:cNvPr>
          <p:cNvCxnSpPr>
            <a:cxnSpLocks/>
          </p:cNvCxnSpPr>
          <p:nvPr/>
        </p:nvCxnSpPr>
        <p:spPr>
          <a:xfrm>
            <a:off x="3802425" y="4941291"/>
            <a:ext cx="1163275"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062F6FA0-25DE-FECA-5F68-5B166EDC49EC}"/>
              </a:ext>
              <a:ext uri="{C183D7F6-B498-43B3-948B-1728B52AA6E4}">
                <adec:decorative xmlns:adec="http://schemas.microsoft.com/office/drawing/2017/decorative" val="1"/>
              </a:ext>
            </a:extLst>
          </p:cNvPr>
          <p:cNvSpPr/>
          <p:nvPr/>
        </p:nvSpPr>
        <p:spPr>
          <a:xfrm>
            <a:off x="4114927" y="929879"/>
            <a:ext cx="538270" cy="461374"/>
          </a:xfrm>
          <a:custGeom>
            <a:avLst/>
            <a:gdLst>
              <a:gd name="connsiteX0" fmla="*/ 68329 w 318854"/>
              <a:gd name="connsiteY0" fmla="*/ 128925 h 273302"/>
              <a:gd name="connsiteX1" fmla="*/ 22779 w 318854"/>
              <a:gd name="connsiteY1" fmla="*/ 174429 h 273302"/>
              <a:gd name="connsiteX2" fmla="*/ 68329 w 318854"/>
              <a:gd name="connsiteY2" fmla="*/ 219932 h 273302"/>
              <a:gd name="connsiteX3" fmla="*/ 113879 w 318854"/>
              <a:gd name="connsiteY3" fmla="*/ 174429 h 273302"/>
              <a:gd name="connsiteX4" fmla="*/ 68329 w 318854"/>
              <a:gd name="connsiteY4" fmla="*/ 128925 h 273302"/>
              <a:gd name="connsiteX5" fmla="*/ 56940 w 318854"/>
              <a:gd name="connsiteY5" fmla="*/ 107129 h 273302"/>
              <a:gd name="connsiteX6" fmla="*/ 107914 w 318854"/>
              <a:gd name="connsiteY6" fmla="*/ 118794 h 273302"/>
              <a:gd name="connsiteX7" fmla="*/ 124022 w 318854"/>
              <a:gd name="connsiteY7" fmla="*/ 213970 h 273302"/>
              <a:gd name="connsiteX8" fmla="*/ 163680 w 318854"/>
              <a:gd name="connsiteY8" fmla="*/ 253604 h 273302"/>
              <a:gd name="connsiteX9" fmla="*/ 164247 w 318854"/>
              <a:gd name="connsiteY9" fmla="*/ 254172 h 273302"/>
              <a:gd name="connsiteX10" fmla="*/ 163680 w 318854"/>
              <a:gd name="connsiteY10" fmla="*/ 270249 h 273302"/>
              <a:gd name="connsiteX11" fmla="*/ 147586 w 318854"/>
              <a:gd name="connsiteY11" fmla="*/ 269683 h 273302"/>
              <a:gd name="connsiteX12" fmla="*/ 107912 w 318854"/>
              <a:gd name="connsiteY12" fmla="*/ 230063 h 273302"/>
              <a:gd name="connsiteX13" fmla="*/ 68329 w 318854"/>
              <a:gd name="connsiteY13" fmla="*/ 242683 h 273302"/>
              <a:gd name="connsiteX14" fmla="*/ 28747 w 318854"/>
              <a:gd name="connsiteY14" fmla="*/ 230063 h 273302"/>
              <a:gd name="connsiteX15" fmla="*/ 12639 w 318854"/>
              <a:gd name="connsiteY15" fmla="*/ 134886 h 273302"/>
              <a:gd name="connsiteX16" fmla="*/ 56940 w 318854"/>
              <a:gd name="connsiteY16" fmla="*/ 107129 h 273302"/>
              <a:gd name="connsiteX17" fmla="*/ 87309 w 318854"/>
              <a:gd name="connsiteY17" fmla="*/ 60671 h 273302"/>
              <a:gd name="connsiteX18" fmla="*/ 75921 w 318854"/>
              <a:gd name="connsiteY18" fmla="*/ 72048 h 273302"/>
              <a:gd name="connsiteX19" fmla="*/ 87309 w 318854"/>
              <a:gd name="connsiteY19" fmla="*/ 83424 h 273302"/>
              <a:gd name="connsiteX20" fmla="*/ 186000 w 318854"/>
              <a:gd name="connsiteY20" fmla="*/ 83424 h 273302"/>
              <a:gd name="connsiteX21" fmla="*/ 197388 w 318854"/>
              <a:gd name="connsiteY21" fmla="*/ 72048 h 273302"/>
              <a:gd name="connsiteX22" fmla="*/ 186000 w 318854"/>
              <a:gd name="connsiteY22" fmla="*/ 60671 h 273302"/>
              <a:gd name="connsiteX23" fmla="*/ 56943 w 318854"/>
              <a:gd name="connsiteY23" fmla="*/ 0 h 273302"/>
              <a:gd name="connsiteX24" fmla="*/ 277100 w 318854"/>
              <a:gd name="connsiteY24" fmla="*/ 0 h 273302"/>
              <a:gd name="connsiteX25" fmla="*/ 318854 w 318854"/>
              <a:gd name="connsiteY25" fmla="*/ 41712 h 273302"/>
              <a:gd name="connsiteX26" fmla="*/ 318854 w 318854"/>
              <a:gd name="connsiteY26" fmla="*/ 200973 h 273302"/>
              <a:gd name="connsiteX27" fmla="*/ 277100 w 318854"/>
              <a:gd name="connsiteY27" fmla="*/ 242685 h 273302"/>
              <a:gd name="connsiteX28" fmla="*/ 174233 w 318854"/>
              <a:gd name="connsiteY28" fmla="*/ 242685 h 273302"/>
              <a:gd name="connsiteX29" fmla="*/ 143107 w 318854"/>
              <a:gd name="connsiteY29" fmla="*/ 211592 h 273302"/>
              <a:gd name="connsiteX30" fmla="*/ 151838 w 318854"/>
              <a:gd name="connsiteY30" fmla="*/ 174431 h 273302"/>
              <a:gd name="connsiteX31" fmla="*/ 216366 w 318854"/>
              <a:gd name="connsiteY31" fmla="*/ 174431 h 273302"/>
              <a:gd name="connsiteX32" fmla="*/ 227754 w 318854"/>
              <a:gd name="connsiteY32" fmla="*/ 163055 h 273302"/>
              <a:gd name="connsiteX33" fmla="*/ 216366 w 318854"/>
              <a:gd name="connsiteY33" fmla="*/ 151678 h 273302"/>
              <a:gd name="connsiteX34" fmla="*/ 148694 w 318854"/>
              <a:gd name="connsiteY34" fmla="*/ 151678 h 273302"/>
              <a:gd name="connsiteX35" fmla="*/ 138339 w 318854"/>
              <a:gd name="connsiteY35" fmla="*/ 128927 h 273302"/>
              <a:gd name="connsiteX36" fmla="*/ 246733 w 318854"/>
              <a:gd name="connsiteY36" fmla="*/ 128927 h 273302"/>
              <a:gd name="connsiteX37" fmla="*/ 258121 w 318854"/>
              <a:gd name="connsiteY37" fmla="*/ 117551 h 273302"/>
              <a:gd name="connsiteX38" fmla="*/ 246733 w 318854"/>
              <a:gd name="connsiteY38" fmla="*/ 106175 h 273302"/>
              <a:gd name="connsiteX39" fmla="*/ 116354 w 318854"/>
              <a:gd name="connsiteY39" fmla="*/ 106175 h 273302"/>
              <a:gd name="connsiteX40" fmla="*/ 68330 w 318854"/>
              <a:gd name="connsiteY40" fmla="*/ 91007 h 273302"/>
              <a:gd name="connsiteX41" fmla="*/ 15188 w 318854"/>
              <a:gd name="connsiteY41" fmla="*/ 110073 h 273302"/>
              <a:gd name="connsiteX42" fmla="*/ 15188 w 318854"/>
              <a:gd name="connsiteY42" fmla="*/ 41712 h 273302"/>
              <a:gd name="connsiteX43" fmla="*/ 56943 w 318854"/>
              <a:gd name="connsiteY43" fmla="*/ 0 h 27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854" h="273302">
                <a:moveTo>
                  <a:pt x="68329" y="128925"/>
                </a:moveTo>
                <a:cubicBezTo>
                  <a:pt x="43173" y="128925"/>
                  <a:pt x="22779" y="149297"/>
                  <a:pt x="22779" y="174429"/>
                </a:cubicBezTo>
                <a:cubicBezTo>
                  <a:pt x="22779" y="199560"/>
                  <a:pt x="43173" y="219932"/>
                  <a:pt x="68329" y="219932"/>
                </a:cubicBezTo>
                <a:cubicBezTo>
                  <a:pt x="93486" y="219932"/>
                  <a:pt x="113879" y="199560"/>
                  <a:pt x="113879" y="174429"/>
                </a:cubicBezTo>
                <a:cubicBezTo>
                  <a:pt x="113879" y="149297"/>
                  <a:pt x="93486" y="128925"/>
                  <a:pt x="68329" y="128925"/>
                </a:cubicBezTo>
                <a:close/>
                <a:moveTo>
                  <a:pt x="56940" y="107129"/>
                </a:moveTo>
                <a:cubicBezTo>
                  <a:pt x="74182" y="104217"/>
                  <a:pt x="92535" y="107875"/>
                  <a:pt x="107914" y="118794"/>
                </a:cubicBezTo>
                <a:cubicBezTo>
                  <a:pt x="138669" y="140633"/>
                  <a:pt x="145882" y="183246"/>
                  <a:pt x="124022" y="213970"/>
                </a:cubicBezTo>
                <a:lnTo>
                  <a:pt x="163680" y="253604"/>
                </a:lnTo>
                <a:cubicBezTo>
                  <a:pt x="163876" y="253787"/>
                  <a:pt x="164066" y="253977"/>
                  <a:pt x="164247" y="254172"/>
                </a:cubicBezTo>
                <a:cubicBezTo>
                  <a:pt x="168535" y="258770"/>
                  <a:pt x="168280" y="265966"/>
                  <a:pt x="163680" y="270249"/>
                </a:cubicBezTo>
                <a:cubicBezTo>
                  <a:pt x="159079" y="274533"/>
                  <a:pt x="151873" y="274278"/>
                  <a:pt x="147586" y="269683"/>
                </a:cubicBezTo>
                <a:lnTo>
                  <a:pt x="107912" y="230063"/>
                </a:lnTo>
                <a:cubicBezTo>
                  <a:pt x="96358" y="238291"/>
                  <a:pt x="82517" y="242705"/>
                  <a:pt x="68329" y="242683"/>
                </a:cubicBezTo>
                <a:cubicBezTo>
                  <a:pt x="54143" y="242683"/>
                  <a:pt x="40310" y="238272"/>
                  <a:pt x="28747" y="230063"/>
                </a:cubicBezTo>
                <a:cubicBezTo>
                  <a:pt x="-2010" y="208223"/>
                  <a:pt x="-9222" y="165612"/>
                  <a:pt x="12639" y="134886"/>
                </a:cubicBezTo>
                <a:cubicBezTo>
                  <a:pt x="23570" y="119523"/>
                  <a:pt x="39699" y="110040"/>
                  <a:pt x="56940" y="107129"/>
                </a:cubicBezTo>
                <a:close/>
                <a:moveTo>
                  <a:pt x="87309" y="60671"/>
                </a:moveTo>
                <a:cubicBezTo>
                  <a:pt x="81019" y="60671"/>
                  <a:pt x="75921" y="65764"/>
                  <a:pt x="75921" y="72048"/>
                </a:cubicBezTo>
                <a:cubicBezTo>
                  <a:pt x="75921" y="78330"/>
                  <a:pt x="81019" y="83424"/>
                  <a:pt x="87309" y="83424"/>
                </a:cubicBezTo>
                <a:lnTo>
                  <a:pt x="186000" y="83424"/>
                </a:lnTo>
                <a:cubicBezTo>
                  <a:pt x="192290" y="83424"/>
                  <a:pt x="197388" y="78330"/>
                  <a:pt x="197388" y="72048"/>
                </a:cubicBezTo>
                <a:cubicBezTo>
                  <a:pt x="197388" y="65764"/>
                  <a:pt x="192290" y="60671"/>
                  <a:pt x="186000" y="60671"/>
                </a:cubicBezTo>
                <a:close/>
                <a:moveTo>
                  <a:pt x="56943" y="0"/>
                </a:moveTo>
                <a:lnTo>
                  <a:pt x="277100" y="0"/>
                </a:lnTo>
                <a:cubicBezTo>
                  <a:pt x="300161" y="0"/>
                  <a:pt x="318854" y="18674"/>
                  <a:pt x="318854" y="41712"/>
                </a:cubicBezTo>
                <a:lnTo>
                  <a:pt x="318854" y="200973"/>
                </a:lnTo>
                <a:cubicBezTo>
                  <a:pt x="318854" y="224011"/>
                  <a:pt x="300161" y="242685"/>
                  <a:pt x="277100" y="242685"/>
                </a:cubicBezTo>
                <a:lnTo>
                  <a:pt x="174233" y="242685"/>
                </a:lnTo>
                <a:lnTo>
                  <a:pt x="143107" y="211592"/>
                </a:lnTo>
                <a:cubicBezTo>
                  <a:pt x="148694" y="200413"/>
                  <a:pt x="151838" y="187777"/>
                  <a:pt x="151838" y="174431"/>
                </a:cubicBezTo>
                <a:lnTo>
                  <a:pt x="216366" y="174431"/>
                </a:lnTo>
                <a:cubicBezTo>
                  <a:pt x="222656" y="174431"/>
                  <a:pt x="227754" y="169337"/>
                  <a:pt x="227754" y="163055"/>
                </a:cubicBezTo>
                <a:cubicBezTo>
                  <a:pt x="227754" y="156772"/>
                  <a:pt x="222656" y="151678"/>
                  <a:pt x="216366" y="151678"/>
                </a:cubicBezTo>
                <a:lnTo>
                  <a:pt x="148694" y="151678"/>
                </a:lnTo>
                <a:cubicBezTo>
                  <a:pt x="146413" y="143616"/>
                  <a:pt x="142922" y="135945"/>
                  <a:pt x="138339" y="128927"/>
                </a:cubicBezTo>
                <a:lnTo>
                  <a:pt x="246733" y="128927"/>
                </a:lnTo>
                <a:cubicBezTo>
                  <a:pt x="253023" y="128927"/>
                  <a:pt x="258121" y="123833"/>
                  <a:pt x="258121" y="117551"/>
                </a:cubicBezTo>
                <a:cubicBezTo>
                  <a:pt x="258121" y="111269"/>
                  <a:pt x="253023" y="106175"/>
                  <a:pt x="246733" y="106175"/>
                </a:cubicBezTo>
                <a:lnTo>
                  <a:pt x="116354" y="106175"/>
                </a:lnTo>
                <a:cubicBezTo>
                  <a:pt x="102765" y="96619"/>
                  <a:pt x="86200" y="91007"/>
                  <a:pt x="68330" y="91007"/>
                </a:cubicBezTo>
                <a:cubicBezTo>
                  <a:pt x="48135" y="91007"/>
                  <a:pt x="29613" y="98166"/>
                  <a:pt x="15188" y="110073"/>
                </a:cubicBezTo>
                <a:lnTo>
                  <a:pt x="15188" y="41712"/>
                </a:lnTo>
                <a:cubicBezTo>
                  <a:pt x="15188" y="18674"/>
                  <a:pt x="33881" y="0"/>
                  <a:pt x="56943" y="0"/>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6" name="Graphic 164">
            <a:extLst>
              <a:ext uri="{FF2B5EF4-FFF2-40B4-BE49-F238E27FC236}">
                <a16:creationId xmlns:a16="http://schemas.microsoft.com/office/drawing/2014/main" id="{28BAF9DF-4E05-962F-2850-E0BE2CE0C95D}"/>
              </a:ext>
              <a:ext uri="{C183D7F6-B498-43B3-948B-1728B52AA6E4}">
                <adec:decorative xmlns:adec="http://schemas.microsoft.com/office/drawing/2017/decorative" val="1"/>
              </a:ext>
            </a:extLst>
          </p:cNvPr>
          <p:cNvSpPr/>
          <p:nvPr/>
        </p:nvSpPr>
        <p:spPr>
          <a:xfrm>
            <a:off x="4153197" y="2442168"/>
            <a:ext cx="461730" cy="461376"/>
          </a:xfrm>
          <a:custGeom>
            <a:avLst/>
            <a:gdLst>
              <a:gd name="connsiteX0" fmla="*/ 190500 w 266700"/>
              <a:gd name="connsiteY0" fmla="*/ 0 h 266496"/>
              <a:gd name="connsiteX1" fmla="*/ 228600 w 266700"/>
              <a:gd name="connsiteY1" fmla="*/ 38100 h 266496"/>
              <a:gd name="connsiteX2" fmla="*/ 228600 w 266700"/>
              <a:gd name="connsiteY2" fmla="*/ 128956 h 266496"/>
              <a:gd name="connsiteX3" fmla="*/ 179963 w 266700"/>
              <a:gd name="connsiteY3" fmla="*/ 152143 h 266496"/>
              <a:gd name="connsiteX4" fmla="*/ 187503 w 266700"/>
              <a:gd name="connsiteY4" fmla="*/ 190297 h 266496"/>
              <a:gd name="connsiteX5" fmla="*/ 184150 w 266700"/>
              <a:gd name="connsiteY5" fmla="*/ 190297 h 266496"/>
              <a:gd name="connsiteX6" fmla="*/ 152400 w 266700"/>
              <a:gd name="connsiteY6" fmla="*/ 222047 h 266496"/>
              <a:gd name="connsiteX7" fmla="*/ 152743 w 266700"/>
              <a:gd name="connsiteY7" fmla="*/ 228600 h 266496"/>
              <a:gd name="connsiteX8" fmla="*/ 38100 w 266700"/>
              <a:gd name="connsiteY8" fmla="*/ 228600 h 266496"/>
              <a:gd name="connsiteX9" fmla="*/ 0 w 266700"/>
              <a:gd name="connsiteY9" fmla="*/ 190500 h 266496"/>
              <a:gd name="connsiteX10" fmla="*/ 0 w 266700"/>
              <a:gd name="connsiteY10" fmla="*/ 38100 h 266496"/>
              <a:gd name="connsiteX11" fmla="*/ 38100 w 266700"/>
              <a:gd name="connsiteY11" fmla="*/ 0 h 266496"/>
              <a:gd name="connsiteX12" fmla="*/ 190500 w 266700"/>
              <a:gd name="connsiteY12" fmla="*/ 0 h 266496"/>
              <a:gd name="connsiteX13" fmla="*/ 171069 w 266700"/>
              <a:gd name="connsiteY13" fmla="*/ 63119 h 266496"/>
              <a:gd name="connsiteX14" fmla="*/ 88900 w 266700"/>
              <a:gd name="connsiteY14" fmla="*/ 145288 h 266496"/>
              <a:gd name="connsiteX15" fmla="*/ 57531 w 266700"/>
              <a:gd name="connsiteY15" fmla="*/ 113919 h 266496"/>
              <a:gd name="connsiteX16" fmla="*/ 44069 w 266700"/>
              <a:gd name="connsiteY16" fmla="*/ 114394 h 266496"/>
              <a:gd name="connsiteX17" fmla="*/ 44069 w 266700"/>
              <a:gd name="connsiteY17" fmla="*/ 127381 h 266496"/>
              <a:gd name="connsiteX18" fmla="*/ 82169 w 266700"/>
              <a:gd name="connsiteY18" fmla="*/ 165481 h 266496"/>
              <a:gd name="connsiteX19" fmla="*/ 95631 w 266700"/>
              <a:gd name="connsiteY19" fmla="*/ 165481 h 266496"/>
              <a:gd name="connsiteX20" fmla="*/ 184531 w 266700"/>
              <a:gd name="connsiteY20" fmla="*/ 76581 h 266496"/>
              <a:gd name="connsiteX21" fmla="*/ 184056 w 266700"/>
              <a:gd name="connsiteY21" fmla="*/ 63119 h 266496"/>
              <a:gd name="connsiteX22" fmla="*/ 171069 w 266700"/>
              <a:gd name="connsiteY22" fmla="*/ 63119 h 266496"/>
              <a:gd name="connsiteX23" fmla="*/ 215900 w 266700"/>
              <a:gd name="connsiteY23" fmla="*/ 139497 h 266496"/>
              <a:gd name="connsiteX24" fmla="*/ 242103 w 266700"/>
              <a:gd name="connsiteY24" fmla="*/ 164068 h 266496"/>
              <a:gd name="connsiteX25" fmla="*/ 217531 w 266700"/>
              <a:gd name="connsiteY25" fmla="*/ 190271 h 266496"/>
              <a:gd name="connsiteX26" fmla="*/ 215925 w 266700"/>
              <a:gd name="connsiteY26" fmla="*/ 190271 h 266496"/>
              <a:gd name="connsiteX27" fmla="*/ 191328 w 266700"/>
              <a:gd name="connsiteY27" fmla="*/ 164093 h 266496"/>
              <a:gd name="connsiteX28" fmla="*/ 215900 w 266700"/>
              <a:gd name="connsiteY28" fmla="*/ 139497 h 266496"/>
              <a:gd name="connsiteX29" fmla="*/ 184150 w 266700"/>
              <a:gd name="connsiteY29" fmla="*/ 202997 h 266496"/>
              <a:gd name="connsiteX30" fmla="*/ 247650 w 266700"/>
              <a:gd name="connsiteY30" fmla="*/ 202997 h 266496"/>
              <a:gd name="connsiteX31" fmla="*/ 266700 w 266700"/>
              <a:gd name="connsiteY31" fmla="*/ 222047 h 266496"/>
              <a:gd name="connsiteX32" fmla="*/ 251308 w 266700"/>
              <a:gd name="connsiteY32" fmla="*/ 255245 h 266496"/>
              <a:gd name="connsiteX33" fmla="*/ 215900 w 266700"/>
              <a:gd name="connsiteY33" fmla="*/ 266497 h 266496"/>
              <a:gd name="connsiteX34" fmla="*/ 180492 w 266700"/>
              <a:gd name="connsiteY34" fmla="*/ 255245 h 266496"/>
              <a:gd name="connsiteX35" fmla="*/ 165532 w 266700"/>
              <a:gd name="connsiteY35" fmla="*/ 228600 h 266496"/>
              <a:gd name="connsiteX36" fmla="*/ 165100 w 266700"/>
              <a:gd name="connsiteY36" fmla="*/ 222047 h 266496"/>
              <a:gd name="connsiteX37" fmla="*/ 184150 w 266700"/>
              <a:gd name="connsiteY37" fmla="*/ 202997 h 266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6700" h="266496">
                <a:moveTo>
                  <a:pt x="190500" y="0"/>
                </a:moveTo>
                <a:cubicBezTo>
                  <a:pt x="211542" y="0"/>
                  <a:pt x="228600" y="17058"/>
                  <a:pt x="228600" y="38100"/>
                </a:cubicBezTo>
                <a:lnTo>
                  <a:pt x="228600" y="128956"/>
                </a:lnTo>
                <a:cubicBezTo>
                  <a:pt x="208766" y="121928"/>
                  <a:pt x="186991" y="132309"/>
                  <a:pt x="179963" y="152143"/>
                </a:cubicBezTo>
                <a:cubicBezTo>
                  <a:pt x="175307" y="165283"/>
                  <a:pt x="178199" y="179916"/>
                  <a:pt x="187503" y="190297"/>
                </a:cubicBezTo>
                <a:lnTo>
                  <a:pt x="184150" y="190297"/>
                </a:lnTo>
                <a:cubicBezTo>
                  <a:pt x="166615" y="190297"/>
                  <a:pt x="152400" y="204512"/>
                  <a:pt x="152400" y="222047"/>
                </a:cubicBezTo>
                <a:cubicBezTo>
                  <a:pt x="152400" y="224269"/>
                  <a:pt x="152527" y="226466"/>
                  <a:pt x="152743" y="228600"/>
                </a:cubicBezTo>
                <a:lnTo>
                  <a:pt x="38100" y="228600"/>
                </a:lnTo>
                <a:cubicBezTo>
                  <a:pt x="17058" y="228600"/>
                  <a:pt x="0" y="211542"/>
                  <a:pt x="0" y="190500"/>
                </a:cubicBezTo>
                <a:lnTo>
                  <a:pt x="0" y="38100"/>
                </a:lnTo>
                <a:cubicBezTo>
                  <a:pt x="0" y="17058"/>
                  <a:pt x="17058" y="0"/>
                  <a:pt x="38100" y="0"/>
                </a:cubicBezTo>
                <a:lnTo>
                  <a:pt x="190500" y="0"/>
                </a:lnTo>
                <a:close/>
                <a:moveTo>
                  <a:pt x="171069" y="63119"/>
                </a:moveTo>
                <a:lnTo>
                  <a:pt x="88900" y="145288"/>
                </a:lnTo>
                <a:lnTo>
                  <a:pt x="57531" y="113919"/>
                </a:lnTo>
                <a:cubicBezTo>
                  <a:pt x="53682" y="110333"/>
                  <a:pt x="47655" y="110546"/>
                  <a:pt x="44069" y="114394"/>
                </a:cubicBezTo>
                <a:cubicBezTo>
                  <a:pt x="40660" y="118052"/>
                  <a:pt x="40660" y="123723"/>
                  <a:pt x="44069" y="127381"/>
                </a:cubicBezTo>
                <a:lnTo>
                  <a:pt x="82169" y="165481"/>
                </a:lnTo>
                <a:cubicBezTo>
                  <a:pt x="85888" y="169195"/>
                  <a:pt x="91912" y="169195"/>
                  <a:pt x="95631" y="165481"/>
                </a:cubicBezTo>
                <a:lnTo>
                  <a:pt x="184531" y="76581"/>
                </a:lnTo>
                <a:cubicBezTo>
                  <a:pt x="188117" y="72732"/>
                  <a:pt x="187904" y="66705"/>
                  <a:pt x="184056" y="63119"/>
                </a:cubicBezTo>
                <a:cubicBezTo>
                  <a:pt x="180398" y="59710"/>
                  <a:pt x="174727" y="59710"/>
                  <a:pt x="171069" y="63119"/>
                </a:cubicBezTo>
                <a:close/>
                <a:moveTo>
                  <a:pt x="215900" y="139497"/>
                </a:moveTo>
                <a:cubicBezTo>
                  <a:pt x="229921" y="139046"/>
                  <a:pt x="241652" y="150047"/>
                  <a:pt x="242103" y="164068"/>
                </a:cubicBezTo>
                <a:cubicBezTo>
                  <a:pt x="242553" y="178089"/>
                  <a:pt x="231552" y="189820"/>
                  <a:pt x="217531" y="190271"/>
                </a:cubicBezTo>
                <a:cubicBezTo>
                  <a:pt x="216996" y="190288"/>
                  <a:pt x="216461" y="190288"/>
                  <a:pt x="215925" y="190271"/>
                </a:cubicBezTo>
                <a:cubicBezTo>
                  <a:pt x="201904" y="189835"/>
                  <a:pt x="190892" y="178115"/>
                  <a:pt x="191328" y="164093"/>
                </a:cubicBezTo>
                <a:cubicBezTo>
                  <a:pt x="191745" y="150695"/>
                  <a:pt x="202502" y="139927"/>
                  <a:pt x="215900" y="139497"/>
                </a:cubicBezTo>
                <a:close/>
                <a:moveTo>
                  <a:pt x="184150" y="202997"/>
                </a:moveTo>
                <a:lnTo>
                  <a:pt x="247650" y="202997"/>
                </a:lnTo>
                <a:cubicBezTo>
                  <a:pt x="258171" y="202997"/>
                  <a:pt x="266700" y="211526"/>
                  <a:pt x="266700" y="222047"/>
                </a:cubicBezTo>
                <a:cubicBezTo>
                  <a:pt x="266700" y="236220"/>
                  <a:pt x="260871" y="247574"/>
                  <a:pt x="251308" y="255245"/>
                </a:cubicBezTo>
                <a:cubicBezTo>
                  <a:pt x="241897" y="262801"/>
                  <a:pt x="229273" y="266497"/>
                  <a:pt x="215900" y="266497"/>
                </a:cubicBezTo>
                <a:cubicBezTo>
                  <a:pt x="202527" y="266497"/>
                  <a:pt x="189903" y="262814"/>
                  <a:pt x="180492" y="255245"/>
                </a:cubicBezTo>
                <a:cubicBezTo>
                  <a:pt x="172216" y="248659"/>
                  <a:pt x="166846" y="239095"/>
                  <a:pt x="165532" y="228600"/>
                </a:cubicBezTo>
                <a:cubicBezTo>
                  <a:pt x="165240" y="226428"/>
                  <a:pt x="165096" y="224238"/>
                  <a:pt x="165100" y="222047"/>
                </a:cubicBezTo>
                <a:cubicBezTo>
                  <a:pt x="165100" y="211526"/>
                  <a:pt x="173629" y="202997"/>
                  <a:pt x="184150" y="202997"/>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7" name="Graphic 80">
            <a:extLst>
              <a:ext uri="{FF2B5EF4-FFF2-40B4-BE49-F238E27FC236}">
                <a16:creationId xmlns:a16="http://schemas.microsoft.com/office/drawing/2014/main" id="{FEC34FFF-4F62-51DE-040C-22919DA770AB}"/>
              </a:ext>
              <a:ext uri="{C183D7F6-B498-43B3-948B-1728B52AA6E4}">
                <adec:decorative xmlns:adec="http://schemas.microsoft.com/office/drawing/2017/decorative" val="1"/>
              </a:ext>
            </a:extLst>
          </p:cNvPr>
          <p:cNvSpPr>
            <a:spLocks/>
          </p:cNvSpPr>
          <p:nvPr/>
        </p:nvSpPr>
        <p:spPr>
          <a:xfrm>
            <a:off x="4196436" y="3926369"/>
            <a:ext cx="375252" cy="517554"/>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GB"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8" name="Freeform: Shape 27">
            <a:extLst>
              <a:ext uri="{FF2B5EF4-FFF2-40B4-BE49-F238E27FC236}">
                <a16:creationId xmlns:a16="http://schemas.microsoft.com/office/drawing/2014/main" id="{F69BD257-A72B-D31D-79C0-FCC07805DF99}"/>
              </a:ext>
              <a:ext uri="{C183D7F6-B498-43B3-948B-1728B52AA6E4}">
                <adec:decorative xmlns:adec="http://schemas.microsoft.com/office/drawing/2017/decorative" val="1"/>
              </a:ext>
            </a:extLst>
          </p:cNvPr>
          <p:cNvSpPr>
            <a:spLocks noChangeAspect="1"/>
          </p:cNvSpPr>
          <p:nvPr/>
        </p:nvSpPr>
        <p:spPr>
          <a:xfrm>
            <a:off x="4151604" y="5465001"/>
            <a:ext cx="464916" cy="464866"/>
          </a:xfrm>
          <a:custGeom>
            <a:avLst/>
            <a:gdLst>
              <a:gd name="connsiteX0" fmla="*/ 125635 w 765566"/>
              <a:gd name="connsiteY0" fmla="*/ 561137 h 765489"/>
              <a:gd name="connsiteX1" fmla="*/ 47149 w 765566"/>
              <a:gd name="connsiteY1" fmla="*/ 639718 h 765489"/>
              <a:gd name="connsiteX2" fmla="*/ 125635 w 765566"/>
              <a:gd name="connsiteY2" fmla="*/ 718299 h 765489"/>
              <a:gd name="connsiteX3" fmla="*/ 204216 w 765566"/>
              <a:gd name="connsiteY3" fmla="*/ 639718 h 765489"/>
              <a:gd name="connsiteX4" fmla="*/ 125635 w 765566"/>
              <a:gd name="connsiteY4" fmla="*/ 561137 h 765489"/>
              <a:gd name="connsiteX5" fmla="*/ 482977 w 765566"/>
              <a:gd name="connsiteY5" fmla="*/ 451741 h 765489"/>
              <a:gd name="connsiteX6" fmla="*/ 505491 w 765566"/>
              <a:gd name="connsiteY6" fmla="*/ 458266 h 765489"/>
              <a:gd name="connsiteX7" fmla="*/ 509302 w 765566"/>
              <a:gd name="connsiteY7" fmla="*/ 461504 h 765489"/>
              <a:gd name="connsiteX8" fmla="*/ 608838 w 765566"/>
              <a:gd name="connsiteY8" fmla="*/ 561041 h 765489"/>
              <a:gd name="connsiteX9" fmla="*/ 708374 w 765566"/>
              <a:gd name="connsiteY9" fmla="*/ 461599 h 765489"/>
              <a:gd name="connsiteX10" fmla="*/ 752094 w 765566"/>
              <a:gd name="connsiteY10" fmla="*/ 458361 h 765489"/>
              <a:gd name="connsiteX11" fmla="*/ 751903 w 765566"/>
              <a:gd name="connsiteY11" fmla="*/ 458171 h 765489"/>
              <a:gd name="connsiteX12" fmla="*/ 755713 w 765566"/>
              <a:gd name="connsiteY12" fmla="*/ 461409 h 765489"/>
              <a:gd name="connsiteX13" fmla="*/ 758952 w 765566"/>
              <a:gd name="connsiteY13" fmla="*/ 505224 h 765489"/>
              <a:gd name="connsiteX14" fmla="*/ 755713 w 765566"/>
              <a:gd name="connsiteY14" fmla="*/ 509034 h 765489"/>
              <a:gd name="connsiteX15" fmla="*/ 656177 w 765566"/>
              <a:gd name="connsiteY15" fmla="*/ 608570 h 765489"/>
              <a:gd name="connsiteX16" fmla="*/ 755713 w 765566"/>
              <a:gd name="connsiteY16" fmla="*/ 708107 h 765489"/>
              <a:gd name="connsiteX17" fmla="*/ 758952 w 765566"/>
              <a:gd name="connsiteY17" fmla="*/ 751826 h 765489"/>
              <a:gd name="connsiteX18" fmla="*/ 755713 w 765566"/>
              <a:gd name="connsiteY18" fmla="*/ 755636 h 765489"/>
              <a:gd name="connsiteX19" fmla="*/ 711898 w 765566"/>
              <a:gd name="connsiteY19" fmla="*/ 758875 h 765489"/>
              <a:gd name="connsiteX20" fmla="*/ 708088 w 765566"/>
              <a:gd name="connsiteY20" fmla="*/ 755636 h 765489"/>
              <a:gd name="connsiteX21" fmla="*/ 608552 w 765566"/>
              <a:gd name="connsiteY21" fmla="*/ 656100 h 765489"/>
              <a:gd name="connsiteX22" fmla="*/ 509111 w 765566"/>
              <a:gd name="connsiteY22" fmla="*/ 755636 h 765489"/>
              <a:gd name="connsiteX23" fmla="*/ 465391 w 765566"/>
              <a:gd name="connsiteY23" fmla="*/ 758875 h 765489"/>
              <a:gd name="connsiteX24" fmla="*/ 461581 w 765566"/>
              <a:gd name="connsiteY24" fmla="*/ 755636 h 765489"/>
              <a:gd name="connsiteX25" fmla="*/ 458343 w 765566"/>
              <a:gd name="connsiteY25" fmla="*/ 711821 h 765489"/>
              <a:gd name="connsiteX26" fmla="*/ 461581 w 765566"/>
              <a:gd name="connsiteY26" fmla="*/ 708011 h 765489"/>
              <a:gd name="connsiteX27" fmla="*/ 561118 w 765566"/>
              <a:gd name="connsiteY27" fmla="*/ 608475 h 765489"/>
              <a:gd name="connsiteX28" fmla="*/ 461677 w 765566"/>
              <a:gd name="connsiteY28" fmla="*/ 509034 h 765489"/>
              <a:gd name="connsiteX29" fmla="*/ 458438 w 765566"/>
              <a:gd name="connsiteY29" fmla="*/ 465314 h 765489"/>
              <a:gd name="connsiteX30" fmla="*/ 461677 w 765566"/>
              <a:gd name="connsiteY30" fmla="*/ 461504 h 765489"/>
              <a:gd name="connsiteX31" fmla="*/ 482977 w 765566"/>
              <a:gd name="connsiteY31" fmla="*/ 451741 h 765489"/>
              <a:gd name="connsiteX32" fmla="*/ 31301 w 765566"/>
              <a:gd name="connsiteY32" fmla="*/ 161 h 765489"/>
              <a:gd name="connsiteX33" fmla="*/ 53816 w 765566"/>
              <a:gd name="connsiteY33" fmla="*/ 6686 h 765489"/>
              <a:gd name="connsiteX34" fmla="*/ 57625 w 765566"/>
              <a:gd name="connsiteY34" fmla="*/ 9924 h 765489"/>
              <a:gd name="connsiteX35" fmla="*/ 157162 w 765566"/>
              <a:gd name="connsiteY35" fmla="*/ 109461 h 765489"/>
              <a:gd name="connsiteX36" fmla="*/ 256698 w 765566"/>
              <a:gd name="connsiteY36" fmla="*/ 10019 h 765489"/>
              <a:gd name="connsiteX37" fmla="*/ 300418 w 765566"/>
              <a:gd name="connsiteY37" fmla="*/ 6781 h 765489"/>
              <a:gd name="connsiteX38" fmla="*/ 300227 w 765566"/>
              <a:gd name="connsiteY38" fmla="*/ 6591 h 765489"/>
              <a:gd name="connsiteX39" fmla="*/ 304037 w 765566"/>
              <a:gd name="connsiteY39" fmla="*/ 9829 h 765489"/>
              <a:gd name="connsiteX40" fmla="*/ 307276 w 765566"/>
              <a:gd name="connsiteY40" fmla="*/ 53644 h 765489"/>
              <a:gd name="connsiteX41" fmla="*/ 304037 w 765566"/>
              <a:gd name="connsiteY41" fmla="*/ 57454 h 765489"/>
              <a:gd name="connsiteX42" fmla="*/ 204501 w 765566"/>
              <a:gd name="connsiteY42" fmla="*/ 156990 h 765489"/>
              <a:gd name="connsiteX43" fmla="*/ 304037 w 765566"/>
              <a:gd name="connsiteY43" fmla="*/ 256526 h 765489"/>
              <a:gd name="connsiteX44" fmla="*/ 307276 w 765566"/>
              <a:gd name="connsiteY44" fmla="*/ 300246 h 765489"/>
              <a:gd name="connsiteX45" fmla="*/ 304037 w 765566"/>
              <a:gd name="connsiteY45" fmla="*/ 304056 h 765489"/>
              <a:gd name="connsiteX46" fmla="*/ 260222 w 765566"/>
              <a:gd name="connsiteY46" fmla="*/ 307295 h 765489"/>
              <a:gd name="connsiteX47" fmla="*/ 256412 w 765566"/>
              <a:gd name="connsiteY47" fmla="*/ 304056 h 765489"/>
              <a:gd name="connsiteX48" fmla="*/ 156876 w 765566"/>
              <a:gd name="connsiteY48" fmla="*/ 204520 h 765489"/>
              <a:gd name="connsiteX49" fmla="*/ 57435 w 765566"/>
              <a:gd name="connsiteY49" fmla="*/ 304056 h 765489"/>
              <a:gd name="connsiteX50" fmla="*/ 13715 w 765566"/>
              <a:gd name="connsiteY50" fmla="*/ 307295 h 765489"/>
              <a:gd name="connsiteX51" fmla="*/ 9905 w 765566"/>
              <a:gd name="connsiteY51" fmla="*/ 304056 h 765489"/>
              <a:gd name="connsiteX52" fmla="*/ 6667 w 765566"/>
              <a:gd name="connsiteY52" fmla="*/ 260241 h 765489"/>
              <a:gd name="connsiteX53" fmla="*/ 9905 w 765566"/>
              <a:gd name="connsiteY53" fmla="*/ 256431 h 765489"/>
              <a:gd name="connsiteX54" fmla="*/ 109442 w 765566"/>
              <a:gd name="connsiteY54" fmla="*/ 156895 h 765489"/>
              <a:gd name="connsiteX55" fmla="*/ 10000 w 765566"/>
              <a:gd name="connsiteY55" fmla="*/ 57454 h 765489"/>
              <a:gd name="connsiteX56" fmla="*/ 6762 w 765566"/>
              <a:gd name="connsiteY56" fmla="*/ 13734 h 765489"/>
              <a:gd name="connsiteX57" fmla="*/ 10000 w 765566"/>
              <a:gd name="connsiteY57" fmla="*/ 9924 h 765489"/>
              <a:gd name="connsiteX58" fmla="*/ 31301 w 765566"/>
              <a:gd name="connsiteY58" fmla="*/ 161 h 765489"/>
              <a:gd name="connsiteX59" fmla="*/ 620935 w 765566"/>
              <a:gd name="connsiteY59" fmla="*/ 18 h 765489"/>
              <a:gd name="connsiteX60" fmla="*/ 735140 w 765566"/>
              <a:gd name="connsiteY60" fmla="*/ 18 h 765489"/>
              <a:gd name="connsiteX61" fmla="*/ 765429 w 765566"/>
              <a:gd name="connsiteY61" fmla="*/ 30308 h 765489"/>
              <a:gd name="connsiteX62" fmla="*/ 765429 w 765566"/>
              <a:gd name="connsiteY62" fmla="*/ 144512 h 765489"/>
              <a:gd name="connsiteX63" fmla="*/ 765429 w 765566"/>
              <a:gd name="connsiteY63" fmla="*/ 146608 h 765489"/>
              <a:gd name="connsiteX64" fmla="*/ 734092 w 765566"/>
              <a:gd name="connsiteY64" fmla="*/ 175754 h 765489"/>
              <a:gd name="connsiteX65" fmla="*/ 704945 w 765566"/>
              <a:gd name="connsiteY65" fmla="*/ 144417 h 765489"/>
              <a:gd name="connsiteX66" fmla="*/ 704945 w 765566"/>
              <a:gd name="connsiteY66" fmla="*/ 103269 h 765489"/>
              <a:gd name="connsiteX67" fmla="*/ 231802 w 765566"/>
              <a:gd name="connsiteY67" fmla="*/ 576413 h 765489"/>
              <a:gd name="connsiteX68" fmla="*/ 241498 w 765566"/>
              <a:gd name="connsiteY68" fmla="*/ 590794 h 765489"/>
              <a:gd name="connsiteX69" fmla="*/ 251365 w 765566"/>
              <a:gd name="connsiteY69" fmla="*/ 639718 h 765489"/>
              <a:gd name="connsiteX70" fmla="*/ 125635 w 765566"/>
              <a:gd name="connsiteY70" fmla="*/ 765448 h 765489"/>
              <a:gd name="connsiteX71" fmla="*/ 0 w 765566"/>
              <a:gd name="connsiteY71" fmla="*/ 639718 h 765489"/>
              <a:gd name="connsiteX72" fmla="*/ 125635 w 765566"/>
              <a:gd name="connsiteY72" fmla="*/ 514083 h 765489"/>
              <a:gd name="connsiteX73" fmla="*/ 174614 w 765566"/>
              <a:gd name="connsiteY73" fmla="*/ 523949 h 765489"/>
              <a:gd name="connsiteX74" fmla="*/ 188912 w 765566"/>
              <a:gd name="connsiteY74" fmla="*/ 533578 h 765489"/>
              <a:gd name="connsiteX75" fmla="*/ 661988 w 765566"/>
              <a:gd name="connsiteY75" fmla="*/ 60502 h 765489"/>
              <a:gd name="connsiteX76" fmla="*/ 620840 w 765566"/>
              <a:gd name="connsiteY76" fmla="*/ 60502 h 765489"/>
              <a:gd name="connsiteX77" fmla="*/ 618744 w 765566"/>
              <a:gd name="connsiteY77" fmla="*/ 60502 h 765489"/>
              <a:gd name="connsiteX78" fmla="*/ 589598 w 765566"/>
              <a:gd name="connsiteY78" fmla="*/ 29165 h 765489"/>
              <a:gd name="connsiteX79" fmla="*/ 620935 w 765566"/>
              <a:gd name="connsiteY79" fmla="*/ 18 h 76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65566" h="765489">
                <a:moveTo>
                  <a:pt x="125635" y="561137"/>
                </a:moveTo>
                <a:cubicBezTo>
                  <a:pt x="82296" y="561137"/>
                  <a:pt x="47149" y="596284"/>
                  <a:pt x="47149" y="639718"/>
                </a:cubicBezTo>
                <a:cubicBezTo>
                  <a:pt x="47149" y="683152"/>
                  <a:pt x="82391" y="718299"/>
                  <a:pt x="125635" y="718299"/>
                </a:cubicBezTo>
                <a:cubicBezTo>
                  <a:pt x="169069" y="718299"/>
                  <a:pt x="204216" y="683152"/>
                  <a:pt x="204216" y="639718"/>
                </a:cubicBezTo>
                <a:cubicBezTo>
                  <a:pt x="204216" y="596284"/>
                  <a:pt x="168974" y="561137"/>
                  <a:pt x="125635" y="561137"/>
                </a:cubicBezTo>
                <a:close/>
                <a:moveTo>
                  <a:pt x="482977" y="451741"/>
                </a:moveTo>
                <a:cubicBezTo>
                  <a:pt x="490775" y="451169"/>
                  <a:pt x="498776" y="453313"/>
                  <a:pt x="505491" y="458266"/>
                </a:cubicBezTo>
                <a:lnTo>
                  <a:pt x="509302" y="461504"/>
                </a:lnTo>
                <a:lnTo>
                  <a:pt x="608838" y="561041"/>
                </a:lnTo>
                <a:lnTo>
                  <a:pt x="708374" y="461599"/>
                </a:lnTo>
                <a:cubicBezTo>
                  <a:pt x="720185" y="449789"/>
                  <a:pt x="738759" y="448455"/>
                  <a:pt x="752094" y="458361"/>
                </a:cubicBezTo>
                <a:lnTo>
                  <a:pt x="751903" y="458171"/>
                </a:lnTo>
                <a:lnTo>
                  <a:pt x="755713" y="461409"/>
                </a:lnTo>
                <a:cubicBezTo>
                  <a:pt x="767524" y="473220"/>
                  <a:pt x="768858" y="491794"/>
                  <a:pt x="758952" y="505224"/>
                </a:cubicBezTo>
                <a:lnTo>
                  <a:pt x="755713" y="509034"/>
                </a:lnTo>
                <a:lnTo>
                  <a:pt x="656177" y="608570"/>
                </a:lnTo>
                <a:lnTo>
                  <a:pt x="755713" y="708107"/>
                </a:lnTo>
                <a:cubicBezTo>
                  <a:pt x="767429" y="719918"/>
                  <a:pt x="768858" y="738491"/>
                  <a:pt x="758952" y="751826"/>
                </a:cubicBezTo>
                <a:lnTo>
                  <a:pt x="755713" y="755636"/>
                </a:lnTo>
                <a:cubicBezTo>
                  <a:pt x="743902" y="767447"/>
                  <a:pt x="725329" y="768781"/>
                  <a:pt x="711898" y="758875"/>
                </a:cubicBezTo>
                <a:lnTo>
                  <a:pt x="708088" y="755636"/>
                </a:lnTo>
                <a:lnTo>
                  <a:pt x="608552" y="656100"/>
                </a:lnTo>
                <a:lnTo>
                  <a:pt x="509111" y="755636"/>
                </a:lnTo>
                <a:cubicBezTo>
                  <a:pt x="497300" y="767352"/>
                  <a:pt x="478726" y="768781"/>
                  <a:pt x="465391" y="758875"/>
                </a:cubicBezTo>
                <a:lnTo>
                  <a:pt x="461581" y="755636"/>
                </a:lnTo>
                <a:cubicBezTo>
                  <a:pt x="449770" y="743825"/>
                  <a:pt x="448437" y="725252"/>
                  <a:pt x="458343" y="711821"/>
                </a:cubicBezTo>
                <a:lnTo>
                  <a:pt x="461581" y="708011"/>
                </a:lnTo>
                <a:lnTo>
                  <a:pt x="561118" y="608475"/>
                </a:lnTo>
                <a:lnTo>
                  <a:pt x="461677" y="509034"/>
                </a:lnTo>
                <a:cubicBezTo>
                  <a:pt x="449865" y="497223"/>
                  <a:pt x="448532" y="478649"/>
                  <a:pt x="458438" y="465314"/>
                </a:cubicBezTo>
                <a:lnTo>
                  <a:pt x="461677" y="461504"/>
                </a:lnTo>
                <a:cubicBezTo>
                  <a:pt x="467582" y="455599"/>
                  <a:pt x="475178" y="452313"/>
                  <a:pt x="482977" y="451741"/>
                </a:cubicBezTo>
                <a:close/>
                <a:moveTo>
                  <a:pt x="31301" y="161"/>
                </a:moveTo>
                <a:cubicBezTo>
                  <a:pt x="39099" y="-410"/>
                  <a:pt x="47100" y="1733"/>
                  <a:pt x="53816" y="6686"/>
                </a:cubicBezTo>
                <a:lnTo>
                  <a:pt x="57625" y="9924"/>
                </a:lnTo>
                <a:lnTo>
                  <a:pt x="157162" y="109461"/>
                </a:lnTo>
                <a:lnTo>
                  <a:pt x="256698" y="10019"/>
                </a:lnTo>
                <a:cubicBezTo>
                  <a:pt x="268509" y="-1791"/>
                  <a:pt x="287083" y="-3125"/>
                  <a:pt x="300418" y="6781"/>
                </a:cubicBezTo>
                <a:lnTo>
                  <a:pt x="300227" y="6591"/>
                </a:lnTo>
                <a:lnTo>
                  <a:pt x="304037" y="9829"/>
                </a:lnTo>
                <a:cubicBezTo>
                  <a:pt x="315848" y="21640"/>
                  <a:pt x="317182" y="40214"/>
                  <a:pt x="307276" y="53644"/>
                </a:cubicBezTo>
                <a:lnTo>
                  <a:pt x="304037" y="57454"/>
                </a:lnTo>
                <a:lnTo>
                  <a:pt x="204501" y="156990"/>
                </a:lnTo>
                <a:lnTo>
                  <a:pt x="304037" y="256526"/>
                </a:lnTo>
                <a:cubicBezTo>
                  <a:pt x="315753" y="268338"/>
                  <a:pt x="317182" y="286911"/>
                  <a:pt x="307276" y="300246"/>
                </a:cubicBezTo>
                <a:lnTo>
                  <a:pt x="304037" y="304056"/>
                </a:lnTo>
                <a:cubicBezTo>
                  <a:pt x="292226" y="315867"/>
                  <a:pt x="273652" y="317201"/>
                  <a:pt x="260222" y="307295"/>
                </a:cubicBezTo>
                <a:lnTo>
                  <a:pt x="256412" y="304056"/>
                </a:lnTo>
                <a:lnTo>
                  <a:pt x="156876" y="204520"/>
                </a:lnTo>
                <a:lnTo>
                  <a:pt x="57435" y="304056"/>
                </a:lnTo>
                <a:cubicBezTo>
                  <a:pt x="45624" y="315772"/>
                  <a:pt x="27050" y="317201"/>
                  <a:pt x="13715" y="307295"/>
                </a:cubicBezTo>
                <a:lnTo>
                  <a:pt x="9905" y="304056"/>
                </a:lnTo>
                <a:cubicBezTo>
                  <a:pt x="-1906" y="292245"/>
                  <a:pt x="-3239" y="273672"/>
                  <a:pt x="6667" y="260241"/>
                </a:cubicBezTo>
                <a:lnTo>
                  <a:pt x="9905" y="256431"/>
                </a:lnTo>
                <a:lnTo>
                  <a:pt x="109442" y="156895"/>
                </a:lnTo>
                <a:lnTo>
                  <a:pt x="10000" y="57454"/>
                </a:lnTo>
                <a:cubicBezTo>
                  <a:pt x="-1810" y="45643"/>
                  <a:pt x="-3144" y="27069"/>
                  <a:pt x="6762" y="13734"/>
                </a:cubicBezTo>
                <a:lnTo>
                  <a:pt x="10000" y="9924"/>
                </a:lnTo>
                <a:cubicBezTo>
                  <a:pt x="15906" y="4018"/>
                  <a:pt x="23502" y="732"/>
                  <a:pt x="31301" y="161"/>
                </a:cubicBezTo>
                <a:close/>
                <a:moveTo>
                  <a:pt x="620935" y="18"/>
                </a:moveTo>
                <a:lnTo>
                  <a:pt x="735140" y="18"/>
                </a:lnTo>
                <a:cubicBezTo>
                  <a:pt x="751904" y="18"/>
                  <a:pt x="765429" y="13639"/>
                  <a:pt x="765429" y="30308"/>
                </a:cubicBezTo>
                <a:lnTo>
                  <a:pt x="765429" y="144512"/>
                </a:lnTo>
                <a:cubicBezTo>
                  <a:pt x="765429" y="145179"/>
                  <a:pt x="765429" y="145941"/>
                  <a:pt x="765429" y="146608"/>
                </a:cubicBezTo>
                <a:cubicBezTo>
                  <a:pt x="764858" y="163277"/>
                  <a:pt x="750761" y="176326"/>
                  <a:pt x="734092" y="175754"/>
                </a:cubicBezTo>
                <a:cubicBezTo>
                  <a:pt x="717423" y="175183"/>
                  <a:pt x="704374" y="161086"/>
                  <a:pt x="704945" y="144417"/>
                </a:cubicBezTo>
                <a:lnTo>
                  <a:pt x="704945" y="103269"/>
                </a:lnTo>
                <a:lnTo>
                  <a:pt x="231802" y="576413"/>
                </a:lnTo>
                <a:lnTo>
                  <a:pt x="241498" y="590794"/>
                </a:lnTo>
                <a:cubicBezTo>
                  <a:pt x="247853" y="605827"/>
                  <a:pt x="251365" y="622359"/>
                  <a:pt x="251365" y="639718"/>
                </a:cubicBezTo>
                <a:cubicBezTo>
                  <a:pt x="251365" y="709155"/>
                  <a:pt x="195072" y="765448"/>
                  <a:pt x="125635" y="765448"/>
                </a:cubicBezTo>
                <a:cubicBezTo>
                  <a:pt x="56198" y="765448"/>
                  <a:pt x="0" y="709155"/>
                  <a:pt x="0" y="639718"/>
                </a:cubicBezTo>
                <a:cubicBezTo>
                  <a:pt x="0" y="570280"/>
                  <a:pt x="56293" y="514083"/>
                  <a:pt x="125635" y="514083"/>
                </a:cubicBezTo>
                <a:cubicBezTo>
                  <a:pt x="143018" y="514083"/>
                  <a:pt x="159567" y="517596"/>
                  <a:pt x="174614" y="523949"/>
                </a:cubicBezTo>
                <a:lnTo>
                  <a:pt x="188912" y="533578"/>
                </a:lnTo>
                <a:lnTo>
                  <a:pt x="661988" y="60502"/>
                </a:lnTo>
                <a:lnTo>
                  <a:pt x="620840" y="60502"/>
                </a:lnTo>
                <a:cubicBezTo>
                  <a:pt x="620173" y="60502"/>
                  <a:pt x="619411" y="60502"/>
                  <a:pt x="618744" y="60502"/>
                </a:cubicBezTo>
                <a:cubicBezTo>
                  <a:pt x="602076" y="59930"/>
                  <a:pt x="589026" y="45833"/>
                  <a:pt x="589598" y="29165"/>
                </a:cubicBezTo>
                <a:cubicBezTo>
                  <a:pt x="590169" y="12496"/>
                  <a:pt x="604266" y="-553"/>
                  <a:pt x="620935" y="18"/>
                </a:cubicBezTo>
                <a:close/>
              </a:path>
            </a:pathLst>
          </a:cu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Tree>
    <p:extLst>
      <p:ext uri="{BB962C8B-B14F-4D97-AF65-F5344CB8AC3E}">
        <p14:creationId xmlns:p14="http://schemas.microsoft.com/office/powerpoint/2010/main" val="313656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10" presetClass="entr" presetSubtype="0" fill="hold" grpId="0" nodeType="withEffect">
                                  <p:stCondLst>
                                    <p:cond delay="25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25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par>
                                <p:cTn id="41" presetID="10" presetClass="entr" presetSubtype="0" fill="hold" grpId="0" nodeType="with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par>
                                <p:cTn id="50" presetID="10" presetClass="entr" presetSubtype="0" fill="hold" nodeType="withEffect">
                                  <p:stCondLst>
                                    <p:cond delay="50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par>
                                <p:cTn id="53" presetID="10" presetClass="entr" presetSubtype="0" fill="hold" nodeType="withEffect">
                                  <p:stCondLst>
                                    <p:cond delay="75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nodeType="withEffect">
                                  <p:stCondLst>
                                    <p:cond delay="100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10" presetClass="entr" presetSubtype="0" fill="hold" nodeType="withEffect">
                                  <p:stCondLst>
                                    <p:cond delay="50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nodeType="withEffect">
                                  <p:stCondLst>
                                    <p:cond delay="75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par>
                                <p:cTn id="65" presetID="10" presetClass="entr" presetSubtype="0" fill="hold" nodeType="withEffect">
                                  <p:stCondLst>
                                    <p:cond delay="100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500"/>
                                        <p:tgtEl>
                                          <p:spTgt spid="21"/>
                                        </p:tgtEl>
                                      </p:cBhvr>
                                    </p:animEffect>
                                  </p:childTnLst>
                                </p:cTn>
                              </p:par>
                              <p:par>
                                <p:cTn id="68" presetID="10" presetClass="entr" presetSubtype="0" fill="hold" nodeType="withEffect">
                                  <p:stCondLst>
                                    <p:cond delay="500"/>
                                  </p:stCondLst>
                                  <p:childTnLst>
                                    <p:set>
                                      <p:cBhvr>
                                        <p:cTn id="69" dur="1" fill="hold">
                                          <p:stCondLst>
                                            <p:cond delay="0"/>
                                          </p:stCondLst>
                                        </p:cTn>
                                        <p:tgtEl>
                                          <p:spTgt spid="22"/>
                                        </p:tgtEl>
                                        <p:attrNameLst>
                                          <p:attrName>style.visibility</p:attrName>
                                        </p:attrNameLst>
                                      </p:cBhvr>
                                      <p:to>
                                        <p:strVal val="visible"/>
                                      </p:to>
                                    </p:set>
                                    <p:animEffect transition="in" filter="fade">
                                      <p:cBhvr>
                                        <p:cTn id="70" dur="500"/>
                                        <p:tgtEl>
                                          <p:spTgt spid="22"/>
                                        </p:tgtEl>
                                      </p:cBhvr>
                                    </p:animEffect>
                                  </p:childTnLst>
                                </p:cTn>
                              </p:par>
                              <p:par>
                                <p:cTn id="71" presetID="10" presetClass="entr" presetSubtype="0" fill="hold" nodeType="withEffect">
                                  <p:stCondLst>
                                    <p:cond delay="75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500"/>
                                        <p:tgtEl>
                                          <p:spTgt spid="23"/>
                                        </p:tgtEl>
                                      </p:cBhvr>
                                    </p:animEffect>
                                  </p:childTnLst>
                                </p:cTn>
                              </p:par>
                              <p:par>
                                <p:cTn id="74" presetID="10" presetClass="entr" presetSubtype="0" fill="hold" nodeType="withEffect">
                                  <p:stCondLst>
                                    <p:cond delay="1000"/>
                                  </p:stCondLst>
                                  <p:childTnLst>
                                    <p:set>
                                      <p:cBhvr>
                                        <p:cTn id="75" dur="1" fill="hold">
                                          <p:stCondLst>
                                            <p:cond delay="0"/>
                                          </p:stCondLst>
                                        </p:cTn>
                                        <p:tgtEl>
                                          <p:spTgt spid="24"/>
                                        </p:tgtEl>
                                        <p:attrNameLst>
                                          <p:attrName>style.visibility</p:attrName>
                                        </p:attrNameLst>
                                      </p:cBhvr>
                                      <p:to>
                                        <p:strVal val="visible"/>
                                      </p:to>
                                    </p:set>
                                    <p:animEffect transition="in" filter="fade">
                                      <p:cBhvr>
                                        <p:cTn id="7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P spid="11" grpId="0"/>
      <p:bldP spid="12" grpId="0"/>
      <p:bldP spid="13" grpId="0"/>
      <p:bldP spid="14" grpId="0"/>
      <p:bldP spid="15" grpId="0"/>
      <p:bldP spid="25" grpId="0" animBg="1"/>
      <p:bldP spid="26" grpId="0" animBg="1"/>
      <p:bldP spid="27" grpId="0" animBg="1"/>
      <p:bldP spid="2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67C7C50-0FED-16F0-94C2-761D26A22A8B}"/>
              </a:ext>
              <a:ext uri="{C183D7F6-B498-43B3-948B-1728B52AA6E4}">
                <adec:decorative xmlns:adec="http://schemas.microsoft.com/office/drawing/2017/decorative" val="1"/>
              </a:ext>
            </a:extLst>
          </p:cNvPr>
          <p:cNvSpPr>
            <a:spLocks/>
          </p:cNvSpPr>
          <p:nvPr/>
        </p:nvSpPr>
        <p:spPr bwMode="auto">
          <a:xfrm>
            <a:off x="3843562" y="608476"/>
            <a:ext cx="7764237" cy="5660562"/>
          </a:xfrm>
          <a:prstGeom prst="roundRect">
            <a:avLst>
              <a:gd name="adj" fmla="val 2605"/>
            </a:avLst>
          </a:prstGeom>
          <a:solidFill>
            <a:schemeClr val="bg1">
              <a:alpha val="65000"/>
            </a:schemeClr>
          </a:solidFill>
          <a:ln w="3175">
            <a:noFill/>
            <a:headEnd type="none" w="med" len="med"/>
            <a:tailEnd type="none" w="med" len="med"/>
          </a:ln>
          <a:effectLst>
            <a:outerShdw blurRad="38100" algn="ct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marR="0" lvl="0" indent="-171450" algn="l" defTabSz="1243234" rtl="0" eaLnBrk="1" fontAlgn="base" latinLnBrk="0" hangingPunct="1">
              <a:lnSpc>
                <a:spcPct val="100000"/>
              </a:lnSpc>
              <a:spcBef>
                <a:spcPts val="600"/>
              </a:spcBef>
              <a:spcAft>
                <a:spcPts val="0"/>
              </a:spcAft>
              <a:buClr>
                <a:srgbClr val="091F2C"/>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cxnSp>
        <p:nvCxnSpPr>
          <p:cNvPr id="31" name="Straight Connector 30">
            <a:extLst>
              <a:ext uri="{FF2B5EF4-FFF2-40B4-BE49-F238E27FC236}">
                <a16:creationId xmlns:a16="http://schemas.microsoft.com/office/drawing/2014/main" id="{97BB4DE5-D1E7-0A78-CA78-89FC60E10807}"/>
              </a:ext>
              <a:ext uri="{C183D7F6-B498-43B3-948B-1728B52AA6E4}">
                <adec:decorative xmlns:adec="http://schemas.microsoft.com/office/drawing/2017/decorative" val="1"/>
              </a:ext>
            </a:extLst>
          </p:cNvPr>
          <p:cNvCxnSpPr>
            <a:cxnSpLocks/>
          </p:cNvCxnSpPr>
          <p:nvPr/>
        </p:nvCxnSpPr>
        <p:spPr>
          <a:xfrm>
            <a:off x="3843562" y="2049606"/>
            <a:ext cx="757572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EE9C5E9-B9A0-1669-B9F4-2968EA21E7D1}"/>
              </a:ext>
              <a:ext uri="{C183D7F6-B498-43B3-948B-1728B52AA6E4}">
                <adec:decorative xmlns:adec="http://schemas.microsoft.com/office/drawing/2017/decorative" val="1"/>
              </a:ext>
            </a:extLst>
          </p:cNvPr>
          <p:cNvCxnSpPr>
            <a:cxnSpLocks/>
          </p:cNvCxnSpPr>
          <p:nvPr/>
        </p:nvCxnSpPr>
        <p:spPr>
          <a:xfrm>
            <a:off x="3843562" y="3438756"/>
            <a:ext cx="757572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DD5595-308E-191E-8013-E85A8B44AE6B}"/>
              </a:ext>
              <a:ext uri="{C183D7F6-B498-43B3-948B-1728B52AA6E4}">
                <adec:decorative xmlns:adec="http://schemas.microsoft.com/office/drawing/2017/decorative" val="1"/>
              </a:ext>
            </a:extLst>
          </p:cNvPr>
          <p:cNvCxnSpPr>
            <a:cxnSpLocks/>
          </p:cNvCxnSpPr>
          <p:nvPr/>
        </p:nvCxnSpPr>
        <p:spPr>
          <a:xfrm>
            <a:off x="3843562" y="4827906"/>
            <a:ext cx="7575728"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E2ABC207-2B8E-AD98-5A35-E2542F0A75F4}"/>
              </a:ext>
              <a:ext uri="{C183D7F6-B498-43B3-948B-1728B52AA6E4}">
                <adec:decorative xmlns:adec="http://schemas.microsoft.com/office/drawing/2017/decorative" val="1"/>
              </a:ext>
            </a:extLst>
          </p:cNvPr>
          <p:cNvSpPr/>
          <p:nvPr/>
        </p:nvSpPr>
        <p:spPr bwMode="auto">
          <a:xfrm>
            <a:off x="7487921" y="2101586"/>
            <a:ext cx="4018274" cy="1285190"/>
          </a:xfrm>
          <a:prstGeom prst="roundRect">
            <a:avLst>
              <a:gd name="adj" fmla="val 6587"/>
            </a:avLst>
          </a:prstGeom>
          <a:solidFill>
            <a:schemeClr val="bg1">
              <a:alpha val="6073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017FE7C1-4224-D83A-0BF3-2D847E77FF7B}"/>
              </a:ext>
              <a:ext uri="{C183D7F6-B498-43B3-948B-1728B52AA6E4}">
                <adec:decorative xmlns:adec="http://schemas.microsoft.com/office/drawing/2017/decorative" val="1"/>
              </a:ext>
            </a:extLst>
          </p:cNvPr>
          <p:cNvSpPr/>
          <p:nvPr/>
        </p:nvSpPr>
        <p:spPr bwMode="auto">
          <a:xfrm>
            <a:off x="7487921" y="4879888"/>
            <a:ext cx="4018274" cy="1285190"/>
          </a:xfrm>
          <a:prstGeom prst="roundRect">
            <a:avLst>
              <a:gd name="adj" fmla="val 6587"/>
            </a:avLst>
          </a:prstGeom>
          <a:solidFill>
            <a:schemeClr val="bg1">
              <a:alpha val="6073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70875205-F6A4-D5F2-3A07-BE5C0CEA116A}"/>
              </a:ext>
              <a:ext uri="{C183D7F6-B498-43B3-948B-1728B52AA6E4}">
                <adec:decorative xmlns:adec="http://schemas.microsoft.com/office/drawing/2017/decorative" val="1"/>
              </a:ext>
            </a:extLst>
          </p:cNvPr>
          <p:cNvSpPr/>
          <p:nvPr/>
        </p:nvSpPr>
        <p:spPr bwMode="auto">
          <a:xfrm>
            <a:off x="7487921" y="3490736"/>
            <a:ext cx="4018274" cy="1285190"/>
          </a:xfrm>
          <a:prstGeom prst="roundRect">
            <a:avLst>
              <a:gd name="adj" fmla="val 6587"/>
            </a:avLst>
          </a:prstGeom>
          <a:solidFill>
            <a:schemeClr val="bg1">
              <a:alpha val="6073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F8FB0622-F983-16FC-2EAB-171FEA7EF17F}"/>
              </a:ext>
              <a:ext uri="{C183D7F6-B498-43B3-948B-1728B52AA6E4}">
                <adec:decorative xmlns:adec="http://schemas.microsoft.com/office/drawing/2017/decorative" val="1"/>
              </a:ext>
            </a:extLst>
          </p:cNvPr>
          <p:cNvSpPr/>
          <p:nvPr/>
        </p:nvSpPr>
        <p:spPr bwMode="auto">
          <a:xfrm>
            <a:off x="7487921" y="712436"/>
            <a:ext cx="4018274" cy="1285190"/>
          </a:xfrm>
          <a:prstGeom prst="roundRect">
            <a:avLst>
              <a:gd name="adj" fmla="val 6587"/>
            </a:avLst>
          </a:prstGeom>
          <a:solidFill>
            <a:schemeClr val="bg1">
              <a:alpha val="6073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60" name="Picture 6">
            <a:extLst>
              <a:ext uri="{FF2B5EF4-FFF2-40B4-BE49-F238E27FC236}">
                <a16:creationId xmlns:a16="http://schemas.microsoft.com/office/drawing/2014/main" id="{DCE7FEAD-F387-CB2F-493C-0AC8D3E3388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0161" y="812502"/>
            <a:ext cx="477373" cy="40011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8">
            <a:extLst>
              <a:ext uri="{FF2B5EF4-FFF2-40B4-BE49-F238E27FC236}">
                <a16:creationId xmlns:a16="http://schemas.microsoft.com/office/drawing/2014/main" id="{F328A35C-82D2-814A-10A4-AD1489C06476}"/>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54" b="8360"/>
          <a:stretch/>
        </p:blipFill>
        <p:spPr bwMode="auto">
          <a:xfrm>
            <a:off x="9669298" y="836011"/>
            <a:ext cx="789146" cy="370146"/>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12">
            <a:extLst>
              <a:ext uri="{FF2B5EF4-FFF2-40B4-BE49-F238E27FC236}">
                <a16:creationId xmlns:a16="http://schemas.microsoft.com/office/drawing/2014/main" id="{36112CE9-6209-C300-C651-0059E1DF559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0161" y="2178369"/>
            <a:ext cx="387961" cy="400662"/>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14">
            <a:extLst>
              <a:ext uri="{FF2B5EF4-FFF2-40B4-BE49-F238E27FC236}">
                <a16:creationId xmlns:a16="http://schemas.microsoft.com/office/drawing/2014/main" id="{8208A777-36DF-337D-90F6-697AAC7EDEFA}"/>
              </a:ext>
              <a:ext uri="{C183D7F6-B498-43B3-948B-1728B52AA6E4}">
                <adec:decorative xmlns:adec="http://schemas.microsoft.com/office/drawing/2017/decorative" val="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1916" b="31916"/>
          <a:stretch/>
        </p:blipFill>
        <p:spPr bwMode="auto">
          <a:xfrm>
            <a:off x="9669298" y="2251217"/>
            <a:ext cx="558171" cy="201878"/>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16">
            <a:extLst>
              <a:ext uri="{FF2B5EF4-FFF2-40B4-BE49-F238E27FC236}">
                <a16:creationId xmlns:a16="http://schemas.microsoft.com/office/drawing/2014/main" id="{A685F195-AE3F-5999-A867-26067749AB3E}"/>
              </a:ext>
              <a:ext uri="{C183D7F6-B498-43B3-948B-1728B52AA6E4}">
                <adec:decorative xmlns:adec="http://schemas.microsoft.com/office/drawing/2017/decorative" val="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0354"/>
          <a:stretch/>
        </p:blipFill>
        <p:spPr bwMode="auto">
          <a:xfrm>
            <a:off x="7660161" y="3627682"/>
            <a:ext cx="1140939" cy="196325"/>
          </a:xfrm>
          <a:prstGeom prst="rect">
            <a:avLst/>
          </a:prstGeom>
          <a:noFill/>
          <a:extLst>
            <a:ext uri="{909E8E84-426E-40DD-AFC4-6F175D3DCCD1}">
              <a14:hiddenFill xmlns:a14="http://schemas.microsoft.com/office/drawing/2010/main">
                <a:solidFill>
                  <a:srgbClr val="FFFFFF"/>
                </a:solidFill>
              </a14:hiddenFill>
            </a:ext>
          </a:extLst>
        </p:spPr>
      </p:pic>
      <p:pic>
        <p:nvPicPr>
          <p:cNvPr id="1065" name="Picture 18">
            <a:extLst>
              <a:ext uri="{FF2B5EF4-FFF2-40B4-BE49-F238E27FC236}">
                <a16:creationId xmlns:a16="http://schemas.microsoft.com/office/drawing/2014/main" id="{F37974FE-5F98-F598-DD45-F92E71FB80F8}"/>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69298" y="3559543"/>
            <a:ext cx="850656" cy="32442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C6C99CEF-AC1D-475E-1A78-C437EFD6CAB1}"/>
              </a:ext>
              <a:ext uri="{C183D7F6-B498-43B3-948B-1728B52AA6E4}">
                <adec:decorative xmlns:adec="http://schemas.microsoft.com/office/drawing/2017/decorative" val="1"/>
              </a:ext>
            </a:extLst>
          </p:cNvPr>
          <p:cNvCxnSpPr>
            <a:cxnSpLocks/>
          </p:cNvCxnSpPr>
          <p:nvPr/>
        </p:nvCxnSpPr>
        <p:spPr>
          <a:xfrm>
            <a:off x="9497058" y="4013572"/>
            <a:ext cx="0" cy="646331"/>
          </a:xfrm>
          <a:prstGeom prst="line">
            <a:avLst/>
          </a:prstGeom>
          <a:ln w="317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1DD1616-D0D3-56E7-FB51-390091A02E3A}"/>
              </a:ext>
              <a:ext uri="{C183D7F6-B498-43B3-948B-1728B52AA6E4}">
                <adec:decorative xmlns:adec="http://schemas.microsoft.com/office/drawing/2017/decorative" val="1"/>
              </a:ext>
            </a:extLst>
          </p:cNvPr>
          <p:cNvCxnSpPr>
            <a:cxnSpLocks/>
          </p:cNvCxnSpPr>
          <p:nvPr/>
        </p:nvCxnSpPr>
        <p:spPr>
          <a:xfrm>
            <a:off x="9497058" y="1243051"/>
            <a:ext cx="0" cy="646331"/>
          </a:xfrm>
          <a:prstGeom prst="line">
            <a:avLst/>
          </a:prstGeom>
          <a:ln w="317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1F961A8-9979-4E91-365A-3FB7B22172CD}"/>
              </a:ext>
              <a:ext uri="{C183D7F6-B498-43B3-948B-1728B52AA6E4}">
                <adec:decorative xmlns:adec="http://schemas.microsoft.com/office/drawing/2017/decorative" val="1"/>
              </a:ext>
            </a:extLst>
          </p:cNvPr>
          <p:cNvCxnSpPr>
            <a:cxnSpLocks/>
          </p:cNvCxnSpPr>
          <p:nvPr/>
        </p:nvCxnSpPr>
        <p:spPr>
          <a:xfrm>
            <a:off x="9497058" y="2613457"/>
            <a:ext cx="0" cy="646331"/>
          </a:xfrm>
          <a:prstGeom prst="line">
            <a:avLst/>
          </a:prstGeom>
          <a:ln w="317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38F647-51AD-1EDA-4810-3CD5FA46D538}"/>
              </a:ext>
              <a:ext uri="{C183D7F6-B498-43B3-948B-1728B52AA6E4}">
                <adec:decorative xmlns:adec="http://schemas.microsoft.com/office/drawing/2017/decorative" val="1"/>
              </a:ext>
            </a:extLst>
          </p:cNvPr>
          <p:cNvCxnSpPr>
            <a:cxnSpLocks/>
          </p:cNvCxnSpPr>
          <p:nvPr/>
        </p:nvCxnSpPr>
        <p:spPr>
          <a:xfrm>
            <a:off x="9497058" y="5399167"/>
            <a:ext cx="0" cy="646331"/>
          </a:xfrm>
          <a:prstGeom prst="line">
            <a:avLst/>
          </a:prstGeom>
          <a:ln w="317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69" name="Picture 2">
            <a:extLst>
              <a:ext uri="{FF2B5EF4-FFF2-40B4-BE49-F238E27FC236}">
                <a16:creationId xmlns:a16="http://schemas.microsoft.com/office/drawing/2014/main" id="{170AEBE4-F8C5-07E6-800E-420198BE35CE}"/>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60162" y="5016874"/>
            <a:ext cx="900258" cy="202557"/>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35213DDB-C74C-59CF-5531-21FB6A381777}"/>
              </a:ext>
              <a:ext uri="{C183D7F6-B498-43B3-948B-1728B52AA6E4}">
                <adec:decorative xmlns:adec="http://schemas.microsoft.com/office/drawing/2017/decorative" val="1"/>
              </a:ext>
            </a:extLst>
          </p:cNvPr>
          <p:cNvCxnSpPr>
            <a:cxnSpLocks/>
          </p:cNvCxnSpPr>
          <p:nvPr/>
        </p:nvCxnSpPr>
        <p:spPr>
          <a:xfrm>
            <a:off x="3843562" y="2469861"/>
            <a:ext cx="0" cy="548640"/>
          </a:xfrm>
          <a:prstGeom prst="line">
            <a:avLst/>
          </a:prstGeom>
          <a:ln w="412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CCB27D8-AE37-78BE-F6B5-BC09F6622830}"/>
              </a:ext>
              <a:ext uri="{C183D7F6-B498-43B3-948B-1728B52AA6E4}">
                <adec:decorative xmlns:adec="http://schemas.microsoft.com/office/drawing/2017/decorative" val="1"/>
              </a:ext>
            </a:extLst>
          </p:cNvPr>
          <p:cNvCxnSpPr>
            <a:cxnSpLocks/>
          </p:cNvCxnSpPr>
          <p:nvPr/>
        </p:nvCxnSpPr>
        <p:spPr>
          <a:xfrm>
            <a:off x="3843562" y="3859011"/>
            <a:ext cx="0" cy="548640"/>
          </a:xfrm>
          <a:prstGeom prst="line">
            <a:avLst/>
          </a:prstGeom>
          <a:ln w="412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EAF3F73-DA1F-19F3-86D4-ADD4E827D9A7}"/>
              </a:ext>
              <a:ext uri="{C183D7F6-B498-43B3-948B-1728B52AA6E4}">
                <adec:decorative xmlns:adec="http://schemas.microsoft.com/office/drawing/2017/decorative" val="1"/>
              </a:ext>
            </a:extLst>
          </p:cNvPr>
          <p:cNvCxnSpPr>
            <a:cxnSpLocks/>
          </p:cNvCxnSpPr>
          <p:nvPr/>
        </p:nvCxnSpPr>
        <p:spPr>
          <a:xfrm>
            <a:off x="3843562" y="5248163"/>
            <a:ext cx="0" cy="548640"/>
          </a:xfrm>
          <a:prstGeom prst="line">
            <a:avLst/>
          </a:prstGeom>
          <a:ln w="412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06054B8-71D2-7CC5-A16C-F15790D4F24D}"/>
              </a:ext>
              <a:ext uri="{C183D7F6-B498-43B3-948B-1728B52AA6E4}">
                <adec:decorative xmlns:adec="http://schemas.microsoft.com/office/drawing/2017/decorative" val="1"/>
              </a:ext>
            </a:extLst>
          </p:cNvPr>
          <p:cNvCxnSpPr>
            <a:cxnSpLocks/>
          </p:cNvCxnSpPr>
          <p:nvPr/>
        </p:nvCxnSpPr>
        <p:spPr>
          <a:xfrm>
            <a:off x="3843562" y="1080711"/>
            <a:ext cx="0" cy="548640"/>
          </a:xfrm>
          <a:prstGeom prst="line">
            <a:avLst/>
          </a:prstGeom>
          <a:ln w="412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3961D73B-A9AA-4896-C01A-09E3D3FAD071}"/>
              </a:ext>
              <a:ext uri="{C183D7F6-B498-43B3-948B-1728B52AA6E4}">
                <adec:decorative xmlns:adec="http://schemas.microsoft.com/office/drawing/2017/decorative" val="1"/>
              </a:ext>
            </a:extLst>
          </p:cNvPr>
          <p:cNvGrpSpPr/>
          <p:nvPr/>
        </p:nvGrpSpPr>
        <p:grpSpPr>
          <a:xfrm>
            <a:off x="588964" y="1127783"/>
            <a:ext cx="754062" cy="754062"/>
            <a:chOff x="588963" y="1712459"/>
            <a:chExt cx="829309" cy="829309"/>
          </a:xfrm>
        </p:grpSpPr>
        <p:sp>
          <p:nvSpPr>
            <p:cNvPr id="26" name="Oval 25">
              <a:extLst>
                <a:ext uri="{FF2B5EF4-FFF2-40B4-BE49-F238E27FC236}">
                  <a16:creationId xmlns:a16="http://schemas.microsoft.com/office/drawing/2014/main" id="{A87D0002-8254-6A4B-83EC-AD2B415B2B6A}"/>
                </a:ext>
                <a:ext uri="{C183D7F6-B498-43B3-948B-1728B52AA6E4}">
                  <adec:decorative xmlns:adec="http://schemas.microsoft.com/office/drawing/2017/decorative" val="1"/>
                </a:ext>
              </a:extLst>
            </p:cNvPr>
            <p:cNvSpPr/>
            <p:nvPr/>
          </p:nvSpPr>
          <p:spPr bwMode="auto">
            <a:xfrm>
              <a:off x="588963" y="1712459"/>
              <a:ext cx="829309" cy="829309"/>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7" name="Graphic 9" descr="Icon of a circuit brain">
              <a:extLst>
                <a:ext uri="{FF2B5EF4-FFF2-40B4-BE49-F238E27FC236}">
                  <a16:creationId xmlns:a16="http://schemas.microsoft.com/office/drawing/2014/main" id="{FF4DD495-0CB2-68F8-316F-7EBB83D8D21A}"/>
                </a:ext>
              </a:extLst>
            </p:cNvPr>
            <p:cNvSpPr>
              <a:spLocks/>
            </p:cNvSpPr>
            <p:nvPr/>
          </p:nvSpPr>
          <p:spPr>
            <a:xfrm>
              <a:off x="745171" y="1868625"/>
              <a:ext cx="516892" cy="51697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0" name="Title 5">
            <a:extLst>
              <a:ext uri="{FF2B5EF4-FFF2-40B4-BE49-F238E27FC236}">
                <a16:creationId xmlns:a16="http://schemas.microsoft.com/office/drawing/2014/main" id="{883F0141-1B87-0E83-3E65-45D4146AE7FB}"/>
              </a:ext>
            </a:extLst>
          </p:cNvPr>
          <p:cNvSpPr>
            <a:spLocks noGrp="1" noChangeAspect="1"/>
          </p:cNvSpPr>
          <p:nvPr>
            <p:ph type="title"/>
          </p:nvPr>
        </p:nvSpPr>
        <p:spPr>
          <a:xfrm>
            <a:off x="584200" y="2248815"/>
            <a:ext cx="3108576" cy="2215991"/>
          </a:xfrm>
        </p:spPr>
        <p:txBody>
          <a:bodyPr/>
          <a:lstStyle/>
          <a:p>
            <a:r>
              <a:rPr lang="en-US" noProof="0">
                <a:ea typeface="+mj-ea"/>
                <a:cs typeface="+mj-cs"/>
              </a:rPr>
              <a:t>Top AI use cases for </a:t>
            </a:r>
            <a:r>
              <a:rPr lang="en-US" noProof="0">
                <a:solidFill>
                  <a:schemeClr val="accent2"/>
                </a:solidFill>
                <a:ea typeface="+mj-ea"/>
                <a:cs typeface="+mj-cs"/>
              </a:rPr>
              <a:t>Energy and Resources</a:t>
            </a:r>
          </a:p>
        </p:txBody>
      </p:sp>
      <p:sp>
        <p:nvSpPr>
          <p:cNvPr id="57" name="Rectangle 56">
            <a:extLst>
              <a:ext uri="{FF2B5EF4-FFF2-40B4-BE49-F238E27FC236}">
                <a16:creationId xmlns:a16="http://schemas.microsoft.com/office/drawing/2014/main" id="{928279CF-5791-B7EF-F288-AC6A958134AF}"/>
              </a:ext>
            </a:extLst>
          </p:cNvPr>
          <p:cNvSpPr/>
          <p:nvPr/>
        </p:nvSpPr>
        <p:spPr bwMode="auto">
          <a:xfrm>
            <a:off x="4127498" y="1031866"/>
            <a:ext cx="3141629"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rotect and strengthen critical infrastructure and energy and </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resources operations </a:t>
            </a:r>
          </a:p>
        </p:txBody>
      </p:sp>
      <p:sp>
        <p:nvSpPr>
          <p:cNvPr id="17" name="Rectangle 16">
            <a:extLst>
              <a:ext uri="{FF2B5EF4-FFF2-40B4-BE49-F238E27FC236}">
                <a16:creationId xmlns:a16="http://schemas.microsoft.com/office/drawing/2014/main" id="{1750B6CE-7D28-7972-A0B3-AC7B6A2A577B}"/>
              </a:ext>
            </a:extLst>
          </p:cNvPr>
          <p:cNvSpPr>
            <a:spLocks/>
          </p:cNvSpPr>
          <p:nvPr/>
        </p:nvSpPr>
        <p:spPr bwMode="auto">
          <a:xfrm>
            <a:off x="7660161" y="1416864"/>
            <a:ext cx="1664657"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0">
                  <a:extLst>
                    <a:ext uri="{A12FA001-AC4F-418D-AE19-62706E023703}">
                      <ahyp:hlinkClr xmlns:ahyp="http://schemas.microsoft.com/office/drawing/2018/hyperlinkcolor" val="tx"/>
                    </a:ext>
                  </a:extLst>
                </a:hlinkClick>
              </a:rPr>
              <a:t>Uniper</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Identified risks up to 2 times faster, increased audit productivity by 80%</a:t>
            </a:r>
          </a:p>
        </p:txBody>
      </p:sp>
      <p:sp>
        <p:nvSpPr>
          <p:cNvPr id="19" name="Rectangle 18">
            <a:extLst>
              <a:ext uri="{FF2B5EF4-FFF2-40B4-BE49-F238E27FC236}">
                <a16:creationId xmlns:a16="http://schemas.microsoft.com/office/drawing/2014/main" id="{AAD2CF28-E9D8-6BCC-29B1-7BC479E3E6F6}"/>
              </a:ext>
            </a:extLst>
          </p:cNvPr>
          <p:cNvSpPr>
            <a:spLocks/>
          </p:cNvSpPr>
          <p:nvPr/>
        </p:nvSpPr>
        <p:spPr bwMode="auto">
          <a:xfrm>
            <a:off x="9669298" y="1416864"/>
            <a:ext cx="1664657"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1">
                  <a:extLst>
                    <a:ext uri="{A12FA001-AC4F-418D-AE19-62706E023703}">
                      <ahyp:hlinkClr xmlns:ahyp="http://schemas.microsoft.com/office/drawing/2018/hyperlinkcolor" val="tx"/>
                    </a:ext>
                  </a:extLst>
                </a:hlinkClick>
              </a:rPr>
              <a:t>Galp Energia </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Increased visibility for </a:t>
            </a:r>
            <a:br>
              <a:rPr kumimoji="0" lang="en-US" sz="800" b="0" i="0" u="none" strike="noStrike" kern="1200" cap="none" spc="0" normalizeH="0" baseline="0" noProof="0">
                <a:ln>
                  <a:noFill/>
                </a:ln>
                <a:solidFill>
                  <a:srgbClr val="000000"/>
                </a:solidFill>
                <a:effectLst/>
                <a:uLnTx/>
                <a:uFillTx/>
                <a:latin typeface="Segoe UI"/>
                <a:ea typeface="+mn-ea"/>
                <a:cs typeface="+mn-cs"/>
              </a:rPr>
            </a:br>
            <a:r>
              <a:rPr kumimoji="0" lang="en-US" sz="800" b="0" i="0" u="none" strike="noStrike" kern="1200" cap="none" spc="0" normalizeH="0" baseline="0" noProof="0">
                <a:ln>
                  <a:noFill/>
                </a:ln>
                <a:solidFill>
                  <a:srgbClr val="000000"/>
                </a:solidFill>
                <a:effectLst/>
                <a:uLnTx/>
                <a:uFillTx/>
                <a:latin typeface="Segoe UI"/>
                <a:ea typeface="+mn-ea"/>
                <a:cs typeface="+mn-cs"/>
              </a:rPr>
              <a:t>security operations</a:t>
            </a:r>
          </a:p>
        </p:txBody>
      </p:sp>
      <p:sp>
        <p:nvSpPr>
          <p:cNvPr id="60" name="Rectangle 59">
            <a:extLst>
              <a:ext uri="{FF2B5EF4-FFF2-40B4-BE49-F238E27FC236}">
                <a16:creationId xmlns:a16="http://schemas.microsoft.com/office/drawing/2014/main" id="{0364ECB6-89FB-1864-28A7-9DF5E78543EB}"/>
              </a:ext>
            </a:extLst>
          </p:cNvPr>
          <p:cNvSpPr/>
          <p:nvPr/>
        </p:nvSpPr>
        <p:spPr bwMode="auto">
          <a:xfrm>
            <a:off x="4127498" y="2528738"/>
            <a:ext cx="3141629"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Improve frontline worker productivity and safety with real-time insights</a:t>
            </a:r>
          </a:p>
        </p:txBody>
      </p:sp>
      <p:sp>
        <p:nvSpPr>
          <p:cNvPr id="25" name="Rectangle 24">
            <a:extLst>
              <a:ext uri="{FF2B5EF4-FFF2-40B4-BE49-F238E27FC236}">
                <a16:creationId xmlns:a16="http://schemas.microsoft.com/office/drawing/2014/main" id="{050EAA32-BF9E-11E8-61D0-D1253334057F}"/>
              </a:ext>
            </a:extLst>
          </p:cNvPr>
          <p:cNvSpPr>
            <a:spLocks/>
          </p:cNvSpPr>
          <p:nvPr/>
        </p:nvSpPr>
        <p:spPr bwMode="auto">
          <a:xfrm>
            <a:off x="7660161" y="2613457"/>
            <a:ext cx="1664657" cy="6463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2">
                  <a:extLst>
                    <a:ext uri="{A12FA001-AC4F-418D-AE19-62706E023703}">
                      <ahyp:hlinkClr xmlns:ahyp="http://schemas.microsoft.com/office/drawing/2018/hyperlinkcolor" val="tx"/>
                    </a:ext>
                  </a:extLst>
                </a:hlinkClick>
              </a:rPr>
              <a:t>Chevron </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Real-time insights enhanced worker safety while lowering operational costs, empowering staff to focus on complex, higher-value tasks</a:t>
            </a:r>
          </a:p>
        </p:txBody>
      </p:sp>
      <p:sp>
        <p:nvSpPr>
          <p:cNvPr id="29" name="Rectangle 28">
            <a:extLst>
              <a:ext uri="{FF2B5EF4-FFF2-40B4-BE49-F238E27FC236}">
                <a16:creationId xmlns:a16="http://schemas.microsoft.com/office/drawing/2014/main" id="{A5F4A96A-7A6B-63EE-9087-A1349340319D}"/>
              </a:ext>
            </a:extLst>
          </p:cNvPr>
          <p:cNvSpPr>
            <a:spLocks/>
          </p:cNvSpPr>
          <p:nvPr/>
        </p:nvSpPr>
        <p:spPr bwMode="auto">
          <a:xfrm>
            <a:off x="9669299" y="2613457"/>
            <a:ext cx="1440026" cy="6463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3">
                  <a:extLst>
                    <a:ext uri="{A12FA001-AC4F-418D-AE19-62706E023703}">
                      <ahyp:hlinkClr xmlns:ahyp="http://schemas.microsoft.com/office/drawing/2018/hyperlinkcolor" val="tx"/>
                    </a:ext>
                  </a:extLst>
                </a:hlinkClick>
              </a:rPr>
              <a:t>EON</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Enabled teams to get the right technician to the job faster, with a 20% reduction </a:t>
            </a:r>
            <a:br>
              <a:rPr kumimoji="0" lang="en-US" sz="800" b="0" i="0" u="none" strike="noStrike" kern="1200" cap="none" spc="0" normalizeH="0" baseline="0" noProof="0">
                <a:ln>
                  <a:noFill/>
                </a:ln>
                <a:solidFill>
                  <a:srgbClr val="000000"/>
                </a:solidFill>
                <a:effectLst/>
                <a:uLnTx/>
                <a:uFillTx/>
                <a:latin typeface="Segoe UI"/>
                <a:ea typeface="+mn-ea"/>
                <a:cs typeface="+mn-cs"/>
              </a:rPr>
            </a:br>
            <a:r>
              <a:rPr kumimoji="0" lang="en-US" sz="800" b="0" i="0" u="none" strike="noStrike" kern="1200" cap="none" spc="0" normalizeH="0" baseline="0" noProof="0">
                <a:ln>
                  <a:noFill/>
                </a:ln>
                <a:solidFill>
                  <a:srgbClr val="000000"/>
                </a:solidFill>
                <a:effectLst/>
                <a:uLnTx/>
                <a:uFillTx/>
                <a:latin typeface="Segoe UI"/>
                <a:ea typeface="+mn-ea"/>
                <a:cs typeface="+mn-cs"/>
              </a:rPr>
              <a:t>in job duration</a:t>
            </a:r>
          </a:p>
        </p:txBody>
      </p:sp>
      <p:sp>
        <p:nvSpPr>
          <p:cNvPr id="62" name="Rectangle 61">
            <a:extLst>
              <a:ext uri="{FF2B5EF4-FFF2-40B4-BE49-F238E27FC236}">
                <a16:creationId xmlns:a16="http://schemas.microsoft.com/office/drawing/2014/main" id="{96F1C8FE-F956-036B-9301-C4EDB7DC5A28}"/>
              </a:ext>
            </a:extLst>
          </p:cNvPr>
          <p:cNvSpPr>
            <a:spLocks/>
          </p:cNvSpPr>
          <p:nvPr/>
        </p:nvSpPr>
        <p:spPr bwMode="auto">
          <a:xfrm>
            <a:off x="4127498" y="3810166"/>
            <a:ext cx="3141629"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hance energy and resources resilience with AI-powered decision making and forecasting</a:t>
            </a:r>
          </a:p>
        </p:txBody>
      </p:sp>
      <p:sp>
        <p:nvSpPr>
          <p:cNvPr id="32" name="Rectangle 31">
            <a:extLst>
              <a:ext uri="{FF2B5EF4-FFF2-40B4-BE49-F238E27FC236}">
                <a16:creationId xmlns:a16="http://schemas.microsoft.com/office/drawing/2014/main" id="{724B649D-40B7-E961-618F-64D4BE2CBE56}"/>
              </a:ext>
            </a:extLst>
          </p:cNvPr>
          <p:cNvSpPr>
            <a:spLocks/>
          </p:cNvSpPr>
          <p:nvPr/>
        </p:nvSpPr>
        <p:spPr bwMode="auto">
          <a:xfrm>
            <a:off x="7660162" y="4013572"/>
            <a:ext cx="1579088" cy="5232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err="1">
                <a:ln>
                  <a:noFill/>
                </a:ln>
                <a:solidFill>
                  <a:srgbClr val="0078D4"/>
                </a:solidFill>
                <a:effectLst/>
                <a:uLnTx/>
                <a:uFillTx/>
                <a:latin typeface="Segoe UI Semibold"/>
                <a:ea typeface="+mn-ea"/>
                <a:cs typeface="+mn-cs"/>
                <a:hlinkClick r:id="rId14">
                  <a:extLst>
                    <a:ext uri="{A12FA001-AC4F-418D-AE19-62706E023703}">
                      <ahyp:hlinkClr xmlns:ahyp="http://schemas.microsoft.com/office/drawing/2018/hyperlinkcolor" val="tx"/>
                    </a:ext>
                  </a:extLst>
                </a:hlinkClick>
              </a:rPr>
              <a:t>Enerjisa</a:t>
            </a: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4">
                  <a:extLst>
                    <a:ext uri="{A12FA001-AC4F-418D-AE19-62706E023703}">
                      <ahyp:hlinkClr xmlns:ahyp="http://schemas.microsoft.com/office/drawing/2018/hyperlinkcolor" val="tx"/>
                    </a:ext>
                  </a:extLst>
                </a:hlinkClick>
              </a:rPr>
              <a:t> </a:t>
            </a:r>
            <a:r>
              <a:rPr kumimoji="0" lang="en-US" sz="1000" b="0" i="0" u="none" strike="noStrike" kern="0" cap="none" spc="0" normalizeH="0" baseline="0" noProof="0" err="1">
                <a:ln>
                  <a:noFill/>
                </a:ln>
                <a:solidFill>
                  <a:srgbClr val="0078D4"/>
                </a:solidFill>
                <a:effectLst/>
                <a:uLnTx/>
                <a:uFillTx/>
                <a:latin typeface="Segoe UI Semibold"/>
                <a:ea typeface="+mn-ea"/>
                <a:cs typeface="+mn-cs"/>
                <a:hlinkClick r:id="rId14">
                  <a:extLst>
                    <a:ext uri="{A12FA001-AC4F-418D-AE19-62706E023703}">
                      <ahyp:hlinkClr xmlns:ahyp="http://schemas.microsoft.com/office/drawing/2018/hyperlinkcolor" val="tx"/>
                    </a:ext>
                  </a:extLst>
                </a:hlinkClick>
              </a:rPr>
              <a:t>Uretim</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naged energy generation 24/7 and was able to identify, assess and resolve 99% of issues remotely</a:t>
            </a:r>
          </a:p>
        </p:txBody>
      </p:sp>
      <p:sp>
        <p:nvSpPr>
          <p:cNvPr id="34" name="Rectangle 33">
            <a:extLst>
              <a:ext uri="{FF2B5EF4-FFF2-40B4-BE49-F238E27FC236}">
                <a16:creationId xmlns:a16="http://schemas.microsoft.com/office/drawing/2014/main" id="{8B00D31F-F278-BFAF-9B22-EA2113AC5842}"/>
              </a:ext>
            </a:extLst>
          </p:cNvPr>
          <p:cNvSpPr>
            <a:spLocks/>
          </p:cNvSpPr>
          <p:nvPr/>
        </p:nvSpPr>
        <p:spPr bwMode="auto">
          <a:xfrm>
            <a:off x="9669298" y="4013572"/>
            <a:ext cx="1664657" cy="6463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5">
                  <a:extLst>
                    <a:ext uri="{A12FA001-AC4F-418D-AE19-62706E023703}">
                      <ahyp:hlinkClr xmlns:ahyp="http://schemas.microsoft.com/office/drawing/2018/hyperlinkcolor" val="tx"/>
                    </a:ext>
                  </a:extLst>
                </a:hlinkClick>
              </a:rPr>
              <a:t>Petronas</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Empowered employees with accelerated knowledge extraction and enabled enterprise </a:t>
            </a:r>
            <a:br>
              <a:rPr kumimoji="0" lang="en-US" sz="800" b="0" i="0" u="none" strike="noStrike" kern="1200" cap="none" spc="0" normalizeH="0" baseline="0" noProof="0">
                <a:ln>
                  <a:noFill/>
                </a:ln>
                <a:solidFill>
                  <a:srgbClr val="000000"/>
                </a:solidFill>
                <a:effectLst/>
                <a:uLnTx/>
                <a:uFillTx/>
                <a:latin typeface="Segoe UI"/>
                <a:ea typeface="+mn-ea"/>
                <a:cs typeface="+mn-cs"/>
              </a:rPr>
            </a:br>
            <a:r>
              <a:rPr kumimoji="0" lang="en-US" sz="800" b="0" i="0" u="none" strike="noStrike" kern="1200" cap="none" spc="0" normalizeH="0" baseline="0" noProof="0">
                <a:ln>
                  <a:noFill/>
                </a:ln>
                <a:solidFill>
                  <a:srgbClr val="000000"/>
                </a:solidFill>
                <a:effectLst/>
                <a:uLnTx/>
                <a:uFillTx/>
                <a:latin typeface="Segoe UI"/>
                <a:ea typeface="+mn-ea"/>
                <a:cs typeface="+mn-cs"/>
              </a:rPr>
              <a:t>analytics at scale</a:t>
            </a:r>
          </a:p>
        </p:txBody>
      </p:sp>
      <p:sp>
        <p:nvSpPr>
          <p:cNvPr id="1024" name="Rectangle 1023">
            <a:extLst>
              <a:ext uri="{FF2B5EF4-FFF2-40B4-BE49-F238E27FC236}">
                <a16:creationId xmlns:a16="http://schemas.microsoft.com/office/drawing/2014/main" id="{55DCC795-1DCA-460C-1A00-51662FBCFB2F}"/>
              </a:ext>
            </a:extLst>
          </p:cNvPr>
          <p:cNvSpPr/>
          <p:nvPr/>
        </p:nvSpPr>
        <p:spPr bwMode="auto">
          <a:xfrm>
            <a:off x="4127498" y="5307040"/>
            <a:ext cx="3264371"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ccelerate exploration with generated insights and intelligent search</a:t>
            </a:r>
          </a:p>
        </p:txBody>
      </p:sp>
      <p:sp>
        <p:nvSpPr>
          <p:cNvPr id="39" name="Rectangle 38">
            <a:extLst>
              <a:ext uri="{FF2B5EF4-FFF2-40B4-BE49-F238E27FC236}">
                <a16:creationId xmlns:a16="http://schemas.microsoft.com/office/drawing/2014/main" id="{6CEBAA47-D74C-3A6D-EBDF-81914644D6F9}"/>
              </a:ext>
            </a:extLst>
          </p:cNvPr>
          <p:cNvSpPr>
            <a:spLocks/>
          </p:cNvSpPr>
          <p:nvPr/>
        </p:nvSpPr>
        <p:spPr bwMode="auto">
          <a:xfrm>
            <a:off x="7660161" y="5399167"/>
            <a:ext cx="1664657" cy="6463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err="1">
                <a:ln>
                  <a:noFill/>
                </a:ln>
                <a:solidFill>
                  <a:srgbClr val="0078D4"/>
                </a:solidFill>
                <a:effectLst/>
                <a:uLnTx/>
                <a:uFillTx/>
                <a:latin typeface="Segoe UI Semibold"/>
                <a:ea typeface="+mn-ea"/>
                <a:cs typeface="+mn-cs"/>
                <a:hlinkClick r:id="rId16">
                  <a:extLst>
                    <a:ext uri="{A12FA001-AC4F-418D-AE19-62706E023703}">
                      <ahyp:hlinkClr xmlns:ahyp="http://schemas.microsoft.com/office/drawing/2018/hyperlinkcolor" val="tx"/>
                    </a:ext>
                  </a:extLst>
                </a:hlinkClick>
              </a:rPr>
              <a:t>AkerBP</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Analyzed vast amounts of energy-related datasets, applications, and cloud services to gain valuable business insights </a:t>
            </a:r>
          </a:p>
        </p:txBody>
      </p:sp>
      <p:sp>
        <p:nvSpPr>
          <p:cNvPr id="4" name="Rectangle 3">
            <a:extLst>
              <a:ext uri="{FF2B5EF4-FFF2-40B4-BE49-F238E27FC236}">
                <a16:creationId xmlns:a16="http://schemas.microsoft.com/office/drawing/2014/main" id="{84C9151A-82BB-AC10-A8D2-C2D76AC1D1B2}"/>
              </a:ext>
            </a:extLst>
          </p:cNvPr>
          <p:cNvSpPr>
            <a:spLocks/>
          </p:cNvSpPr>
          <p:nvPr/>
        </p:nvSpPr>
        <p:spPr bwMode="auto">
          <a:xfrm>
            <a:off x="9660910" y="5399167"/>
            <a:ext cx="1615094" cy="5360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ea typeface="+mn-ea"/>
                <a:cs typeface="+mn-cs"/>
                <a:hlinkClick r:id="rId17">
                  <a:extLst>
                    <a:ext uri="{A12FA001-AC4F-418D-AE19-62706E023703}">
                      <ahyp:hlinkClr xmlns:ahyp="http://schemas.microsoft.com/office/drawing/2018/hyperlinkcolor" val="tx"/>
                    </a:ext>
                  </a:extLst>
                </a:hlinkClick>
              </a:rPr>
              <a:t>South32</a:t>
            </a:r>
            <a:endParaRPr kumimoji="0" lang="en-US" sz="10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base" latinLnBrk="0" hangingPunct="1">
              <a:lnSpc>
                <a:spcPct val="100000"/>
              </a:lnSpc>
              <a:spcBef>
                <a:spcPct val="0"/>
              </a:spcBef>
              <a:spcAft>
                <a:spcPts val="40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Unified data governance, improved discoverability, and made trusted data available across teams</a:t>
            </a:r>
          </a:p>
        </p:txBody>
      </p:sp>
      <p:pic>
        <p:nvPicPr>
          <p:cNvPr id="5" name="Picture 4">
            <a:extLst>
              <a:ext uri="{FF2B5EF4-FFF2-40B4-BE49-F238E27FC236}">
                <a16:creationId xmlns:a16="http://schemas.microsoft.com/office/drawing/2014/main" id="{4EB2CBDA-9C3D-6BF0-37A9-DD72BA33F265}"/>
              </a:ext>
              <a:ext uri="{C183D7F6-B498-43B3-948B-1728B52AA6E4}">
                <adec:decorative xmlns:adec="http://schemas.microsoft.com/office/drawing/2017/decorative" val="1"/>
              </a:ext>
            </a:extLst>
          </p:cNvPr>
          <p:cNvPicPr>
            <a:picLocks noChangeAspect="1"/>
          </p:cNvPicPr>
          <p:nvPr/>
        </p:nvPicPr>
        <p:blipFill>
          <a:blip r:embed="rId18"/>
          <a:srcRect l="28856" r="28380"/>
          <a:stretch>
            <a:fillRect/>
          </a:stretch>
        </p:blipFill>
        <p:spPr>
          <a:xfrm>
            <a:off x="9619832" y="4952996"/>
            <a:ext cx="294268" cy="344064"/>
          </a:xfrm>
          <a:prstGeom prst="rect">
            <a:avLst/>
          </a:prstGeom>
        </p:spPr>
      </p:pic>
    </p:spTree>
    <p:extLst>
      <p:ext uri="{BB962C8B-B14F-4D97-AF65-F5344CB8AC3E}">
        <p14:creationId xmlns:p14="http://schemas.microsoft.com/office/powerpoint/2010/main" val="394984706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24E1F30-8C41-56E2-74E7-A1D04DCC3FD2}"/>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E97D4377-14AD-DDCA-8B55-3077539A4119}"/>
              </a:ext>
            </a:extLst>
          </p:cNvPr>
          <p:cNvSpPr>
            <a:spLocks noGrp="1"/>
          </p:cNvSpPr>
          <p:nvPr>
            <p:ph type="title"/>
          </p:nvPr>
        </p:nvSpPr>
        <p:spPr>
          <a:xfrm>
            <a:off x="588263" y="2598005"/>
            <a:ext cx="2858445" cy="1661993"/>
          </a:xfrm>
        </p:spPr>
        <p:txBody>
          <a:bodyPr wrap="square">
            <a:spAutoFit/>
          </a:bodyPr>
          <a:lstStyle/>
          <a:p>
            <a:r>
              <a:rPr lang="en-US">
                <a:ea typeface="+mj-ea"/>
                <a:cs typeface="+mj-cs"/>
              </a:rPr>
              <a:t>Take the next step with Microsoft </a:t>
            </a:r>
          </a:p>
        </p:txBody>
      </p:sp>
      <p:sp>
        <p:nvSpPr>
          <p:cNvPr id="25" name="Rectangle: Rounded Corners 24">
            <a:extLst>
              <a:ext uri="{FF2B5EF4-FFF2-40B4-BE49-F238E27FC236}">
                <a16:creationId xmlns:a16="http://schemas.microsoft.com/office/drawing/2014/main" id="{17D4D3FE-F0DD-F164-EFB1-03A1313E5919}"/>
              </a:ext>
              <a:ext uri="{C183D7F6-B498-43B3-948B-1728B52AA6E4}">
                <adec:decorative xmlns:adec="http://schemas.microsoft.com/office/drawing/2017/decorative" val="1"/>
              </a:ext>
            </a:extLst>
          </p:cNvPr>
          <p:cNvSpPr/>
          <p:nvPr/>
        </p:nvSpPr>
        <p:spPr bwMode="auto">
          <a:xfrm>
            <a:off x="3648362" y="914400"/>
            <a:ext cx="7957850" cy="5448300"/>
          </a:xfrm>
          <a:prstGeom prst="roundRect">
            <a:avLst>
              <a:gd name="adj" fmla="val 3394"/>
            </a:avLst>
          </a:prstGeom>
          <a:solidFill>
            <a:srgbClr val="EDF6F3"/>
          </a:solidFill>
          <a:ln w="19050">
            <a:solidFill>
              <a:srgbClr val="091F2C">
                <a:alpha val="25000"/>
              </a:srgbClr>
            </a:solidFill>
          </a:ln>
        </p:spPr>
        <p:txBody>
          <a:bodyPr wrap="square" lIns="91440" tIns="18288" rIns="91440" bIns="36576"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400" b="0" i="0" u="none" strike="noStrike" kern="1200" cap="none" spc="0" normalizeH="0" baseline="0" noProof="0">
              <a:ln w="3175">
                <a:noFill/>
              </a:ln>
              <a:solidFill>
                <a:srgbClr val="000000"/>
              </a:solidFill>
              <a:effectLst/>
              <a:uLnTx/>
              <a:uFillTx/>
              <a:latin typeface="Segoe UI Semibold"/>
              <a:ea typeface="+mn-ea"/>
              <a:cs typeface="Segoe UI"/>
            </a:endParaRPr>
          </a:p>
        </p:txBody>
      </p:sp>
      <p:sp>
        <p:nvSpPr>
          <p:cNvPr id="3" name="TextBox 2">
            <a:extLst>
              <a:ext uri="{FF2B5EF4-FFF2-40B4-BE49-F238E27FC236}">
                <a16:creationId xmlns:a16="http://schemas.microsoft.com/office/drawing/2014/main" id="{80A0AB90-6851-490F-0D21-EC6D234C9112}"/>
              </a:ext>
              <a:ext uri="{C183D7F6-B498-43B3-948B-1728B52AA6E4}">
                <adec:decorative xmlns:adec="http://schemas.microsoft.com/office/drawing/2017/decorative" val="0"/>
              </a:ext>
            </a:extLst>
          </p:cNvPr>
          <p:cNvSpPr txBox="1">
            <a:spLocks/>
          </p:cNvSpPr>
          <p:nvPr/>
        </p:nvSpPr>
        <p:spPr>
          <a:xfrm>
            <a:off x="3739802" y="1005840"/>
            <a:ext cx="1163275" cy="5265419"/>
          </a:xfrm>
          <a:prstGeom prst="roundRect">
            <a:avLst>
              <a:gd name="adj" fmla="val 13431"/>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59" name="Straight Connector 58">
            <a:extLst>
              <a:ext uri="{FF2B5EF4-FFF2-40B4-BE49-F238E27FC236}">
                <a16:creationId xmlns:a16="http://schemas.microsoft.com/office/drawing/2014/main" id="{2936B830-B3FC-F9FD-B3AA-573F33AC8848}"/>
              </a:ext>
            </a:extLst>
          </p:cNvPr>
          <p:cNvCxnSpPr>
            <a:cxnSpLocks/>
          </p:cNvCxnSpPr>
          <p:nvPr/>
        </p:nvCxnSpPr>
        <p:spPr>
          <a:xfrm>
            <a:off x="5175649" y="3469530"/>
            <a:ext cx="3361634"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53780F-9A9A-29E7-8303-46F548165654}"/>
              </a:ext>
            </a:extLst>
          </p:cNvPr>
          <p:cNvCxnSpPr>
            <a:cxnSpLocks/>
          </p:cNvCxnSpPr>
          <p:nvPr/>
        </p:nvCxnSpPr>
        <p:spPr>
          <a:xfrm>
            <a:off x="5175649" y="4870393"/>
            <a:ext cx="3361634"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D06F16E-21BB-5045-42D9-69397E8C88A6}"/>
              </a:ext>
              <a:ext uri="{C183D7F6-B498-43B3-948B-1728B52AA6E4}">
                <adec:decorative xmlns:adec="http://schemas.microsoft.com/office/drawing/2017/decorative" val="0"/>
              </a:ext>
            </a:extLst>
          </p:cNvPr>
          <p:cNvSpPr txBox="1">
            <a:spLocks/>
          </p:cNvSpPr>
          <p:nvPr/>
        </p:nvSpPr>
        <p:spPr>
          <a:xfrm>
            <a:off x="8772996" y="1005840"/>
            <a:ext cx="2741776" cy="5266944"/>
          </a:xfrm>
          <a:prstGeom prst="roundRect">
            <a:avLst>
              <a:gd name="adj" fmla="val 4587"/>
            </a:avLst>
          </a:prstGeom>
          <a:gradFill flip="none" rotWithShape="1">
            <a:gsLst>
              <a:gs pos="31000">
                <a:srgbClr val="318581"/>
              </a:gs>
              <a:gs pos="100000">
                <a:schemeClr val="accent1"/>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0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cs typeface="Segoe UI" pitchFamily="34" charset="0"/>
            </a:endParaRPr>
          </a:p>
        </p:txBody>
      </p:sp>
      <p:cxnSp>
        <p:nvCxnSpPr>
          <p:cNvPr id="58" name="Straight Connector 57">
            <a:extLst>
              <a:ext uri="{FF2B5EF4-FFF2-40B4-BE49-F238E27FC236}">
                <a16:creationId xmlns:a16="http://schemas.microsoft.com/office/drawing/2014/main" id="{4C6ABF26-7EAF-B925-497E-6A7757FE88A7}"/>
              </a:ext>
            </a:extLst>
          </p:cNvPr>
          <p:cNvCxnSpPr>
            <a:cxnSpLocks/>
          </p:cNvCxnSpPr>
          <p:nvPr/>
        </p:nvCxnSpPr>
        <p:spPr>
          <a:xfrm>
            <a:off x="5175649" y="2237685"/>
            <a:ext cx="3361634" cy="0"/>
          </a:xfrm>
          <a:prstGeom prst="line">
            <a:avLst/>
          </a:prstGeom>
          <a:ln w="63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A03C6C2-5A64-94B0-8E50-F39D44C14825}"/>
              </a:ext>
            </a:extLst>
          </p:cNvPr>
          <p:cNvCxnSpPr>
            <a:cxnSpLocks/>
          </p:cNvCxnSpPr>
          <p:nvPr/>
        </p:nvCxnSpPr>
        <p:spPr>
          <a:xfrm>
            <a:off x="8950998" y="2237685"/>
            <a:ext cx="2385772" cy="0"/>
          </a:xfrm>
          <a:prstGeom prst="line">
            <a:avLst/>
          </a:prstGeom>
          <a:ln w="6350">
            <a:solidFill>
              <a:schemeClr val="bg1">
                <a:alpha val="19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2F7E961-0655-BACD-E789-814C8E979E83}"/>
              </a:ext>
            </a:extLst>
          </p:cNvPr>
          <p:cNvCxnSpPr>
            <a:cxnSpLocks/>
          </p:cNvCxnSpPr>
          <p:nvPr/>
        </p:nvCxnSpPr>
        <p:spPr>
          <a:xfrm>
            <a:off x="8950998" y="3638548"/>
            <a:ext cx="2385772" cy="0"/>
          </a:xfrm>
          <a:prstGeom prst="line">
            <a:avLst/>
          </a:prstGeom>
          <a:ln w="6350">
            <a:solidFill>
              <a:schemeClr val="bg1">
                <a:alpha val="19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0FD6366-450D-277C-64F2-CE3BD47C1CF4}"/>
              </a:ext>
            </a:extLst>
          </p:cNvPr>
          <p:cNvCxnSpPr>
            <a:cxnSpLocks/>
          </p:cNvCxnSpPr>
          <p:nvPr/>
        </p:nvCxnSpPr>
        <p:spPr>
          <a:xfrm>
            <a:off x="8950998" y="5039411"/>
            <a:ext cx="2385772" cy="0"/>
          </a:xfrm>
          <a:prstGeom prst="line">
            <a:avLst/>
          </a:prstGeom>
          <a:ln w="6350">
            <a:solidFill>
              <a:schemeClr val="bg1">
                <a:alpha val="19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8C061FF-C119-42A9-34B2-06BD83B594FA}"/>
              </a:ext>
            </a:extLst>
          </p:cNvPr>
          <p:cNvSpPr txBox="1"/>
          <p:nvPr/>
        </p:nvSpPr>
        <p:spPr>
          <a:xfrm>
            <a:off x="5175649" y="1313986"/>
            <a:ext cx="3361634" cy="615553"/>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Explore use cases by function or industry </a:t>
            </a:r>
          </a:p>
        </p:txBody>
      </p:sp>
      <p:sp>
        <p:nvSpPr>
          <p:cNvPr id="20" name="TextBox 19">
            <a:extLst>
              <a:ext uri="{FF2B5EF4-FFF2-40B4-BE49-F238E27FC236}">
                <a16:creationId xmlns:a16="http://schemas.microsoft.com/office/drawing/2014/main" id="{C7BAC8CB-5917-4F23-AE80-1B13960D11B6}"/>
              </a:ext>
              <a:ext uri="{C183D7F6-B498-43B3-948B-1728B52AA6E4}">
                <adec:decorative xmlns:adec="http://schemas.microsoft.com/office/drawing/2017/decorative" val="0"/>
              </a:ext>
            </a:extLst>
          </p:cNvPr>
          <p:cNvSpPr txBox="1">
            <a:spLocks/>
          </p:cNvSpPr>
          <p:nvPr/>
        </p:nvSpPr>
        <p:spPr>
          <a:xfrm>
            <a:off x="8950998" y="1174858"/>
            <a:ext cx="2385772" cy="893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j-ea"/>
                <a:cs typeface="Segoe UI" pitchFamily="34" charset="0"/>
              </a:rPr>
              <a:t>AI Use Cases: Achieve Organizational Goals</a:t>
            </a:r>
          </a:p>
        </p:txBody>
      </p:sp>
      <p:sp>
        <p:nvSpPr>
          <p:cNvPr id="11" name="Freeform: Shape 10">
            <a:extLst>
              <a:ext uri="{FF2B5EF4-FFF2-40B4-BE49-F238E27FC236}">
                <a16:creationId xmlns:a16="http://schemas.microsoft.com/office/drawing/2014/main" id="{CC6DD477-0508-89E2-4354-0778B750EA87}"/>
              </a:ext>
              <a:ext uri="{C183D7F6-B498-43B3-948B-1728B52AA6E4}">
                <adec:decorative xmlns:adec="http://schemas.microsoft.com/office/drawing/2017/decorative" val="1"/>
              </a:ext>
            </a:extLst>
          </p:cNvPr>
          <p:cNvSpPr/>
          <p:nvPr/>
        </p:nvSpPr>
        <p:spPr>
          <a:xfrm>
            <a:off x="4052304" y="1391075"/>
            <a:ext cx="538270" cy="461374"/>
          </a:xfrm>
          <a:custGeom>
            <a:avLst/>
            <a:gdLst>
              <a:gd name="connsiteX0" fmla="*/ 68329 w 318854"/>
              <a:gd name="connsiteY0" fmla="*/ 128925 h 273302"/>
              <a:gd name="connsiteX1" fmla="*/ 22779 w 318854"/>
              <a:gd name="connsiteY1" fmla="*/ 174429 h 273302"/>
              <a:gd name="connsiteX2" fmla="*/ 68329 w 318854"/>
              <a:gd name="connsiteY2" fmla="*/ 219932 h 273302"/>
              <a:gd name="connsiteX3" fmla="*/ 113879 w 318854"/>
              <a:gd name="connsiteY3" fmla="*/ 174429 h 273302"/>
              <a:gd name="connsiteX4" fmla="*/ 68329 w 318854"/>
              <a:gd name="connsiteY4" fmla="*/ 128925 h 273302"/>
              <a:gd name="connsiteX5" fmla="*/ 56940 w 318854"/>
              <a:gd name="connsiteY5" fmla="*/ 107129 h 273302"/>
              <a:gd name="connsiteX6" fmla="*/ 107914 w 318854"/>
              <a:gd name="connsiteY6" fmla="*/ 118794 h 273302"/>
              <a:gd name="connsiteX7" fmla="*/ 124022 w 318854"/>
              <a:gd name="connsiteY7" fmla="*/ 213970 h 273302"/>
              <a:gd name="connsiteX8" fmla="*/ 163680 w 318854"/>
              <a:gd name="connsiteY8" fmla="*/ 253604 h 273302"/>
              <a:gd name="connsiteX9" fmla="*/ 164247 w 318854"/>
              <a:gd name="connsiteY9" fmla="*/ 254172 h 273302"/>
              <a:gd name="connsiteX10" fmla="*/ 163680 w 318854"/>
              <a:gd name="connsiteY10" fmla="*/ 270249 h 273302"/>
              <a:gd name="connsiteX11" fmla="*/ 147586 w 318854"/>
              <a:gd name="connsiteY11" fmla="*/ 269683 h 273302"/>
              <a:gd name="connsiteX12" fmla="*/ 107912 w 318854"/>
              <a:gd name="connsiteY12" fmla="*/ 230063 h 273302"/>
              <a:gd name="connsiteX13" fmla="*/ 68329 w 318854"/>
              <a:gd name="connsiteY13" fmla="*/ 242683 h 273302"/>
              <a:gd name="connsiteX14" fmla="*/ 28747 w 318854"/>
              <a:gd name="connsiteY14" fmla="*/ 230063 h 273302"/>
              <a:gd name="connsiteX15" fmla="*/ 12639 w 318854"/>
              <a:gd name="connsiteY15" fmla="*/ 134886 h 273302"/>
              <a:gd name="connsiteX16" fmla="*/ 56940 w 318854"/>
              <a:gd name="connsiteY16" fmla="*/ 107129 h 273302"/>
              <a:gd name="connsiteX17" fmla="*/ 87309 w 318854"/>
              <a:gd name="connsiteY17" fmla="*/ 60671 h 273302"/>
              <a:gd name="connsiteX18" fmla="*/ 75921 w 318854"/>
              <a:gd name="connsiteY18" fmla="*/ 72048 h 273302"/>
              <a:gd name="connsiteX19" fmla="*/ 87309 w 318854"/>
              <a:gd name="connsiteY19" fmla="*/ 83424 h 273302"/>
              <a:gd name="connsiteX20" fmla="*/ 186000 w 318854"/>
              <a:gd name="connsiteY20" fmla="*/ 83424 h 273302"/>
              <a:gd name="connsiteX21" fmla="*/ 197388 w 318854"/>
              <a:gd name="connsiteY21" fmla="*/ 72048 h 273302"/>
              <a:gd name="connsiteX22" fmla="*/ 186000 w 318854"/>
              <a:gd name="connsiteY22" fmla="*/ 60671 h 273302"/>
              <a:gd name="connsiteX23" fmla="*/ 56943 w 318854"/>
              <a:gd name="connsiteY23" fmla="*/ 0 h 273302"/>
              <a:gd name="connsiteX24" fmla="*/ 277100 w 318854"/>
              <a:gd name="connsiteY24" fmla="*/ 0 h 273302"/>
              <a:gd name="connsiteX25" fmla="*/ 318854 w 318854"/>
              <a:gd name="connsiteY25" fmla="*/ 41712 h 273302"/>
              <a:gd name="connsiteX26" fmla="*/ 318854 w 318854"/>
              <a:gd name="connsiteY26" fmla="*/ 200973 h 273302"/>
              <a:gd name="connsiteX27" fmla="*/ 277100 w 318854"/>
              <a:gd name="connsiteY27" fmla="*/ 242685 h 273302"/>
              <a:gd name="connsiteX28" fmla="*/ 174233 w 318854"/>
              <a:gd name="connsiteY28" fmla="*/ 242685 h 273302"/>
              <a:gd name="connsiteX29" fmla="*/ 143107 w 318854"/>
              <a:gd name="connsiteY29" fmla="*/ 211592 h 273302"/>
              <a:gd name="connsiteX30" fmla="*/ 151838 w 318854"/>
              <a:gd name="connsiteY30" fmla="*/ 174431 h 273302"/>
              <a:gd name="connsiteX31" fmla="*/ 216366 w 318854"/>
              <a:gd name="connsiteY31" fmla="*/ 174431 h 273302"/>
              <a:gd name="connsiteX32" fmla="*/ 227754 w 318854"/>
              <a:gd name="connsiteY32" fmla="*/ 163055 h 273302"/>
              <a:gd name="connsiteX33" fmla="*/ 216366 w 318854"/>
              <a:gd name="connsiteY33" fmla="*/ 151678 h 273302"/>
              <a:gd name="connsiteX34" fmla="*/ 148694 w 318854"/>
              <a:gd name="connsiteY34" fmla="*/ 151678 h 273302"/>
              <a:gd name="connsiteX35" fmla="*/ 138339 w 318854"/>
              <a:gd name="connsiteY35" fmla="*/ 128927 h 273302"/>
              <a:gd name="connsiteX36" fmla="*/ 246733 w 318854"/>
              <a:gd name="connsiteY36" fmla="*/ 128927 h 273302"/>
              <a:gd name="connsiteX37" fmla="*/ 258121 w 318854"/>
              <a:gd name="connsiteY37" fmla="*/ 117551 h 273302"/>
              <a:gd name="connsiteX38" fmla="*/ 246733 w 318854"/>
              <a:gd name="connsiteY38" fmla="*/ 106175 h 273302"/>
              <a:gd name="connsiteX39" fmla="*/ 116354 w 318854"/>
              <a:gd name="connsiteY39" fmla="*/ 106175 h 273302"/>
              <a:gd name="connsiteX40" fmla="*/ 68330 w 318854"/>
              <a:gd name="connsiteY40" fmla="*/ 91007 h 273302"/>
              <a:gd name="connsiteX41" fmla="*/ 15188 w 318854"/>
              <a:gd name="connsiteY41" fmla="*/ 110073 h 273302"/>
              <a:gd name="connsiteX42" fmla="*/ 15188 w 318854"/>
              <a:gd name="connsiteY42" fmla="*/ 41712 h 273302"/>
              <a:gd name="connsiteX43" fmla="*/ 56943 w 318854"/>
              <a:gd name="connsiteY43" fmla="*/ 0 h 27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854" h="273302">
                <a:moveTo>
                  <a:pt x="68329" y="128925"/>
                </a:moveTo>
                <a:cubicBezTo>
                  <a:pt x="43173" y="128925"/>
                  <a:pt x="22779" y="149297"/>
                  <a:pt x="22779" y="174429"/>
                </a:cubicBezTo>
                <a:cubicBezTo>
                  <a:pt x="22779" y="199560"/>
                  <a:pt x="43173" y="219932"/>
                  <a:pt x="68329" y="219932"/>
                </a:cubicBezTo>
                <a:cubicBezTo>
                  <a:pt x="93486" y="219932"/>
                  <a:pt x="113879" y="199560"/>
                  <a:pt x="113879" y="174429"/>
                </a:cubicBezTo>
                <a:cubicBezTo>
                  <a:pt x="113879" y="149297"/>
                  <a:pt x="93486" y="128925"/>
                  <a:pt x="68329" y="128925"/>
                </a:cubicBezTo>
                <a:close/>
                <a:moveTo>
                  <a:pt x="56940" y="107129"/>
                </a:moveTo>
                <a:cubicBezTo>
                  <a:pt x="74182" y="104217"/>
                  <a:pt x="92535" y="107875"/>
                  <a:pt x="107914" y="118794"/>
                </a:cubicBezTo>
                <a:cubicBezTo>
                  <a:pt x="138669" y="140633"/>
                  <a:pt x="145882" y="183246"/>
                  <a:pt x="124022" y="213970"/>
                </a:cubicBezTo>
                <a:lnTo>
                  <a:pt x="163680" y="253604"/>
                </a:lnTo>
                <a:cubicBezTo>
                  <a:pt x="163876" y="253787"/>
                  <a:pt x="164066" y="253977"/>
                  <a:pt x="164247" y="254172"/>
                </a:cubicBezTo>
                <a:cubicBezTo>
                  <a:pt x="168535" y="258770"/>
                  <a:pt x="168280" y="265966"/>
                  <a:pt x="163680" y="270249"/>
                </a:cubicBezTo>
                <a:cubicBezTo>
                  <a:pt x="159079" y="274533"/>
                  <a:pt x="151873" y="274278"/>
                  <a:pt x="147586" y="269683"/>
                </a:cubicBezTo>
                <a:lnTo>
                  <a:pt x="107912" y="230063"/>
                </a:lnTo>
                <a:cubicBezTo>
                  <a:pt x="96358" y="238291"/>
                  <a:pt x="82517" y="242705"/>
                  <a:pt x="68329" y="242683"/>
                </a:cubicBezTo>
                <a:cubicBezTo>
                  <a:pt x="54143" y="242683"/>
                  <a:pt x="40310" y="238272"/>
                  <a:pt x="28747" y="230063"/>
                </a:cubicBezTo>
                <a:cubicBezTo>
                  <a:pt x="-2010" y="208223"/>
                  <a:pt x="-9222" y="165612"/>
                  <a:pt x="12639" y="134886"/>
                </a:cubicBezTo>
                <a:cubicBezTo>
                  <a:pt x="23570" y="119523"/>
                  <a:pt x="39699" y="110040"/>
                  <a:pt x="56940" y="107129"/>
                </a:cubicBezTo>
                <a:close/>
                <a:moveTo>
                  <a:pt x="87309" y="60671"/>
                </a:moveTo>
                <a:cubicBezTo>
                  <a:pt x="81019" y="60671"/>
                  <a:pt x="75921" y="65764"/>
                  <a:pt x="75921" y="72048"/>
                </a:cubicBezTo>
                <a:cubicBezTo>
                  <a:pt x="75921" y="78330"/>
                  <a:pt x="81019" y="83424"/>
                  <a:pt x="87309" y="83424"/>
                </a:cubicBezTo>
                <a:lnTo>
                  <a:pt x="186000" y="83424"/>
                </a:lnTo>
                <a:cubicBezTo>
                  <a:pt x="192290" y="83424"/>
                  <a:pt x="197388" y="78330"/>
                  <a:pt x="197388" y="72048"/>
                </a:cubicBezTo>
                <a:cubicBezTo>
                  <a:pt x="197388" y="65764"/>
                  <a:pt x="192290" y="60671"/>
                  <a:pt x="186000" y="60671"/>
                </a:cubicBezTo>
                <a:close/>
                <a:moveTo>
                  <a:pt x="56943" y="0"/>
                </a:moveTo>
                <a:lnTo>
                  <a:pt x="277100" y="0"/>
                </a:lnTo>
                <a:cubicBezTo>
                  <a:pt x="300161" y="0"/>
                  <a:pt x="318854" y="18674"/>
                  <a:pt x="318854" y="41712"/>
                </a:cubicBezTo>
                <a:lnTo>
                  <a:pt x="318854" y="200973"/>
                </a:lnTo>
                <a:cubicBezTo>
                  <a:pt x="318854" y="224011"/>
                  <a:pt x="300161" y="242685"/>
                  <a:pt x="277100" y="242685"/>
                </a:cubicBezTo>
                <a:lnTo>
                  <a:pt x="174233" y="242685"/>
                </a:lnTo>
                <a:lnTo>
                  <a:pt x="143107" y="211592"/>
                </a:lnTo>
                <a:cubicBezTo>
                  <a:pt x="148694" y="200413"/>
                  <a:pt x="151838" y="187777"/>
                  <a:pt x="151838" y="174431"/>
                </a:cubicBezTo>
                <a:lnTo>
                  <a:pt x="216366" y="174431"/>
                </a:lnTo>
                <a:cubicBezTo>
                  <a:pt x="222656" y="174431"/>
                  <a:pt x="227754" y="169337"/>
                  <a:pt x="227754" y="163055"/>
                </a:cubicBezTo>
                <a:cubicBezTo>
                  <a:pt x="227754" y="156772"/>
                  <a:pt x="222656" y="151678"/>
                  <a:pt x="216366" y="151678"/>
                </a:cubicBezTo>
                <a:lnTo>
                  <a:pt x="148694" y="151678"/>
                </a:lnTo>
                <a:cubicBezTo>
                  <a:pt x="146413" y="143616"/>
                  <a:pt x="142922" y="135945"/>
                  <a:pt x="138339" y="128927"/>
                </a:cubicBezTo>
                <a:lnTo>
                  <a:pt x="246733" y="128927"/>
                </a:lnTo>
                <a:cubicBezTo>
                  <a:pt x="253023" y="128927"/>
                  <a:pt x="258121" y="123833"/>
                  <a:pt x="258121" y="117551"/>
                </a:cubicBezTo>
                <a:cubicBezTo>
                  <a:pt x="258121" y="111269"/>
                  <a:pt x="253023" y="106175"/>
                  <a:pt x="246733" y="106175"/>
                </a:cubicBezTo>
                <a:lnTo>
                  <a:pt x="116354" y="106175"/>
                </a:lnTo>
                <a:cubicBezTo>
                  <a:pt x="102765" y="96619"/>
                  <a:pt x="86200" y="91007"/>
                  <a:pt x="68330" y="91007"/>
                </a:cubicBezTo>
                <a:cubicBezTo>
                  <a:pt x="48135" y="91007"/>
                  <a:pt x="29613" y="98166"/>
                  <a:pt x="15188" y="110073"/>
                </a:cubicBezTo>
                <a:lnTo>
                  <a:pt x="15188" y="41712"/>
                </a:lnTo>
                <a:cubicBezTo>
                  <a:pt x="15188" y="18674"/>
                  <a:pt x="33881" y="0"/>
                  <a:pt x="56943" y="0"/>
                </a:cubicBezTo>
                <a:close/>
              </a:path>
            </a:pathLst>
          </a:custGeom>
          <a:gradFill flip="none" rotWithShape="1">
            <a:gsLst>
              <a:gs pos="0">
                <a:srgbClr val="399A91"/>
              </a:gs>
              <a:gs pos="80000">
                <a:srgbClr val="0A6BBA"/>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Sans Display"/>
              <a:ea typeface="+mn-ea"/>
              <a:cs typeface="Segoe UI" pitchFamily="34" charset="0"/>
            </a:endParaRPr>
          </a:p>
        </p:txBody>
      </p:sp>
      <p:sp>
        <p:nvSpPr>
          <p:cNvPr id="24" name="TextBox 23">
            <a:extLst>
              <a:ext uri="{FF2B5EF4-FFF2-40B4-BE49-F238E27FC236}">
                <a16:creationId xmlns:a16="http://schemas.microsoft.com/office/drawing/2014/main" id="{2E856BA8-B2D8-FD94-832A-11688D865642}"/>
              </a:ext>
            </a:extLst>
          </p:cNvPr>
          <p:cNvSpPr txBox="1"/>
          <p:nvPr/>
        </p:nvSpPr>
        <p:spPr>
          <a:xfrm>
            <a:off x="5175649" y="2699721"/>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GB" sz="2000" b="0" i="0" u="none" strike="noStrike" kern="1200" cap="none" spc="0" normalizeH="0" baseline="0" noProof="0">
                <a:ln w="3175">
                  <a:noFill/>
                </a:ln>
                <a:solidFill>
                  <a:srgbClr val="000000"/>
                </a:solidFill>
                <a:effectLst/>
                <a:uLnTx/>
                <a:uFillTx/>
                <a:latin typeface="Segoe UI Semibold"/>
                <a:ea typeface="+mn-ea"/>
                <a:cs typeface="+mn-cs"/>
              </a:rPr>
              <a:t>Assess your AI Readiness</a:t>
            </a:r>
          </a:p>
        </p:txBody>
      </p:sp>
      <p:sp>
        <p:nvSpPr>
          <p:cNvPr id="26" name="TextBox 25">
            <a:extLst>
              <a:ext uri="{FF2B5EF4-FFF2-40B4-BE49-F238E27FC236}">
                <a16:creationId xmlns:a16="http://schemas.microsoft.com/office/drawing/2014/main" id="{AFC09506-E6B7-4C99-3708-1F9B0D51E68F}"/>
              </a:ext>
              <a:ext uri="{C183D7F6-B498-43B3-948B-1728B52AA6E4}">
                <adec:decorative xmlns:adec="http://schemas.microsoft.com/office/drawing/2017/decorative" val="0"/>
              </a:ext>
            </a:extLst>
          </p:cNvPr>
          <p:cNvSpPr txBox="1">
            <a:spLocks/>
          </p:cNvSpPr>
          <p:nvPr/>
        </p:nvSpPr>
        <p:spPr>
          <a:xfrm>
            <a:off x="8950998" y="2406703"/>
            <a:ext cx="2385772" cy="893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j-ea"/>
                <a:cs typeface="Segoe UI" pitchFamily="34" charset="0"/>
              </a:rPr>
              <a:t>Schedule a conversation</a:t>
            </a:r>
          </a:p>
        </p:txBody>
      </p:sp>
      <p:sp>
        <p:nvSpPr>
          <p:cNvPr id="12" name="Graphic 164">
            <a:extLst>
              <a:ext uri="{FF2B5EF4-FFF2-40B4-BE49-F238E27FC236}">
                <a16:creationId xmlns:a16="http://schemas.microsoft.com/office/drawing/2014/main" id="{1178BD8F-7248-3905-B12F-4F1A7813951F}"/>
              </a:ext>
              <a:ext uri="{C183D7F6-B498-43B3-948B-1728B52AA6E4}">
                <adec:decorative xmlns:adec="http://schemas.microsoft.com/office/drawing/2017/decorative" val="1"/>
              </a:ext>
            </a:extLst>
          </p:cNvPr>
          <p:cNvSpPr/>
          <p:nvPr/>
        </p:nvSpPr>
        <p:spPr>
          <a:xfrm>
            <a:off x="4090574" y="2622919"/>
            <a:ext cx="461730" cy="461376"/>
          </a:xfrm>
          <a:custGeom>
            <a:avLst/>
            <a:gdLst>
              <a:gd name="connsiteX0" fmla="*/ 190500 w 266700"/>
              <a:gd name="connsiteY0" fmla="*/ 0 h 266496"/>
              <a:gd name="connsiteX1" fmla="*/ 228600 w 266700"/>
              <a:gd name="connsiteY1" fmla="*/ 38100 h 266496"/>
              <a:gd name="connsiteX2" fmla="*/ 228600 w 266700"/>
              <a:gd name="connsiteY2" fmla="*/ 128956 h 266496"/>
              <a:gd name="connsiteX3" fmla="*/ 179963 w 266700"/>
              <a:gd name="connsiteY3" fmla="*/ 152143 h 266496"/>
              <a:gd name="connsiteX4" fmla="*/ 187503 w 266700"/>
              <a:gd name="connsiteY4" fmla="*/ 190297 h 266496"/>
              <a:gd name="connsiteX5" fmla="*/ 184150 w 266700"/>
              <a:gd name="connsiteY5" fmla="*/ 190297 h 266496"/>
              <a:gd name="connsiteX6" fmla="*/ 152400 w 266700"/>
              <a:gd name="connsiteY6" fmla="*/ 222047 h 266496"/>
              <a:gd name="connsiteX7" fmla="*/ 152743 w 266700"/>
              <a:gd name="connsiteY7" fmla="*/ 228600 h 266496"/>
              <a:gd name="connsiteX8" fmla="*/ 38100 w 266700"/>
              <a:gd name="connsiteY8" fmla="*/ 228600 h 266496"/>
              <a:gd name="connsiteX9" fmla="*/ 0 w 266700"/>
              <a:gd name="connsiteY9" fmla="*/ 190500 h 266496"/>
              <a:gd name="connsiteX10" fmla="*/ 0 w 266700"/>
              <a:gd name="connsiteY10" fmla="*/ 38100 h 266496"/>
              <a:gd name="connsiteX11" fmla="*/ 38100 w 266700"/>
              <a:gd name="connsiteY11" fmla="*/ 0 h 266496"/>
              <a:gd name="connsiteX12" fmla="*/ 190500 w 266700"/>
              <a:gd name="connsiteY12" fmla="*/ 0 h 266496"/>
              <a:gd name="connsiteX13" fmla="*/ 171069 w 266700"/>
              <a:gd name="connsiteY13" fmla="*/ 63119 h 266496"/>
              <a:gd name="connsiteX14" fmla="*/ 88900 w 266700"/>
              <a:gd name="connsiteY14" fmla="*/ 145288 h 266496"/>
              <a:gd name="connsiteX15" fmla="*/ 57531 w 266700"/>
              <a:gd name="connsiteY15" fmla="*/ 113919 h 266496"/>
              <a:gd name="connsiteX16" fmla="*/ 44069 w 266700"/>
              <a:gd name="connsiteY16" fmla="*/ 114394 h 266496"/>
              <a:gd name="connsiteX17" fmla="*/ 44069 w 266700"/>
              <a:gd name="connsiteY17" fmla="*/ 127381 h 266496"/>
              <a:gd name="connsiteX18" fmla="*/ 82169 w 266700"/>
              <a:gd name="connsiteY18" fmla="*/ 165481 h 266496"/>
              <a:gd name="connsiteX19" fmla="*/ 95631 w 266700"/>
              <a:gd name="connsiteY19" fmla="*/ 165481 h 266496"/>
              <a:gd name="connsiteX20" fmla="*/ 184531 w 266700"/>
              <a:gd name="connsiteY20" fmla="*/ 76581 h 266496"/>
              <a:gd name="connsiteX21" fmla="*/ 184056 w 266700"/>
              <a:gd name="connsiteY21" fmla="*/ 63119 h 266496"/>
              <a:gd name="connsiteX22" fmla="*/ 171069 w 266700"/>
              <a:gd name="connsiteY22" fmla="*/ 63119 h 266496"/>
              <a:gd name="connsiteX23" fmla="*/ 215900 w 266700"/>
              <a:gd name="connsiteY23" fmla="*/ 139497 h 266496"/>
              <a:gd name="connsiteX24" fmla="*/ 242103 w 266700"/>
              <a:gd name="connsiteY24" fmla="*/ 164068 h 266496"/>
              <a:gd name="connsiteX25" fmla="*/ 217531 w 266700"/>
              <a:gd name="connsiteY25" fmla="*/ 190271 h 266496"/>
              <a:gd name="connsiteX26" fmla="*/ 215925 w 266700"/>
              <a:gd name="connsiteY26" fmla="*/ 190271 h 266496"/>
              <a:gd name="connsiteX27" fmla="*/ 191328 w 266700"/>
              <a:gd name="connsiteY27" fmla="*/ 164093 h 266496"/>
              <a:gd name="connsiteX28" fmla="*/ 215900 w 266700"/>
              <a:gd name="connsiteY28" fmla="*/ 139497 h 266496"/>
              <a:gd name="connsiteX29" fmla="*/ 184150 w 266700"/>
              <a:gd name="connsiteY29" fmla="*/ 202997 h 266496"/>
              <a:gd name="connsiteX30" fmla="*/ 247650 w 266700"/>
              <a:gd name="connsiteY30" fmla="*/ 202997 h 266496"/>
              <a:gd name="connsiteX31" fmla="*/ 266700 w 266700"/>
              <a:gd name="connsiteY31" fmla="*/ 222047 h 266496"/>
              <a:gd name="connsiteX32" fmla="*/ 251308 w 266700"/>
              <a:gd name="connsiteY32" fmla="*/ 255245 h 266496"/>
              <a:gd name="connsiteX33" fmla="*/ 215900 w 266700"/>
              <a:gd name="connsiteY33" fmla="*/ 266497 h 266496"/>
              <a:gd name="connsiteX34" fmla="*/ 180492 w 266700"/>
              <a:gd name="connsiteY34" fmla="*/ 255245 h 266496"/>
              <a:gd name="connsiteX35" fmla="*/ 165532 w 266700"/>
              <a:gd name="connsiteY35" fmla="*/ 228600 h 266496"/>
              <a:gd name="connsiteX36" fmla="*/ 165100 w 266700"/>
              <a:gd name="connsiteY36" fmla="*/ 222047 h 266496"/>
              <a:gd name="connsiteX37" fmla="*/ 184150 w 266700"/>
              <a:gd name="connsiteY37" fmla="*/ 202997 h 266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6700" h="266496">
                <a:moveTo>
                  <a:pt x="190500" y="0"/>
                </a:moveTo>
                <a:cubicBezTo>
                  <a:pt x="211542" y="0"/>
                  <a:pt x="228600" y="17058"/>
                  <a:pt x="228600" y="38100"/>
                </a:cubicBezTo>
                <a:lnTo>
                  <a:pt x="228600" y="128956"/>
                </a:lnTo>
                <a:cubicBezTo>
                  <a:pt x="208766" y="121928"/>
                  <a:pt x="186991" y="132309"/>
                  <a:pt x="179963" y="152143"/>
                </a:cubicBezTo>
                <a:cubicBezTo>
                  <a:pt x="175307" y="165283"/>
                  <a:pt x="178199" y="179916"/>
                  <a:pt x="187503" y="190297"/>
                </a:cubicBezTo>
                <a:lnTo>
                  <a:pt x="184150" y="190297"/>
                </a:lnTo>
                <a:cubicBezTo>
                  <a:pt x="166615" y="190297"/>
                  <a:pt x="152400" y="204512"/>
                  <a:pt x="152400" y="222047"/>
                </a:cubicBezTo>
                <a:cubicBezTo>
                  <a:pt x="152400" y="224269"/>
                  <a:pt x="152527" y="226466"/>
                  <a:pt x="152743" y="228600"/>
                </a:cubicBezTo>
                <a:lnTo>
                  <a:pt x="38100" y="228600"/>
                </a:lnTo>
                <a:cubicBezTo>
                  <a:pt x="17058" y="228600"/>
                  <a:pt x="0" y="211542"/>
                  <a:pt x="0" y="190500"/>
                </a:cubicBezTo>
                <a:lnTo>
                  <a:pt x="0" y="38100"/>
                </a:lnTo>
                <a:cubicBezTo>
                  <a:pt x="0" y="17058"/>
                  <a:pt x="17058" y="0"/>
                  <a:pt x="38100" y="0"/>
                </a:cubicBezTo>
                <a:lnTo>
                  <a:pt x="190500" y="0"/>
                </a:lnTo>
                <a:close/>
                <a:moveTo>
                  <a:pt x="171069" y="63119"/>
                </a:moveTo>
                <a:lnTo>
                  <a:pt x="88900" y="145288"/>
                </a:lnTo>
                <a:lnTo>
                  <a:pt x="57531" y="113919"/>
                </a:lnTo>
                <a:cubicBezTo>
                  <a:pt x="53682" y="110333"/>
                  <a:pt x="47655" y="110546"/>
                  <a:pt x="44069" y="114394"/>
                </a:cubicBezTo>
                <a:cubicBezTo>
                  <a:pt x="40660" y="118052"/>
                  <a:pt x="40660" y="123723"/>
                  <a:pt x="44069" y="127381"/>
                </a:cubicBezTo>
                <a:lnTo>
                  <a:pt x="82169" y="165481"/>
                </a:lnTo>
                <a:cubicBezTo>
                  <a:pt x="85888" y="169195"/>
                  <a:pt x="91912" y="169195"/>
                  <a:pt x="95631" y="165481"/>
                </a:cubicBezTo>
                <a:lnTo>
                  <a:pt x="184531" y="76581"/>
                </a:lnTo>
                <a:cubicBezTo>
                  <a:pt x="188117" y="72732"/>
                  <a:pt x="187904" y="66705"/>
                  <a:pt x="184056" y="63119"/>
                </a:cubicBezTo>
                <a:cubicBezTo>
                  <a:pt x="180398" y="59710"/>
                  <a:pt x="174727" y="59710"/>
                  <a:pt x="171069" y="63119"/>
                </a:cubicBezTo>
                <a:close/>
                <a:moveTo>
                  <a:pt x="215900" y="139497"/>
                </a:moveTo>
                <a:cubicBezTo>
                  <a:pt x="229921" y="139046"/>
                  <a:pt x="241652" y="150047"/>
                  <a:pt x="242103" y="164068"/>
                </a:cubicBezTo>
                <a:cubicBezTo>
                  <a:pt x="242553" y="178089"/>
                  <a:pt x="231552" y="189820"/>
                  <a:pt x="217531" y="190271"/>
                </a:cubicBezTo>
                <a:cubicBezTo>
                  <a:pt x="216996" y="190288"/>
                  <a:pt x="216461" y="190288"/>
                  <a:pt x="215925" y="190271"/>
                </a:cubicBezTo>
                <a:cubicBezTo>
                  <a:pt x="201904" y="189835"/>
                  <a:pt x="190892" y="178115"/>
                  <a:pt x="191328" y="164093"/>
                </a:cubicBezTo>
                <a:cubicBezTo>
                  <a:pt x="191745" y="150695"/>
                  <a:pt x="202502" y="139927"/>
                  <a:pt x="215900" y="139497"/>
                </a:cubicBezTo>
                <a:close/>
                <a:moveTo>
                  <a:pt x="184150" y="202997"/>
                </a:moveTo>
                <a:lnTo>
                  <a:pt x="247650" y="202997"/>
                </a:lnTo>
                <a:cubicBezTo>
                  <a:pt x="258171" y="202997"/>
                  <a:pt x="266700" y="211526"/>
                  <a:pt x="266700" y="222047"/>
                </a:cubicBezTo>
                <a:cubicBezTo>
                  <a:pt x="266700" y="236220"/>
                  <a:pt x="260871" y="247574"/>
                  <a:pt x="251308" y="255245"/>
                </a:cubicBezTo>
                <a:cubicBezTo>
                  <a:pt x="241897" y="262801"/>
                  <a:pt x="229273" y="266497"/>
                  <a:pt x="215900" y="266497"/>
                </a:cubicBezTo>
                <a:cubicBezTo>
                  <a:pt x="202527" y="266497"/>
                  <a:pt x="189903" y="262814"/>
                  <a:pt x="180492" y="255245"/>
                </a:cubicBezTo>
                <a:cubicBezTo>
                  <a:pt x="172216" y="248659"/>
                  <a:pt x="166846" y="239095"/>
                  <a:pt x="165532" y="228600"/>
                </a:cubicBezTo>
                <a:cubicBezTo>
                  <a:pt x="165240" y="226428"/>
                  <a:pt x="165096" y="224238"/>
                  <a:pt x="165100" y="222047"/>
                </a:cubicBezTo>
                <a:cubicBezTo>
                  <a:pt x="165100" y="211526"/>
                  <a:pt x="173629" y="202997"/>
                  <a:pt x="184150" y="202997"/>
                </a:cubicBezTo>
                <a:close/>
              </a:path>
            </a:pathLst>
          </a:custGeom>
          <a:gradFill flip="none" rotWithShape="1">
            <a:gsLst>
              <a:gs pos="0">
                <a:srgbClr val="399A91"/>
              </a:gs>
              <a:gs pos="80000">
                <a:srgbClr val="0A6BBA"/>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Sans Display"/>
              <a:ea typeface="+mn-ea"/>
              <a:cs typeface="Segoe UI" pitchFamily="34" charset="0"/>
            </a:endParaRPr>
          </a:p>
        </p:txBody>
      </p:sp>
      <p:sp>
        <p:nvSpPr>
          <p:cNvPr id="40" name="TextBox 39">
            <a:extLst>
              <a:ext uri="{FF2B5EF4-FFF2-40B4-BE49-F238E27FC236}">
                <a16:creationId xmlns:a16="http://schemas.microsoft.com/office/drawing/2014/main" id="{7900B91E-8359-3E13-D013-5E12F221D5F8}"/>
              </a:ext>
              <a:ext uri="{C183D7F6-B498-43B3-948B-1728B52AA6E4}">
                <adec:decorative xmlns:adec="http://schemas.microsoft.com/office/drawing/2017/decorative" val="0"/>
              </a:ext>
            </a:extLst>
          </p:cNvPr>
          <p:cNvSpPr txBox="1">
            <a:spLocks/>
          </p:cNvSpPr>
          <p:nvPr/>
        </p:nvSpPr>
        <p:spPr>
          <a:xfrm>
            <a:off x="8950998" y="3807566"/>
            <a:ext cx="2385772" cy="893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j-ea"/>
                <a:cs typeface="Segoe UI" pitchFamily="34" charset="0"/>
              </a:rPr>
              <a:t>Schedule an AI Workshop </a:t>
            </a:r>
          </a:p>
        </p:txBody>
      </p:sp>
      <p:sp>
        <p:nvSpPr>
          <p:cNvPr id="37" name="TextBox 36">
            <a:extLst>
              <a:ext uri="{FF2B5EF4-FFF2-40B4-BE49-F238E27FC236}">
                <a16:creationId xmlns:a16="http://schemas.microsoft.com/office/drawing/2014/main" id="{2AB75F0F-430A-8013-12B4-D4185F779250}"/>
              </a:ext>
            </a:extLst>
          </p:cNvPr>
          <p:cNvSpPr txBox="1"/>
          <p:nvPr/>
        </p:nvSpPr>
        <p:spPr>
          <a:xfrm>
            <a:off x="5175649" y="4100584"/>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GB" sz="2000" b="0" i="0" u="none" strike="noStrike" kern="1200" cap="none" spc="0" normalizeH="0" baseline="0" noProof="0">
                <a:ln w="3175">
                  <a:noFill/>
                </a:ln>
                <a:solidFill>
                  <a:srgbClr val="000000"/>
                </a:solidFill>
                <a:effectLst/>
                <a:uLnTx/>
                <a:uFillTx/>
                <a:latin typeface="Segoe UI Semibold"/>
                <a:ea typeface="+mn-ea"/>
                <a:cs typeface="+mn-cs"/>
              </a:rPr>
              <a:t> Develop an AI Strategy</a:t>
            </a:r>
          </a:p>
        </p:txBody>
      </p:sp>
      <p:sp>
        <p:nvSpPr>
          <p:cNvPr id="13" name="Graphic 80">
            <a:extLst>
              <a:ext uri="{FF2B5EF4-FFF2-40B4-BE49-F238E27FC236}">
                <a16:creationId xmlns:a16="http://schemas.microsoft.com/office/drawing/2014/main" id="{6A2EBF80-1313-8374-5898-EE7AF0C74E13}"/>
              </a:ext>
              <a:ext uri="{C183D7F6-B498-43B3-948B-1728B52AA6E4}">
                <adec:decorative xmlns:adec="http://schemas.microsoft.com/office/drawing/2017/decorative" val="1"/>
              </a:ext>
            </a:extLst>
          </p:cNvPr>
          <p:cNvSpPr>
            <a:spLocks/>
          </p:cNvSpPr>
          <p:nvPr/>
        </p:nvSpPr>
        <p:spPr>
          <a:xfrm>
            <a:off x="4133813" y="3995693"/>
            <a:ext cx="375252" cy="517554"/>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0">
                <a:srgbClr val="399A91"/>
              </a:gs>
              <a:gs pos="80000">
                <a:srgbClr val="0A6BBA"/>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091F2C"/>
              </a:solidFill>
              <a:effectLst/>
              <a:uLnTx/>
              <a:uFillTx/>
              <a:latin typeface="Segoe Sans Display"/>
              <a:ea typeface="+mn-ea"/>
              <a:cs typeface="Segoe UI" pitchFamily="34" charset="0"/>
            </a:endParaRPr>
          </a:p>
        </p:txBody>
      </p:sp>
      <p:sp>
        <p:nvSpPr>
          <p:cNvPr id="46" name="TextBox 45">
            <a:extLst>
              <a:ext uri="{FF2B5EF4-FFF2-40B4-BE49-F238E27FC236}">
                <a16:creationId xmlns:a16="http://schemas.microsoft.com/office/drawing/2014/main" id="{F1527BCD-C70C-3ECD-9EA1-508C8D18EE41}"/>
              </a:ext>
            </a:extLst>
          </p:cNvPr>
          <p:cNvSpPr txBox="1"/>
          <p:nvPr/>
        </p:nvSpPr>
        <p:spPr>
          <a:xfrm>
            <a:off x="5175649" y="5501446"/>
            <a:ext cx="3361634" cy="307777"/>
          </a:xfrm>
          <a:prstGeom prst="rect">
            <a:avLst/>
          </a:prstGeom>
          <a:noFill/>
        </p:spPr>
        <p:txBody>
          <a:bodyPr wrap="square" lIns="0" tIns="0" rIns="0" bIns="0" anchor="ctr">
            <a:spAutoFit/>
          </a:body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mn-cs"/>
              </a:rPr>
              <a:t>Build and Test your Agents </a:t>
            </a:r>
          </a:p>
        </p:txBody>
      </p:sp>
      <p:sp>
        <p:nvSpPr>
          <p:cNvPr id="55" name="TextBox 54">
            <a:extLst>
              <a:ext uri="{FF2B5EF4-FFF2-40B4-BE49-F238E27FC236}">
                <a16:creationId xmlns:a16="http://schemas.microsoft.com/office/drawing/2014/main" id="{253ACC51-30D9-7CDC-5CEF-1E5DD16508DA}"/>
              </a:ext>
              <a:ext uri="{C183D7F6-B498-43B3-948B-1728B52AA6E4}">
                <adec:decorative xmlns:adec="http://schemas.microsoft.com/office/drawing/2017/decorative" val="0"/>
              </a:ext>
            </a:extLst>
          </p:cNvPr>
          <p:cNvSpPr txBox="1">
            <a:spLocks/>
          </p:cNvSpPr>
          <p:nvPr/>
        </p:nvSpPr>
        <p:spPr>
          <a:xfrm>
            <a:off x="8950998" y="5208429"/>
            <a:ext cx="2385772" cy="893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200">
                <a:solidFill>
                  <a:srgbClr val="FFFFFF"/>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j-ea"/>
                <a:cs typeface="Segoe UI" pitchFamily="34" charset="0"/>
              </a:rPr>
              <a:t>Arrange a session for agent prototyping</a:t>
            </a:r>
            <a:endParaRPr kumimoji="0" lang="en-US" sz="1800" b="0" i="0" u="none" strike="noStrike" kern="1200" cap="none" spc="0" normalizeH="0" baseline="0" noProof="0" err="1">
              <a:ln>
                <a:noFill/>
              </a:ln>
              <a:solidFill>
                <a:srgbClr val="FFFFFF"/>
              </a:solidFill>
              <a:effectLst/>
              <a:uLnTx/>
              <a:uFillTx/>
              <a:latin typeface="Segoe UI Semibold"/>
              <a:ea typeface="+mj-ea"/>
              <a:cs typeface="Segoe UI" pitchFamily="34" charset="0"/>
            </a:endParaRPr>
          </a:p>
        </p:txBody>
      </p:sp>
      <p:sp>
        <p:nvSpPr>
          <p:cNvPr id="14" name="Freeform: Shape 13">
            <a:extLst>
              <a:ext uri="{FF2B5EF4-FFF2-40B4-BE49-F238E27FC236}">
                <a16:creationId xmlns:a16="http://schemas.microsoft.com/office/drawing/2014/main" id="{C27747A2-5A09-DA00-A910-C2648A4C3179}"/>
              </a:ext>
              <a:ext uri="{C183D7F6-B498-43B3-948B-1728B52AA6E4}">
                <adec:decorative xmlns:adec="http://schemas.microsoft.com/office/drawing/2017/decorative" val="1"/>
              </a:ext>
            </a:extLst>
          </p:cNvPr>
          <p:cNvSpPr>
            <a:spLocks noChangeAspect="1"/>
          </p:cNvSpPr>
          <p:nvPr/>
        </p:nvSpPr>
        <p:spPr>
          <a:xfrm>
            <a:off x="4088981" y="5422900"/>
            <a:ext cx="464916" cy="464866"/>
          </a:xfrm>
          <a:custGeom>
            <a:avLst/>
            <a:gdLst>
              <a:gd name="connsiteX0" fmla="*/ 125635 w 765566"/>
              <a:gd name="connsiteY0" fmla="*/ 561137 h 765489"/>
              <a:gd name="connsiteX1" fmla="*/ 47149 w 765566"/>
              <a:gd name="connsiteY1" fmla="*/ 639718 h 765489"/>
              <a:gd name="connsiteX2" fmla="*/ 125635 w 765566"/>
              <a:gd name="connsiteY2" fmla="*/ 718299 h 765489"/>
              <a:gd name="connsiteX3" fmla="*/ 204216 w 765566"/>
              <a:gd name="connsiteY3" fmla="*/ 639718 h 765489"/>
              <a:gd name="connsiteX4" fmla="*/ 125635 w 765566"/>
              <a:gd name="connsiteY4" fmla="*/ 561137 h 765489"/>
              <a:gd name="connsiteX5" fmla="*/ 482977 w 765566"/>
              <a:gd name="connsiteY5" fmla="*/ 451741 h 765489"/>
              <a:gd name="connsiteX6" fmla="*/ 505491 w 765566"/>
              <a:gd name="connsiteY6" fmla="*/ 458266 h 765489"/>
              <a:gd name="connsiteX7" fmla="*/ 509302 w 765566"/>
              <a:gd name="connsiteY7" fmla="*/ 461504 h 765489"/>
              <a:gd name="connsiteX8" fmla="*/ 608838 w 765566"/>
              <a:gd name="connsiteY8" fmla="*/ 561041 h 765489"/>
              <a:gd name="connsiteX9" fmla="*/ 708374 w 765566"/>
              <a:gd name="connsiteY9" fmla="*/ 461599 h 765489"/>
              <a:gd name="connsiteX10" fmla="*/ 752094 w 765566"/>
              <a:gd name="connsiteY10" fmla="*/ 458361 h 765489"/>
              <a:gd name="connsiteX11" fmla="*/ 751903 w 765566"/>
              <a:gd name="connsiteY11" fmla="*/ 458171 h 765489"/>
              <a:gd name="connsiteX12" fmla="*/ 755713 w 765566"/>
              <a:gd name="connsiteY12" fmla="*/ 461409 h 765489"/>
              <a:gd name="connsiteX13" fmla="*/ 758952 w 765566"/>
              <a:gd name="connsiteY13" fmla="*/ 505224 h 765489"/>
              <a:gd name="connsiteX14" fmla="*/ 755713 w 765566"/>
              <a:gd name="connsiteY14" fmla="*/ 509034 h 765489"/>
              <a:gd name="connsiteX15" fmla="*/ 656177 w 765566"/>
              <a:gd name="connsiteY15" fmla="*/ 608570 h 765489"/>
              <a:gd name="connsiteX16" fmla="*/ 755713 w 765566"/>
              <a:gd name="connsiteY16" fmla="*/ 708107 h 765489"/>
              <a:gd name="connsiteX17" fmla="*/ 758952 w 765566"/>
              <a:gd name="connsiteY17" fmla="*/ 751826 h 765489"/>
              <a:gd name="connsiteX18" fmla="*/ 755713 w 765566"/>
              <a:gd name="connsiteY18" fmla="*/ 755636 h 765489"/>
              <a:gd name="connsiteX19" fmla="*/ 711898 w 765566"/>
              <a:gd name="connsiteY19" fmla="*/ 758875 h 765489"/>
              <a:gd name="connsiteX20" fmla="*/ 708088 w 765566"/>
              <a:gd name="connsiteY20" fmla="*/ 755636 h 765489"/>
              <a:gd name="connsiteX21" fmla="*/ 608552 w 765566"/>
              <a:gd name="connsiteY21" fmla="*/ 656100 h 765489"/>
              <a:gd name="connsiteX22" fmla="*/ 509111 w 765566"/>
              <a:gd name="connsiteY22" fmla="*/ 755636 h 765489"/>
              <a:gd name="connsiteX23" fmla="*/ 465391 w 765566"/>
              <a:gd name="connsiteY23" fmla="*/ 758875 h 765489"/>
              <a:gd name="connsiteX24" fmla="*/ 461581 w 765566"/>
              <a:gd name="connsiteY24" fmla="*/ 755636 h 765489"/>
              <a:gd name="connsiteX25" fmla="*/ 458343 w 765566"/>
              <a:gd name="connsiteY25" fmla="*/ 711821 h 765489"/>
              <a:gd name="connsiteX26" fmla="*/ 461581 w 765566"/>
              <a:gd name="connsiteY26" fmla="*/ 708011 h 765489"/>
              <a:gd name="connsiteX27" fmla="*/ 561118 w 765566"/>
              <a:gd name="connsiteY27" fmla="*/ 608475 h 765489"/>
              <a:gd name="connsiteX28" fmla="*/ 461677 w 765566"/>
              <a:gd name="connsiteY28" fmla="*/ 509034 h 765489"/>
              <a:gd name="connsiteX29" fmla="*/ 458438 w 765566"/>
              <a:gd name="connsiteY29" fmla="*/ 465314 h 765489"/>
              <a:gd name="connsiteX30" fmla="*/ 461677 w 765566"/>
              <a:gd name="connsiteY30" fmla="*/ 461504 h 765489"/>
              <a:gd name="connsiteX31" fmla="*/ 482977 w 765566"/>
              <a:gd name="connsiteY31" fmla="*/ 451741 h 765489"/>
              <a:gd name="connsiteX32" fmla="*/ 31301 w 765566"/>
              <a:gd name="connsiteY32" fmla="*/ 161 h 765489"/>
              <a:gd name="connsiteX33" fmla="*/ 53816 w 765566"/>
              <a:gd name="connsiteY33" fmla="*/ 6686 h 765489"/>
              <a:gd name="connsiteX34" fmla="*/ 57625 w 765566"/>
              <a:gd name="connsiteY34" fmla="*/ 9924 h 765489"/>
              <a:gd name="connsiteX35" fmla="*/ 157162 w 765566"/>
              <a:gd name="connsiteY35" fmla="*/ 109461 h 765489"/>
              <a:gd name="connsiteX36" fmla="*/ 256698 w 765566"/>
              <a:gd name="connsiteY36" fmla="*/ 10019 h 765489"/>
              <a:gd name="connsiteX37" fmla="*/ 300418 w 765566"/>
              <a:gd name="connsiteY37" fmla="*/ 6781 h 765489"/>
              <a:gd name="connsiteX38" fmla="*/ 300227 w 765566"/>
              <a:gd name="connsiteY38" fmla="*/ 6591 h 765489"/>
              <a:gd name="connsiteX39" fmla="*/ 304037 w 765566"/>
              <a:gd name="connsiteY39" fmla="*/ 9829 h 765489"/>
              <a:gd name="connsiteX40" fmla="*/ 307276 w 765566"/>
              <a:gd name="connsiteY40" fmla="*/ 53644 h 765489"/>
              <a:gd name="connsiteX41" fmla="*/ 304037 w 765566"/>
              <a:gd name="connsiteY41" fmla="*/ 57454 h 765489"/>
              <a:gd name="connsiteX42" fmla="*/ 204501 w 765566"/>
              <a:gd name="connsiteY42" fmla="*/ 156990 h 765489"/>
              <a:gd name="connsiteX43" fmla="*/ 304037 w 765566"/>
              <a:gd name="connsiteY43" fmla="*/ 256526 h 765489"/>
              <a:gd name="connsiteX44" fmla="*/ 307276 w 765566"/>
              <a:gd name="connsiteY44" fmla="*/ 300246 h 765489"/>
              <a:gd name="connsiteX45" fmla="*/ 304037 w 765566"/>
              <a:gd name="connsiteY45" fmla="*/ 304056 h 765489"/>
              <a:gd name="connsiteX46" fmla="*/ 260222 w 765566"/>
              <a:gd name="connsiteY46" fmla="*/ 307295 h 765489"/>
              <a:gd name="connsiteX47" fmla="*/ 256412 w 765566"/>
              <a:gd name="connsiteY47" fmla="*/ 304056 h 765489"/>
              <a:gd name="connsiteX48" fmla="*/ 156876 w 765566"/>
              <a:gd name="connsiteY48" fmla="*/ 204520 h 765489"/>
              <a:gd name="connsiteX49" fmla="*/ 57435 w 765566"/>
              <a:gd name="connsiteY49" fmla="*/ 304056 h 765489"/>
              <a:gd name="connsiteX50" fmla="*/ 13715 w 765566"/>
              <a:gd name="connsiteY50" fmla="*/ 307295 h 765489"/>
              <a:gd name="connsiteX51" fmla="*/ 9905 w 765566"/>
              <a:gd name="connsiteY51" fmla="*/ 304056 h 765489"/>
              <a:gd name="connsiteX52" fmla="*/ 6667 w 765566"/>
              <a:gd name="connsiteY52" fmla="*/ 260241 h 765489"/>
              <a:gd name="connsiteX53" fmla="*/ 9905 w 765566"/>
              <a:gd name="connsiteY53" fmla="*/ 256431 h 765489"/>
              <a:gd name="connsiteX54" fmla="*/ 109442 w 765566"/>
              <a:gd name="connsiteY54" fmla="*/ 156895 h 765489"/>
              <a:gd name="connsiteX55" fmla="*/ 10000 w 765566"/>
              <a:gd name="connsiteY55" fmla="*/ 57454 h 765489"/>
              <a:gd name="connsiteX56" fmla="*/ 6762 w 765566"/>
              <a:gd name="connsiteY56" fmla="*/ 13734 h 765489"/>
              <a:gd name="connsiteX57" fmla="*/ 10000 w 765566"/>
              <a:gd name="connsiteY57" fmla="*/ 9924 h 765489"/>
              <a:gd name="connsiteX58" fmla="*/ 31301 w 765566"/>
              <a:gd name="connsiteY58" fmla="*/ 161 h 765489"/>
              <a:gd name="connsiteX59" fmla="*/ 620935 w 765566"/>
              <a:gd name="connsiteY59" fmla="*/ 18 h 765489"/>
              <a:gd name="connsiteX60" fmla="*/ 735140 w 765566"/>
              <a:gd name="connsiteY60" fmla="*/ 18 h 765489"/>
              <a:gd name="connsiteX61" fmla="*/ 765429 w 765566"/>
              <a:gd name="connsiteY61" fmla="*/ 30308 h 765489"/>
              <a:gd name="connsiteX62" fmla="*/ 765429 w 765566"/>
              <a:gd name="connsiteY62" fmla="*/ 144512 h 765489"/>
              <a:gd name="connsiteX63" fmla="*/ 765429 w 765566"/>
              <a:gd name="connsiteY63" fmla="*/ 146608 h 765489"/>
              <a:gd name="connsiteX64" fmla="*/ 734092 w 765566"/>
              <a:gd name="connsiteY64" fmla="*/ 175754 h 765489"/>
              <a:gd name="connsiteX65" fmla="*/ 704945 w 765566"/>
              <a:gd name="connsiteY65" fmla="*/ 144417 h 765489"/>
              <a:gd name="connsiteX66" fmla="*/ 704945 w 765566"/>
              <a:gd name="connsiteY66" fmla="*/ 103269 h 765489"/>
              <a:gd name="connsiteX67" fmla="*/ 231802 w 765566"/>
              <a:gd name="connsiteY67" fmla="*/ 576413 h 765489"/>
              <a:gd name="connsiteX68" fmla="*/ 241498 w 765566"/>
              <a:gd name="connsiteY68" fmla="*/ 590794 h 765489"/>
              <a:gd name="connsiteX69" fmla="*/ 251365 w 765566"/>
              <a:gd name="connsiteY69" fmla="*/ 639718 h 765489"/>
              <a:gd name="connsiteX70" fmla="*/ 125635 w 765566"/>
              <a:gd name="connsiteY70" fmla="*/ 765448 h 765489"/>
              <a:gd name="connsiteX71" fmla="*/ 0 w 765566"/>
              <a:gd name="connsiteY71" fmla="*/ 639718 h 765489"/>
              <a:gd name="connsiteX72" fmla="*/ 125635 w 765566"/>
              <a:gd name="connsiteY72" fmla="*/ 514083 h 765489"/>
              <a:gd name="connsiteX73" fmla="*/ 174614 w 765566"/>
              <a:gd name="connsiteY73" fmla="*/ 523949 h 765489"/>
              <a:gd name="connsiteX74" fmla="*/ 188912 w 765566"/>
              <a:gd name="connsiteY74" fmla="*/ 533578 h 765489"/>
              <a:gd name="connsiteX75" fmla="*/ 661988 w 765566"/>
              <a:gd name="connsiteY75" fmla="*/ 60502 h 765489"/>
              <a:gd name="connsiteX76" fmla="*/ 620840 w 765566"/>
              <a:gd name="connsiteY76" fmla="*/ 60502 h 765489"/>
              <a:gd name="connsiteX77" fmla="*/ 618744 w 765566"/>
              <a:gd name="connsiteY77" fmla="*/ 60502 h 765489"/>
              <a:gd name="connsiteX78" fmla="*/ 589598 w 765566"/>
              <a:gd name="connsiteY78" fmla="*/ 29165 h 765489"/>
              <a:gd name="connsiteX79" fmla="*/ 620935 w 765566"/>
              <a:gd name="connsiteY79" fmla="*/ 18 h 76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65566" h="765489">
                <a:moveTo>
                  <a:pt x="125635" y="561137"/>
                </a:moveTo>
                <a:cubicBezTo>
                  <a:pt x="82296" y="561137"/>
                  <a:pt x="47149" y="596284"/>
                  <a:pt x="47149" y="639718"/>
                </a:cubicBezTo>
                <a:cubicBezTo>
                  <a:pt x="47149" y="683152"/>
                  <a:pt x="82391" y="718299"/>
                  <a:pt x="125635" y="718299"/>
                </a:cubicBezTo>
                <a:cubicBezTo>
                  <a:pt x="169069" y="718299"/>
                  <a:pt x="204216" y="683152"/>
                  <a:pt x="204216" y="639718"/>
                </a:cubicBezTo>
                <a:cubicBezTo>
                  <a:pt x="204216" y="596284"/>
                  <a:pt x="168974" y="561137"/>
                  <a:pt x="125635" y="561137"/>
                </a:cubicBezTo>
                <a:close/>
                <a:moveTo>
                  <a:pt x="482977" y="451741"/>
                </a:moveTo>
                <a:cubicBezTo>
                  <a:pt x="490775" y="451169"/>
                  <a:pt x="498776" y="453313"/>
                  <a:pt x="505491" y="458266"/>
                </a:cubicBezTo>
                <a:lnTo>
                  <a:pt x="509302" y="461504"/>
                </a:lnTo>
                <a:lnTo>
                  <a:pt x="608838" y="561041"/>
                </a:lnTo>
                <a:lnTo>
                  <a:pt x="708374" y="461599"/>
                </a:lnTo>
                <a:cubicBezTo>
                  <a:pt x="720185" y="449789"/>
                  <a:pt x="738759" y="448455"/>
                  <a:pt x="752094" y="458361"/>
                </a:cubicBezTo>
                <a:lnTo>
                  <a:pt x="751903" y="458171"/>
                </a:lnTo>
                <a:lnTo>
                  <a:pt x="755713" y="461409"/>
                </a:lnTo>
                <a:cubicBezTo>
                  <a:pt x="767524" y="473220"/>
                  <a:pt x="768858" y="491794"/>
                  <a:pt x="758952" y="505224"/>
                </a:cubicBezTo>
                <a:lnTo>
                  <a:pt x="755713" y="509034"/>
                </a:lnTo>
                <a:lnTo>
                  <a:pt x="656177" y="608570"/>
                </a:lnTo>
                <a:lnTo>
                  <a:pt x="755713" y="708107"/>
                </a:lnTo>
                <a:cubicBezTo>
                  <a:pt x="767429" y="719918"/>
                  <a:pt x="768858" y="738491"/>
                  <a:pt x="758952" y="751826"/>
                </a:cubicBezTo>
                <a:lnTo>
                  <a:pt x="755713" y="755636"/>
                </a:lnTo>
                <a:cubicBezTo>
                  <a:pt x="743902" y="767447"/>
                  <a:pt x="725329" y="768781"/>
                  <a:pt x="711898" y="758875"/>
                </a:cubicBezTo>
                <a:lnTo>
                  <a:pt x="708088" y="755636"/>
                </a:lnTo>
                <a:lnTo>
                  <a:pt x="608552" y="656100"/>
                </a:lnTo>
                <a:lnTo>
                  <a:pt x="509111" y="755636"/>
                </a:lnTo>
                <a:cubicBezTo>
                  <a:pt x="497300" y="767352"/>
                  <a:pt x="478726" y="768781"/>
                  <a:pt x="465391" y="758875"/>
                </a:cubicBezTo>
                <a:lnTo>
                  <a:pt x="461581" y="755636"/>
                </a:lnTo>
                <a:cubicBezTo>
                  <a:pt x="449770" y="743825"/>
                  <a:pt x="448437" y="725252"/>
                  <a:pt x="458343" y="711821"/>
                </a:cubicBezTo>
                <a:lnTo>
                  <a:pt x="461581" y="708011"/>
                </a:lnTo>
                <a:lnTo>
                  <a:pt x="561118" y="608475"/>
                </a:lnTo>
                <a:lnTo>
                  <a:pt x="461677" y="509034"/>
                </a:lnTo>
                <a:cubicBezTo>
                  <a:pt x="449865" y="497223"/>
                  <a:pt x="448532" y="478649"/>
                  <a:pt x="458438" y="465314"/>
                </a:cubicBezTo>
                <a:lnTo>
                  <a:pt x="461677" y="461504"/>
                </a:lnTo>
                <a:cubicBezTo>
                  <a:pt x="467582" y="455599"/>
                  <a:pt x="475178" y="452313"/>
                  <a:pt x="482977" y="451741"/>
                </a:cubicBezTo>
                <a:close/>
                <a:moveTo>
                  <a:pt x="31301" y="161"/>
                </a:moveTo>
                <a:cubicBezTo>
                  <a:pt x="39099" y="-410"/>
                  <a:pt x="47100" y="1733"/>
                  <a:pt x="53816" y="6686"/>
                </a:cubicBezTo>
                <a:lnTo>
                  <a:pt x="57625" y="9924"/>
                </a:lnTo>
                <a:lnTo>
                  <a:pt x="157162" y="109461"/>
                </a:lnTo>
                <a:lnTo>
                  <a:pt x="256698" y="10019"/>
                </a:lnTo>
                <a:cubicBezTo>
                  <a:pt x="268509" y="-1791"/>
                  <a:pt x="287083" y="-3125"/>
                  <a:pt x="300418" y="6781"/>
                </a:cubicBezTo>
                <a:lnTo>
                  <a:pt x="300227" y="6591"/>
                </a:lnTo>
                <a:lnTo>
                  <a:pt x="304037" y="9829"/>
                </a:lnTo>
                <a:cubicBezTo>
                  <a:pt x="315848" y="21640"/>
                  <a:pt x="317182" y="40214"/>
                  <a:pt x="307276" y="53644"/>
                </a:cubicBezTo>
                <a:lnTo>
                  <a:pt x="304037" y="57454"/>
                </a:lnTo>
                <a:lnTo>
                  <a:pt x="204501" y="156990"/>
                </a:lnTo>
                <a:lnTo>
                  <a:pt x="304037" y="256526"/>
                </a:lnTo>
                <a:cubicBezTo>
                  <a:pt x="315753" y="268338"/>
                  <a:pt x="317182" y="286911"/>
                  <a:pt x="307276" y="300246"/>
                </a:cubicBezTo>
                <a:lnTo>
                  <a:pt x="304037" y="304056"/>
                </a:lnTo>
                <a:cubicBezTo>
                  <a:pt x="292226" y="315867"/>
                  <a:pt x="273652" y="317201"/>
                  <a:pt x="260222" y="307295"/>
                </a:cubicBezTo>
                <a:lnTo>
                  <a:pt x="256412" y="304056"/>
                </a:lnTo>
                <a:lnTo>
                  <a:pt x="156876" y="204520"/>
                </a:lnTo>
                <a:lnTo>
                  <a:pt x="57435" y="304056"/>
                </a:lnTo>
                <a:cubicBezTo>
                  <a:pt x="45624" y="315772"/>
                  <a:pt x="27050" y="317201"/>
                  <a:pt x="13715" y="307295"/>
                </a:cubicBezTo>
                <a:lnTo>
                  <a:pt x="9905" y="304056"/>
                </a:lnTo>
                <a:cubicBezTo>
                  <a:pt x="-1906" y="292245"/>
                  <a:pt x="-3239" y="273672"/>
                  <a:pt x="6667" y="260241"/>
                </a:cubicBezTo>
                <a:lnTo>
                  <a:pt x="9905" y="256431"/>
                </a:lnTo>
                <a:lnTo>
                  <a:pt x="109442" y="156895"/>
                </a:lnTo>
                <a:lnTo>
                  <a:pt x="10000" y="57454"/>
                </a:lnTo>
                <a:cubicBezTo>
                  <a:pt x="-1810" y="45643"/>
                  <a:pt x="-3144" y="27069"/>
                  <a:pt x="6762" y="13734"/>
                </a:cubicBezTo>
                <a:lnTo>
                  <a:pt x="10000" y="9924"/>
                </a:lnTo>
                <a:cubicBezTo>
                  <a:pt x="15906" y="4018"/>
                  <a:pt x="23502" y="732"/>
                  <a:pt x="31301" y="161"/>
                </a:cubicBezTo>
                <a:close/>
                <a:moveTo>
                  <a:pt x="620935" y="18"/>
                </a:moveTo>
                <a:lnTo>
                  <a:pt x="735140" y="18"/>
                </a:lnTo>
                <a:cubicBezTo>
                  <a:pt x="751904" y="18"/>
                  <a:pt x="765429" y="13639"/>
                  <a:pt x="765429" y="30308"/>
                </a:cubicBezTo>
                <a:lnTo>
                  <a:pt x="765429" y="144512"/>
                </a:lnTo>
                <a:cubicBezTo>
                  <a:pt x="765429" y="145179"/>
                  <a:pt x="765429" y="145941"/>
                  <a:pt x="765429" y="146608"/>
                </a:cubicBezTo>
                <a:cubicBezTo>
                  <a:pt x="764858" y="163277"/>
                  <a:pt x="750761" y="176326"/>
                  <a:pt x="734092" y="175754"/>
                </a:cubicBezTo>
                <a:cubicBezTo>
                  <a:pt x="717423" y="175183"/>
                  <a:pt x="704374" y="161086"/>
                  <a:pt x="704945" y="144417"/>
                </a:cubicBezTo>
                <a:lnTo>
                  <a:pt x="704945" y="103269"/>
                </a:lnTo>
                <a:lnTo>
                  <a:pt x="231802" y="576413"/>
                </a:lnTo>
                <a:lnTo>
                  <a:pt x="241498" y="590794"/>
                </a:lnTo>
                <a:cubicBezTo>
                  <a:pt x="247853" y="605827"/>
                  <a:pt x="251365" y="622359"/>
                  <a:pt x="251365" y="639718"/>
                </a:cubicBezTo>
                <a:cubicBezTo>
                  <a:pt x="251365" y="709155"/>
                  <a:pt x="195072" y="765448"/>
                  <a:pt x="125635" y="765448"/>
                </a:cubicBezTo>
                <a:cubicBezTo>
                  <a:pt x="56198" y="765448"/>
                  <a:pt x="0" y="709155"/>
                  <a:pt x="0" y="639718"/>
                </a:cubicBezTo>
                <a:cubicBezTo>
                  <a:pt x="0" y="570280"/>
                  <a:pt x="56293" y="514083"/>
                  <a:pt x="125635" y="514083"/>
                </a:cubicBezTo>
                <a:cubicBezTo>
                  <a:pt x="143018" y="514083"/>
                  <a:pt x="159567" y="517596"/>
                  <a:pt x="174614" y="523949"/>
                </a:cubicBezTo>
                <a:lnTo>
                  <a:pt x="188912" y="533578"/>
                </a:lnTo>
                <a:lnTo>
                  <a:pt x="661988" y="60502"/>
                </a:lnTo>
                <a:lnTo>
                  <a:pt x="620840" y="60502"/>
                </a:lnTo>
                <a:cubicBezTo>
                  <a:pt x="620173" y="60502"/>
                  <a:pt x="619411" y="60502"/>
                  <a:pt x="618744" y="60502"/>
                </a:cubicBezTo>
                <a:cubicBezTo>
                  <a:pt x="602076" y="59930"/>
                  <a:pt x="589026" y="45833"/>
                  <a:pt x="589598" y="29165"/>
                </a:cubicBezTo>
                <a:cubicBezTo>
                  <a:pt x="590169" y="12496"/>
                  <a:pt x="604266" y="-553"/>
                  <a:pt x="620935" y="18"/>
                </a:cubicBezTo>
                <a:close/>
              </a:path>
            </a:pathLst>
          </a:custGeom>
          <a:gradFill flip="none" rotWithShape="1">
            <a:gsLst>
              <a:gs pos="0">
                <a:srgbClr val="399A91"/>
              </a:gs>
              <a:gs pos="80000">
                <a:srgbClr val="0A6BBA"/>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Sans Display"/>
              <a:ea typeface="+mn-ea"/>
              <a:cs typeface="Segoe UI" pitchFamily="34" charset="0"/>
            </a:endParaRPr>
          </a:p>
        </p:txBody>
      </p:sp>
      <p:cxnSp>
        <p:nvCxnSpPr>
          <p:cNvPr id="32" name="Straight Connector 31">
            <a:extLst>
              <a:ext uri="{FF2B5EF4-FFF2-40B4-BE49-F238E27FC236}">
                <a16:creationId xmlns:a16="http://schemas.microsoft.com/office/drawing/2014/main" id="{0D746B1B-71B1-9815-21C0-64A7F4E3DED0}"/>
              </a:ext>
            </a:extLst>
          </p:cNvPr>
          <p:cNvCxnSpPr>
            <a:cxnSpLocks/>
          </p:cNvCxnSpPr>
          <p:nvPr/>
        </p:nvCxnSpPr>
        <p:spPr>
          <a:xfrm>
            <a:off x="3864239" y="2237685"/>
            <a:ext cx="914400"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E72BBA-F00B-0D39-2C2A-EA3100005E74}"/>
              </a:ext>
            </a:extLst>
          </p:cNvPr>
          <p:cNvCxnSpPr>
            <a:cxnSpLocks/>
          </p:cNvCxnSpPr>
          <p:nvPr/>
        </p:nvCxnSpPr>
        <p:spPr>
          <a:xfrm>
            <a:off x="3864239" y="3469530"/>
            <a:ext cx="914400"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250B264-BE8D-F4F1-1B27-D877D9531E94}"/>
              </a:ext>
            </a:extLst>
          </p:cNvPr>
          <p:cNvCxnSpPr>
            <a:cxnSpLocks/>
          </p:cNvCxnSpPr>
          <p:nvPr/>
        </p:nvCxnSpPr>
        <p:spPr>
          <a:xfrm>
            <a:off x="3864239" y="4870393"/>
            <a:ext cx="914400"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810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25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500"/>
                                        <p:tgtEl>
                                          <p:spTgt spid="48"/>
                                        </p:tgtEl>
                                      </p:cBhvr>
                                    </p:animEffect>
                                  </p:childTnLst>
                                </p:cTn>
                              </p:par>
                              <p:par>
                                <p:cTn id="29" presetID="10" presetClass="entr" presetSubtype="0" fill="hold" grpId="0" nodeType="withEffect">
                                  <p:stCondLst>
                                    <p:cond delay="2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grpId="0" nodeType="withEffect">
                                  <p:stCondLst>
                                    <p:cond delay="750"/>
                                  </p:stCondLst>
                                  <p:childTnLst>
                                    <p:set>
                                      <p:cBhvr>
                                        <p:cTn id="42" dur="1" fill="hold">
                                          <p:stCondLst>
                                            <p:cond delay="0"/>
                                          </p:stCondLst>
                                        </p:cTn>
                                        <p:tgtEl>
                                          <p:spTgt spid="40"/>
                                        </p:tgtEl>
                                        <p:attrNameLst>
                                          <p:attrName>style.visibility</p:attrName>
                                        </p:attrNameLst>
                                      </p:cBhvr>
                                      <p:to>
                                        <p:strVal val="visible"/>
                                      </p:to>
                                    </p:set>
                                    <p:animEffect transition="in" filter="fade">
                                      <p:cBhvr>
                                        <p:cTn id="43" dur="500"/>
                                        <p:tgtEl>
                                          <p:spTgt spid="40"/>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46"/>
                                        </p:tgtEl>
                                        <p:attrNameLst>
                                          <p:attrName>style.visibility</p:attrName>
                                        </p:attrNameLst>
                                      </p:cBhvr>
                                      <p:to>
                                        <p:strVal val="visible"/>
                                      </p:to>
                                    </p:set>
                                    <p:animEffect transition="in" filter="fade">
                                      <p:cBhvr>
                                        <p:cTn id="46" dur="500"/>
                                        <p:tgtEl>
                                          <p:spTgt spid="46"/>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500"/>
                                        <p:tgtEl>
                                          <p:spTgt spid="55"/>
                                        </p:tgtEl>
                                      </p:cBhvr>
                                    </p:animEffect>
                                  </p:childTnLst>
                                </p:cTn>
                              </p:par>
                              <p:par>
                                <p:cTn id="50" presetID="10" presetClass="entr" presetSubtype="0" fill="hold" nodeType="withEffect">
                                  <p:stCondLst>
                                    <p:cond delay="50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500"/>
                                        <p:tgtEl>
                                          <p:spTgt spid="58"/>
                                        </p:tgtEl>
                                      </p:cBhvr>
                                    </p:animEffect>
                                  </p:childTnLst>
                                </p:cTn>
                              </p:par>
                              <p:par>
                                <p:cTn id="53" presetID="10" presetClass="entr" presetSubtype="0" fill="hold" nodeType="withEffect">
                                  <p:stCondLst>
                                    <p:cond delay="75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10" presetClass="entr" presetSubtype="0" fill="hold" nodeType="withEffect">
                                  <p:stCondLst>
                                    <p:cond delay="1000"/>
                                  </p:stCondLst>
                                  <p:childTnLst>
                                    <p:set>
                                      <p:cBhvr>
                                        <p:cTn id="57" dur="1" fill="hold">
                                          <p:stCondLst>
                                            <p:cond delay="0"/>
                                          </p:stCondLst>
                                        </p:cTn>
                                        <p:tgtEl>
                                          <p:spTgt spid="60"/>
                                        </p:tgtEl>
                                        <p:attrNameLst>
                                          <p:attrName>style.visibility</p:attrName>
                                        </p:attrNameLst>
                                      </p:cBhvr>
                                      <p:to>
                                        <p:strVal val="visible"/>
                                      </p:to>
                                    </p:set>
                                    <p:animEffect transition="in" filter="fade">
                                      <p:cBhvr>
                                        <p:cTn id="58" dur="500"/>
                                        <p:tgtEl>
                                          <p:spTgt spid="60"/>
                                        </p:tgtEl>
                                      </p:cBhvr>
                                    </p:animEffect>
                                  </p:childTnLst>
                                </p:cTn>
                              </p:par>
                              <p:par>
                                <p:cTn id="59" presetID="10" presetClass="entr" presetSubtype="0" fill="hold" nodeType="withEffect">
                                  <p:stCondLst>
                                    <p:cond delay="50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nodeType="withEffect">
                                  <p:stCondLst>
                                    <p:cond delay="750"/>
                                  </p:stCondLst>
                                  <p:childTnLst>
                                    <p:set>
                                      <p:cBhvr>
                                        <p:cTn id="63" dur="1" fill="hold">
                                          <p:stCondLst>
                                            <p:cond delay="0"/>
                                          </p:stCondLst>
                                        </p:cTn>
                                        <p:tgtEl>
                                          <p:spTgt spid="62"/>
                                        </p:tgtEl>
                                        <p:attrNameLst>
                                          <p:attrName>style.visibility</p:attrName>
                                        </p:attrNameLst>
                                      </p:cBhvr>
                                      <p:to>
                                        <p:strVal val="visible"/>
                                      </p:to>
                                    </p:set>
                                    <p:animEffect transition="in" filter="fade">
                                      <p:cBhvr>
                                        <p:cTn id="64" dur="500"/>
                                        <p:tgtEl>
                                          <p:spTgt spid="62"/>
                                        </p:tgtEl>
                                      </p:cBhvr>
                                    </p:animEffect>
                                  </p:childTnLst>
                                </p:cTn>
                              </p:par>
                              <p:par>
                                <p:cTn id="65" presetID="10" presetClass="entr" presetSubtype="0" fill="hold" nodeType="withEffect">
                                  <p:stCondLst>
                                    <p:cond delay="100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nodeType="withEffect">
                                  <p:stCondLst>
                                    <p:cond delay="50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par>
                                <p:cTn id="71" presetID="10" presetClass="entr" presetSubtype="0" fill="hold" nodeType="withEffect">
                                  <p:stCondLst>
                                    <p:cond delay="75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par>
                                <p:cTn id="74" presetID="10" presetClass="entr" presetSubtype="0" fill="hold" nodeType="withEffect">
                                  <p:stCondLst>
                                    <p:cond delay="100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 grpId="0" animBg="1"/>
      <p:bldP spid="15" grpId="0" animBg="1"/>
      <p:bldP spid="48" grpId="0"/>
      <p:bldP spid="20" grpId="0"/>
      <p:bldP spid="11" grpId="0" animBg="1"/>
      <p:bldP spid="24" grpId="0"/>
      <p:bldP spid="26" grpId="0"/>
      <p:bldP spid="12" grpId="0" animBg="1"/>
      <p:bldP spid="40" grpId="0"/>
      <p:bldP spid="37" grpId="0"/>
      <p:bldP spid="13" grpId="0" animBg="1"/>
      <p:bldP spid="46" grpId="0"/>
      <p:bldP spid="55" grpId="0"/>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356A5-4894-9383-FA13-84B795D2FDCA}"/>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B4FAC1F5-7F96-C4CF-FC77-7AF451E9BF80}"/>
              </a:ext>
              <a:ext uri="{C183D7F6-B498-43B3-948B-1728B52AA6E4}">
                <adec:decorative xmlns:adec="http://schemas.microsoft.com/office/drawing/2017/decorative" val="1"/>
              </a:ext>
            </a:extLst>
          </p:cNvPr>
          <p:cNvSpPr/>
          <p:nvPr/>
        </p:nvSpPr>
        <p:spPr bwMode="auto">
          <a:xfrm>
            <a:off x="0" y="5248664"/>
            <a:ext cx="12192000" cy="1609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8B9655EA-32F8-63E8-2724-BD3A881C962C}"/>
              </a:ext>
              <a:ext uri="{C183D7F6-B498-43B3-948B-1728B52AA6E4}">
                <adec:decorative xmlns:adec="http://schemas.microsoft.com/office/drawing/2017/decorative" val="1"/>
              </a:ext>
            </a:extLst>
          </p:cNvPr>
          <p:cNvSpPr>
            <a:spLocks/>
          </p:cNvSpPr>
          <p:nvPr/>
        </p:nvSpPr>
        <p:spPr bwMode="auto">
          <a:xfrm>
            <a:off x="579223" y="1555714"/>
            <a:ext cx="11049000" cy="4425267"/>
          </a:xfrm>
          <a:prstGeom prst="roundRect">
            <a:avLst>
              <a:gd name="adj" fmla="val 3911"/>
            </a:avLst>
          </a:prstGeom>
          <a:solidFill>
            <a:schemeClr val="bg1"/>
          </a:solidFill>
          <a:ln w="3175">
            <a:solidFill>
              <a:schemeClr val="bg1">
                <a:lumMod val="95000"/>
              </a:schemeClr>
            </a:solidFill>
            <a:headEnd type="none" w="med" len="med"/>
            <a:tailEnd type="none" w="med" len="med"/>
          </a:ln>
          <a:effectLst>
            <a:outerShdw blurRad="38100" dist="38100" dir="8100000" algn="tr" rotWithShape="0">
              <a:schemeClr val="bg1">
                <a:lumMod val="50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marR="0" lvl="0" indent="-171450" algn="l" defTabSz="1243234" rtl="0" eaLnBrk="1" fontAlgn="base" latinLnBrk="0" hangingPunct="1">
              <a:lnSpc>
                <a:spcPct val="100000"/>
              </a:lnSpc>
              <a:spcBef>
                <a:spcPts val="600"/>
              </a:spcBef>
              <a:spcAft>
                <a:spcPts val="0"/>
              </a:spcAft>
              <a:buClr>
                <a:srgbClr val="091F2C"/>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76" name="Title 75">
            <a:extLst>
              <a:ext uri="{FF2B5EF4-FFF2-40B4-BE49-F238E27FC236}">
                <a16:creationId xmlns:a16="http://schemas.microsoft.com/office/drawing/2014/main" id="{91FE6D7C-058F-8134-C778-541EEEEFF260}"/>
              </a:ext>
            </a:extLst>
          </p:cNvPr>
          <p:cNvSpPr>
            <a:spLocks noGrp="1"/>
          </p:cNvSpPr>
          <p:nvPr>
            <p:ph type="title"/>
          </p:nvPr>
        </p:nvSpPr>
        <p:spPr>
          <a:xfrm>
            <a:off x="588263" y="543565"/>
            <a:ext cx="11018520" cy="861774"/>
          </a:xfrm>
        </p:spPr>
        <p:txBody>
          <a:bodyPr/>
          <a:lstStyle/>
          <a:p>
            <a:pPr algn="l"/>
            <a:r>
              <a:rPr lang="en-US" sz="2800" noProof="0">
                <a:ea typeface="+mj-ea"/>
                <a:cs typeface="+mj-cs"/>
              </a:rPr>
              <a:t>The industry’s rapid evolution is raising </a:t>
            </a:r>
            <a:r>
              <a:rPr lang="en-US" sz="2800" noProof="0">
                <a:solidFill>
                  <a:srgbClr val="000000"/>
                </a:solidFill>
                <a:ea typeface="+mj-ea"/>
                <a:cs typeface="+mj-cs"/>
              </a:rPr>
              <a:t>challenges </a:t>
            </a:r>
            <a:r>
              <a:rPr lang="en-US" sz="2800" noProof="0">
                <a:ea typeface="+mj-ea"/>
                <a:cs typeface="+mj-cs"/>
              </a:rPr>
              <a:t>for </a:t>
            </a:r>
            <a:r>
              <a:rPr lang="en-US" sz="2800" noProof="0">
                <a:solidFill>
                  <a:schemeClr val="accent2"/>
                </a:solidFill>
                <a:ea typeface="+mj-ea"/>
                <a:cs typeface="+mj-cs"/>
              </a:rPr>
              <a:t>Energy and Resources</a:t>
            </a:r>
          </a:p>
        </p:txBody>
      </p:sp>
      <p:sp>
        <p:nvSpPr>
          <p:cNvPr id="82" name="Rectangle 81">
            <a:extLst>
              <a:ext uri="{FF2B5EF4-FFF2-40B4-BE49-F238E27FC236}">
                <a16:creationId xmlns:a16="http://schemas.microsoft.com/office/drawing/2014/main" id="{95FF578B-DAEE-6858-FAFE-986A935392A3}"/>
              </a:ext>
            </a:extLst>
          </p:cNvPr>
          <p:cNvSpPr/>
          <p:nvPr/>
        </p:nvSpPr>
        <p:spPr bwMode="auto">
          <a:xfrm>
            <a:off x="714385" y="1757299"/>
            <a:ext cx="2601954" cy="738664"/>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Cybersecurity and upgrading aging infrastructure</a:t>
            </a:r>
            <a:endParaRPr kumimoji="0" lang="en-US" sz="1600" b="0" i="0" u="none" strike="noStrike" kern="0" cap="none" spc="0" normalizeH="0" baseline="0" noProof="0">
              <a:ln>
                <a:noFill/>
              </a:ln>
              <a:solidFill>
                <a:srgbClr val="000000"/>
              </a:solidFill>
              <a:effectLst/>
              <a:uLnTx/>
              <a:uFillTx/>
              <a:latin typeface="Segoe Sans Display Semibold"/>
              <a:ea typeface="+mn-ea"/>
              <a:cs typeface="Segoe Sans Display Semibold"/>
            </a:endParaRPr>
          </a:p>
        </p:txBody>
      </p:sp>
      <p:pic>
        <p:nvPicPr>
          <p:cNvPr id="16" name="Picture 2">
            <a:extLst>
              <a:ext uri="{FF2B5EF4-FFF2-40B4-BE49-F238E27FC236}">
                <a16:creationId xmlns:a16="http://schemas.microsoft.com/office/drawing/2014/main" id="{3B2DA31A-616A-A91F-EAF5-FB8DA9C3AE7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19" r="4719"/>
          <a:stretch/>
        </p:blipFill>
        <p:spPr bwMode="auto">
          <a:xfrm>
            <a:off x="718467" y="2603756"/>
            <a:ext cx="2593790" cy="1609336"/>
          </a:xfrm>
          <a:prstGeom prst="roundRect">
            <a:avLst>
              <a:gd name="adj" fmla="val 5353"/>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48F5BAB-FEC3-C486-4FDB-90B3BEF75818}"/>
              </a:ext>
            </a:extLst>
          </p:cNvPr>
          <p:cNvSpPr txBox="1">
            <a:spLocks/>
          </p:cNvSpPr>
          <p:nvPr/>
        </p:nvSpPr>
        <p:spPr>
          <a:xfrm>
            <a:off x="811906" y="4346179"/>
            <a:ext cx="2406912" cy="1246495"/>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solidFill>
                  <a:srgbClr val="0078D4"/>
                </a:solidFill>
                <a:effectLst/>
                <a:uLnTx/>
                <a:uFillTx/>
                <a:latin typeface="Segoe UI"/>
                <a:ea typeface="+mn-ea"/>
                <a:cs typeface="Segoe Sans Display Semibold" pitchFamily="2" charset="0"/>
              </a:rPr>
              <a:t>1500+</a:t>
            </a:r>
            <a:br>
              <a:rPr kumimoji="0" lang="en-US" sz="1450" b="0" i="0" u="none" strike="noStrike" kern="1200" cap="none" spc="0" normalizeH="0" baseline="0" noProof="0">
                <a:ln w="3175">
                  <a:noFill/>
                </a:ln>
                <a:solidFill>
                  <a:srgbClr val="E8E6DF">
                    <a:lumMod val="10000"/>
                  </a:srgbClr>
                </a:solidFill>
                <a:effectLst/>
                <a:uLnTx/>
                <a:uFillTx/>
                <a:latin typeface="Segoe UI"/>
                <a:ea typeface="+mn-ea"/>
                <a:cs typeface="Segoe Sans Display" pitchFamily="2" charset="0"/>
              </a:rPr>
            </a:br>
            <a:r>
              <a:rPr kumimoji="0" lang="en-US" sz="1450" b="0" i="0" u="none" strike="noStrike" kern="1200" cap="none" spc="0" normalizeH="0" baseline="0" noProof="0">
                <a:ln w="3175">
                  <a:noFill/>
                </a:ln>
                <a:solidFill>
                  <a:srgbClr val="000000"/>
                </a:solidFill>
                <a:effectLst/>
                <a:uLnTx/>
                <a:uFillTx/>
                <a:latin typeface="Segoe UI"/>
                <a:ea typeface="+mn-ea"/>
                <a:cs typeface="Segoe Sans Display" pitchFamily="2" charset="0"/>
              </a:rPr>
              <a:t>cyberattacks </a:t>
            </a: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per week – now more sophisticated with AI </a:t>
            </a:r>
          </a:p>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 at a typical gas and ​</a:t>
            </a:r>
          </a:p>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electricity utility</a:t>
            </a:r>
            <a:r>
              <a:rPr kumimoji="0" lang="en-US" sz="1450" b="0" i="0" u="none" strike="noStrike" kern="1200" cap="none" spc="0" normalizeH="0" baseline="30000" noProof="0">
                <a:ln>
                  <a:noFill/>
                </a:ln>
                <a:solidFill>
                  <a:srgbClr val="0070C0"/>
                </a:solidFill>
                <a:effectLst/>
                <a:uLnTx/>
                <a:uFillTx/>
                <a:latin typeface="Segoe UI"/>
                <a:ea typeface="+mn-ea"/>
                <a:cs typeface="Segoe Sans Display" pitchFamily="2" charset="0"/>
                <a:hlinkClick r:id="rId4">
                  <a:extLst>
                    <a:ext uri="{A12FA001-AC4F-418D-AE19-62706E023703}">
                      <ahyp:hlinkClr xmlns:ahyp="http://schemas.microsoft.com/office/drawing/2018/hyperlinkcolor" val="tx"/>
                    </a:ext>
                  </a:extLst>
                </a:hlinkClick>
              </a:rPr>
              <a:t>1</a:t>
            </a:r>
            <a:endParaRPr kumimoji="0" lang="en-US" sz="1450" b="0" i="0" u="none" strike="noStrike" kern="1200" cap="none" spc="0" normalizeH="0" baseline="0" noProof="0">
              <a:ln>
                <a:noFill/>
              </a:ln>
              <a:solidFill>
                <a:srgbClr val="0070C0"/>
              </a:solidFill>
              <a:effectLst/>
              <a:uLnTx/>
              <a:uFillTx/>
              <a:latin typeface="Segoe UI"/>
              <a:ea typeface="+mn-ea"/>
              <a:cs typeface="Segoe Sans Display" pitchFamily="2" charset="0"/>
            </a:endParaRPr>
          </a:p>
        </p:txBody>
      </p:sp>
      <p:sp>
        <p:nvSpPr>
          <p:cNvPr id="3" name="Rectangle 2">
            <a:extLst>
              <a:ext uri="{FF2B5EF4-FFF2-40B4-BE49-F238E27FC236}">
                <a16:creationId xmlns:a16="http://schemas.microsoft.com/office/drawing/2014/main" id="{42614488-9A8B-1E68-4001-B0B0B3A9B79F}"/>
              </a:ext>
            </a:extLst>
          </p:cNvPr>
          <p:cNvSpPr/>
          <p:nvPr/>
        </p:nvSpPr>
        <p:spPr bwMode="auto">
          <a:xfrm>
            <a:off x="3478954" y="1880410"/>
            <a:ext cx="2523965" cy="49244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Attracting and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skilling talent</a:t>
            </a:r>
            <a:endParaRPr kumimoji="0" lang="en-US" sz="1600" b="0" i="0" u="none" strike="noStrike" kern="0" cap="none" spc="0" normalizeH="0" baseline="0" noProof="0">
              <a:ln>
                <a:noFill/>
              </a:ln>
              <a:solidFill>
                <a:srgbClr val="000000"/>
              </a:solidFill>
              <a:effectLst/>
              <a:uLnTx/>
              <a:uFillTx/>
              <a:latin typeface="Segoe Sans Display Semibold"/>
              <a:ea typeface="+mn-ea"/>
              <a:cs typeface="Segoe Sans Display Semibold"/>
            </a:endParaRPr>
          </a:p>
        </p:txBody>
      </p:sp>
      <p:pic>
        <p:nvPicPr>
          <p:cNvPr id="4" name="Picture 2">
            <a:extLst>
              <a:ext uri="{FF2B5EF4-FFF2-40B4-BE49-F238E27FC236}">
                <a16:creationId xmlns:a16="http://schemas.microsoft.com/office/drawing/2014/main" id="{887E6B7E-FD19-1769-DF8A-6B12BC18AF03}"/>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3" t="33110" r="-313" b="23597"/>
          <a:stretch>
            <a:fillRect/>
          </a:stretch>
        </p:blipFill>
        <p:spPr bwMode="auto">
          <a:xfrm>
            <a:off x="3444041" y="2603756"/>
            <a:ext cx="2593790" cy="1609336"/>
          </a:xfrm>
          <a:prstGeom prst="roundRect">
            <a:avLst>
              <a:gd name="adj" fmla="val 5353"/>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37BDF51-6C5D-33A3-2666-0528B2D0BFA8}"/>
              </a:ext>
            </a:extLst>
          </p:cNvPr>
          <p:cNvSpPr txBox="1">
            <a:spLocks/>
          </p:cNvSpPr>
          <p:nvPr/>
        </p:nvSpPr>
        <p:spPr>
          <a:xfrm>
            <a:off x="3537481" y="4346179"/>
            <a:ext cx="2406910" cy="1485022"/>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solidFill>
                  <a:srgbClr val="0078D4"/>
                </a:solidFill>
                <a:effectLst/>
                <a:uLnTx/>
                <a:uFillTx/>
                <a:latin typeface="Segoe UI"/>
                <a:ea typeface="+mn-ea"/>
                <a:cs typeface="Segoe Sans Display Semibold" pitchFamily="2" charset="0"/>
              </a:rPr>
              <a:t>197 </a:t>
            </a:r>
          </a:p>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1450" b="0" i="0" u="none" strike="noStrike" kern="1200" cap="none" spc="0" normalizeH="0" baseline="0" noProof="0">
                <a:ln>
                  <a:noFill/>
                </a:ln>
                <a:solidFill>
                  <a:srgbClr val="000000"/>
                </a:solidFill>
                <a:effectLst/>
                <a:uLnTx/>
                <a:uFillTx/>
                <a:latin typeface="Segoe UI"/>
                <a:ea typeface="+mn-ea"/>
                <a:cs typeface="Segoe Sans Display" pitchFamily="2" charset="0"/>
              </a:rPr>
              <a:t>energy companies in 27 countries reported difficulties finding qualified applicants for nearly all occupation categories</a:t>
            </a:r>
            <a:r>
              <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hlinkClick r:id="rId6">
                  <a:extLst>
                    <a:ext uri="{A12FA001-AC4F-418D-AE19-62706E023703}">
                      <ahyp:hlinkClr xmlns:ahyp="http://schemas.microsoft.com/office/drawing/2018/hyperlinkcolor" val="tx"/>
                    </a:ext>
                  </a:extLst>
                </a:hlinkClick>
              </a:rPr>
              <a:t>2</a:t>
            </a:r>
            <a:endPar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endParaRPr>
          </a:p>
        </p:txBody>
      </p:sp>
      <p:sp>
        <p:nvSpPr>
          <p:cNvPr id="85" name="Rectangle 84">
            <a:extLst>
              <a:ext uri="{FF2B5EF4-FFF2-40B4-BE49-F238E27FC236}">
                <a16:creationId xmlns:a16="http://schemas.microsoft.com/office/drawing/2014/main" id="{179D9E87-0335-B411-0226-CC12688A8EBB}"/>
              </a:ext>
            </a:extLst>
          </p:cNvPr>
          <p:cNvSpPr/>
          <p:nvPr/>
        </p:nvSpPr>
        <p:spPr bwMode="auto">
          <a:xfrm>
            <a:off x="6174643" y="1880410"/>
            <a:ext cx="2583734" cy="49244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Meeting rising </a:t>
            </a:r>
            <a:br>
              <a:rPr kumimoji="0" lang="en-US" sz="1600" b="0" i="0" u="none" strike="noStrike" kern="0" cap="none" spc="0" normalizeH="0" baseline="0" noProof="0">
                <a:ln>
                  <a:noFill/>
                </a:ln>
                <a:solidFill>
                  <a:srgbClr val="000000"/>
                </a:solidFill>
                <a:effectLst/>
                <a:uLnTx/>
                <a:uFillTx/>
                <a:latin typeface="Segoe Sans Display Semibold"/>
                <a:ea typeface="+mn-ea"/>
                <a:cs typeface="+mn-cs"/>
              </a:rPr>
            </a:b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energy demand</a:t>
            </a:r>
          </a:p>
        </p:txBody>
      </p:sp>
      <p:pic>
        <p:nvPicPr>
          <p:cNvPr id="15" name="Picture 2">
            <a:extLst>
              <a:ext uri="{FF2B5EF4-FFF2-40B4-BE49-F238E27FC236}">
                <a16:creationId xmlns:a16="http://schemas.microsoft.com/office/drawing/2014/main" id="{B3D4DF4E-AE21-7242-F739-35AE7F5C0879}"/>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3488" b="3488"/>
          <a:stretch/>
        </p:blipFill>
        <p:spPr bwMode="auto">
          <a:xfrm>
            <a:off x="6169615" y="2603756"/>
            <a:ext cx="2593790" cy="1609336"/>
          </a:xfrm>
          <a:prstGeom prst="roundRect">
            <a:avLst>
              <a:gd name="adj" fmla="val 5353"/>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B122375-B359-4B3F-2DE8-C845F6604A9C}"/>
              </a:ext>
            </a:extLst>
          </p:cNvPr>
          <p:cNvSpPr txBox="1">
            <a:spLocks/>
          </p:cNvSpPr>
          <p:nvPr/>
        </p:nvSpPr>
        <p:spPr>
          <a:xfrm>
            <a:off x="6245011" y="4346179"/>
            <a:ext cx="2442998" cy="1405513"/>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solidFill>
                  <a:srgbClr val="0078D4"/>
                </a:solidFill>
                <a:effectLst/>
                <a:uLnTx/>
                <a:uFillTx/>
                <a:latin typeface="Segoe UI"/>
                <a:ea typeface="+mn-ea"/>
                <a:cs typeface="Segoe Sans Display Semibold" pitchFamily="2" charset="0"/>
              </a:rPr>
              <a:t>25%</a:t>
            </a:r>
            <a:br>
              <a:rPr kumimoji="0" lang="en-US" sz="1400" b="0" i="0" u="none" strike="noStrike" kern="1200" cap="none" spc="0" normalizeH="0" baseline="0" noProof="0">
                <a:ln>
                  <a:noFill/>
                </a:ln>
                <a:solidFill>
                  <a:srgbClr val="E8E6DF">
                    <a:lumMod val="10000"/>
                  </a:srgbClr>
                </a:solidFill>
                <a:effectLst/>
                <a:uLnTx/>
                <a:uFillTx/>
                <a:latin typeface="Segoe UI"/>
                <a:ea typeface="+mn-ea"/>
                <a:cs typeface="Segoe Sans Display" pitchFamily="2" charset="0"/>
              </a:rPr>
            </a:b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increase in </a:t>
            </a:r>
            <a:r>
              <a:rPr kumimoji="0" lang="en-US" sz="1450" b="0" i="0" u="none" strike="noStrike" kern="1200" cap="none" spc="0" normalizeH="0" baseline="0" noProof="0">
                <a:ln>
                  <a:noFill/>
                </a:ln>
                <a:solidFill>
                  <a:srgbClr val="000000"/>
                </a:solidFill>
                <a:effectLst/>
                <a:uLnTx/>
                <a:uFillTx/>
                <a:latin typeface="Segoe UI"/>
                <a:ea typeface="+mn-ea"/>
                <a:cs typeface="Segoe Sans Display" pitchFamily="2" charset="0"/>
              </a:rPr>
              <a:t>US electricity demand by 2030, driven by EVs, data centers, population growth, and warmer climate</a:t>
            </a:r>
            <a:r>
              <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hlinkClick r:id="rId8">
                  <a:extLst>
                    <a:ext uri="{A12FA001-AC4F-418D-AE19-62706E023703}">
                      <ahyp:hlinkClr xmlns:ahyp="http://schemas.microsoft.com/office/drawing/2018/hyperlinkcolor" val="tx"/>
                    </a:ext>
                  </a:extLst>
                </a:hlinkClick>
              </a:rPr>
              <a:t>3</a:t>
            </a:r>
            <a:endPar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endParaRPr>
          </a:p>
          <a:p>
            <a:pPr marL="0" marR="0" lvl="0" indent="0" algn="ctr" defTabSz="932719" rtl="0" eaLnBrk="1" fontAlgn="ctr"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30000" noProof="0">
              <a:ln>
                <a:noFill/>
              </a:ln>
              <a:solidFill>
                <a:srgbClr val="091F2C"/>
              </a:solidFill>
              <a:effectLst/>
              <a:uLnTx/>
              <a:uFillTx/>
              <a:latin typeface="Segoe UI"/>
              <a:ea typeface="+mn-ea"/>
              <a:cs typeface="Segoe Sans Display" pitchFamily="2" charset="0"/>
            </a:endParaRPr>
          </a:p>
        </p:txBody>
      </p:sp>
      <p:sp>
        <p:nvSpPr>
          <p:cNvPr id="86" name="Rectangle 85">
            <a:extLst>
              <a:ext uri="{FF2B5EF4-FFF2-40B4-BE49-F238E27FC236}">
                <a16:creationId xmlns:a16="http://schemas.microsoft.com/office/drawing/2014/main" id="{AF56F6EA-8CE0-55BE-2A71-CD6904D3E02F}"/>
              </a:ext>
            </a:extLst>
          </p:cNvPr>
          <p:cNvSpPr/>
          <p:nvPr/>
        </p:nvSpPr>
        <p:spPr bwMode="auto">
          <a:xfrm>
            <a:off x="8906550" y="1880410"/>
            <a:ext cx="2571066" cy="49244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Managing GH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Sans Display Semibold"/>
                <a:ea typeface="+mn-ea"/>
                <a:cs typeface="+mn-cs"/>
              </a:rPr>
              <a:t>emissions </a:t>
            </a:r>
            <a:endParaRPr kumimoji="0" lang="en-US" sz="1600" b="0" i="0" u="none" strike="noStrike" kern="0" cap="none" spc="0" normalizeH="0" baseline="0" noProof="0">
              <a:ln>
                <a:noFill/>
              </a:ln>
              <a:solidFill>
                <a:srgbClr val="000000"/>
              </a:solidFill>
              <a:effectLst/>
              <a:uLnTx/>
              <a:uFillTx/>
              <a:latin typeface="Segoe Sans Display Semibold"/>
              <a:ea typeface="+mn-ea"/>
              <a:cs typeface="Segoe Sans Display Semibold"/>
            </a:endParaRPr>
          </a:p>
        </p:txBody>
      </p:sp>
      <p:pic>
        <p:nvPicPr>
          <p:cNvPr id="14" name="Picture 2">
            <a:extLst>
              <a:ext uri="{FF2B5EF4-FFF2-40B4-BE49-F238E27FC236}">
                <a16:creationId xmlns:a16="http://schemas.microsoft.com/office/drawing/2014/main" id="{AFCCD48C-FB77-3B14-C8B8-FE71290AC1ED}"/>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3466" b="3466"/>
          <a:stretch/>
        </p:blipFill>
        <p:spPr bwMode="auto">
          <a:xfrm>
            <a:off x="8895188" y="2603756"/>
            <a:ext cx="2593790" cy="1609336"/>
          </a:xfrm>
          <a:prstGeom prst="roundRect">
            <a:avLst>
              <a:gd name="adj" fmla="val 5353"/>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FBF7FF5-CE96-3EAE-1A83-6C631109A406}"/>
              </a:ext>
            </a:extLst>
          </p:cNvPr>
          <p:cNvSpPr txBox="1">
            <a:spLocks/>
          </p:cNvSpPr>
          <p:nvPr/>
        </p:nvSpPr>
        <p:spPr>
          <a:xfrm>
            <a:off x="8975958" y="4346179"/>
            <a:ext cx="2432250" cy="1246495"/>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0" marR="0" lvl="0" indent="0" algn="ctr" defTabSz="932719"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solidFill>
                  <a:srgbClr val="0078D4"/>
                </a:solidFill>
                <a:effectLst/>
                <a:uLnTx/>
                <a:uFillTx/>
                <a:latin typeface="Segoe UI"/>
                <a:ea typeface="+mn-ea"/>
                <a:cs typeface="Segoe Sans Display Semibold" pitchFamily="2" charset="0"/>
              </a:rPr>
              <a:t>75%</a:t>
            </a:r>
            <a:br>
              <a:rPr kumimoji="0" lang="en-US" sz="2800" b="0" i="0" u="none" strike="noStrike" kern="1200" cap="none" spc="0" normalizeH="0" baseline="0" noProof="0">
                <a:ln w="3175">
                  <a:noFill/>
                </a:ln>
                <a:solidFill>
                  <a:srgbClr val="E8E6DF">
                    <a:lumMod val="10000"/>
                  </a:srgbClr>
                </a:solidFill>
                <a:effectLst/>
                <a:uLnTx/>
                <a:uFillTx/>
                <a:latin typeface="Segoe UI"/>
                <a:ea typeface="+mn-ea"/>
                <a:cs typeface="Segoe Sans Display" pitchFamily="2" charset="0"/>
              </a:rPr>
            </a:b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of </a:t>
            </a:r>
            <a:r>
              <a:rPr kumimoji="0" lang="en-US" sz="1450" b="0" i="0" u="none" strike="noStrike" kern="1200" cap="none" spc="0" normalizeH="0" baseline="0" noProof="0">
                <a:ln>
                  <a:noFill/>
                </a:ln>
                <a:solidFill>
                  <a:srgbClr val="000000"/>
                </a:solidFill>
                <a:effectLst/>
                <a:uLnTx/>
                <a:uFillTx/>
                <a:latin typeface="Segoe UI"/>
                <a:ea typeface="+mn-ea"/>
                <a:cs typeface="Segoe Sans Display" pitchFamily="2" charset="0"/>
              </a:rPr>
              <a:t>global GHG emissions are from the energy sector</a:t>
            </a:r>
            <a:r>
              <a:rPr kumimoji="0" lang="en-US" sz="1400" b="0" i="0" u="none" strike="noStrike" kern="1200" cap="none" spc="0" normalizeH="0" baseline="0" noProof="0">
                <a:ln>
                  <a:noFill/>
                </a:ln>
                <a:solidFill>
                  <a:srgbClr val="000000"/>
                </a:solidFill>
                <a:effectLst/>
                <a:uLnTx/>
                <a:uFillTx/>
                <a:latin typeface="Segoe UI"/>
                <a:ea typeface="+mn-ea"/>
                <a:cs typeface="Segoe Sans Display" pitchFamily="2" charset="0"/>
              </a:rPr>
              <a:t>, with coal as the largest source of electricity generation</a:t>
            </a:r>
            <a:r>
              <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hlinkClick r:id="rId10">
                  <a:extLst>
                    <a:ext uri="{A12FA001-AC4F-418D-AE19-62706E023703}">
                      <ahyp:hlinkClr xmlns:ahyp="http://schemas.microsoft.com/office/drawing/2018/hyperlinkcolor" val="tx"/>
                    </a:ext>
                  </a:extLst>
                </a:hlinkClick>
              </a:rPr>
              <a:t>4</a:t>
            </a:r>
            <a:endParaRPr kumimoji="0" lang="en-US" sz="1450" b="0" i="0" u="none" strike="noStrike" kern="1200" cap="none" spc="0" normalizeH="0" baseline="30000" noProof="0">
              <a:ln>
                <a:noFill/>
              </a:ln>
              <a:solidFill>
                <a:srgbClr val="0078D4"/>
              </a:solidFill>
              <a:effectLst/>
              <a:uLnTx/>
              <a:uFillTx/>
              <a:latin typeface="Segoe UI"/>
              <a:ea typeface="+mn-ea"/>
              <a:cs typeface="Segoe Sans Display" pitchFamily="2" charset="0"/>
            </a:endParaRPr>
          </a:p>
        </p:txBody>
      </p:sp>
      <p:sp>
        <p:nvSpPr>
          <p:cNvPr id="13" name="TextBox 41">
            <a:extLst>
              <a:ext uri="{FF2B5EF4-FFF2-40B4-BE49-F238E27FC236}">
                <a16:creationId xmlns:a16="http://schemas.microsoft.com/office/drawing/2014/main" id="{047F8DA7-3CB3-2121-31ED-02A650CD5EC5}"/>
              </a:ext>
              <a:ext uri="{C183D7F6-B498-43B3-948B-1728B52AA6E4}">
                <adec:decorative xmlns:adec="http://schemas.microsoft.com/office/drawing/2017/decorative" val="0"/>
              </a:ext>
            </a:extLst>
          </p:cNvPr>
          <p:cNvSpPr txBox="1">
            <a:spLocks/>
          </p:cNvSpPr>
          <p:nvPr/>
        </p:nvSpPr>
        <p:spPr>
          <a:xfrm>
            <a:off x="588263" y="6347201"/>
            <a:ext cx="11018520" cy="123111"/>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rPr>
              <a:t>Sources: 1) International Energy Agency: </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hlinkClick r:id="rId4">
                  <a:extLst>
                    <a:ext uri="{A12FA001-AC4F-418D-AE19-62706E023703}">
                      <ahyp:hlinkClr xmlns:ahyp="http://schemas.microsoft.com/office/drawing/2018/hyperlinkcolor" val="tx"/>
                    </a:ext>
                  </a:extLst>
                </a:hlinkClick>
              </a:rPr>
              <a:t>Energy and AI</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rPr>
              <a:t>,</a:t>
            </a: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rPr>
              <a:t> 2025, 2) IEA:</a:t>
            </a: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hlinkClick r:id="rId6">
                  <a:extLst>
                    <a:ext uri="{A12FA001-AC4F-418D-AE19-62706E023703}">
                      <ahyp:hlinkClr xmlns:ahyp="http://schemas.microsoft.com/office/drawing/2018/hyperlinkcolor" val="tx"/>
                    </a:ext>
                  </a:extLst>
                </a:hlinkClick>
              </a:rPr>
              <a:t> </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hlinkClick r:id="rId6">
                  <a:extLst>
                    <a:ext uri="{A12FA001-AC4F-418D-AE19-62706E023703}">
                      <ahyp:hlinkClr xmlns:ahyp="http://schemas.microsoft.com/office/drawing/2018/hyperlinkcolor" val="tx"/>
                    </a:ext>
                  </a:extLst>
                </a:hlinkClick>
              </a:rPr>
              <a:t>Executive summary – World Energy Employment 2024</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rPr>
              <a:t>, </a:t>
            </a: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rPr>
              <a:t>3) ICF:</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hlinkClick r:id="rId8">
                  <a:extLst>
                    <a:ext uri="{A12FA001-AC4F-418D-AE19-62706E023703}">
                      <ahyp:hlinkClr xmlns:ahyp="http://schemas.microsoft.com/office/drawing/2018/hyperlinkcolor" val="tx"/>
                    </a:ext>
                  </a:extLst>
                </a:hlinkClick>
              </a:rPr>
              <a:t> U.S. Electricity Demand Expected to Grow 25% by 2030</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rPr>
              <a:t>, </a:t>
            </a: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rPr>
              <a:t>June 2025 4) </a:t>
            </a:r>
            <a:r>
              <a:rPr kumimoji="0" lang="en-US" sz="800" b="0" i="0" u="none" strike="noStrike" kern="1200" cap="none" spc="0" normalizeH="0" baseline="0" noProof="0" err="1">
                <a:ln>
                  <a:noFill/>
                </a:ln>
                <a:solidFill>
                  <a:srgbClr val="000000"/>
                </a:solidFill>
                <a:effectLst/>
                <a:uLnTx/>
                <a:uFillTx/>
                <a:latin typeface="Segoe UI"/>
                <a:ea typeface="+mn-ea"/>
                <a:cs typeface="Segoe Sans Display" pitchFamily="2" charset="0"/>
              </a:rPr>
              <a:t>ClimateWatch</a:t>
            </a:r>
            <a:r>
              <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rPr>
              <a:t>: </a:t>
            </a:r>
            <a:r>
              <a:rPr kumimoji="0" lang="en-US" sz="800" b="0" i="0" u="none" strike="noStrike" kern="1200" cap="none" spc="0" normalizeH="0" baseline="0" noProof="0">
                <a:ln>
                  <a:noFill/>
                </a:ln>
                <a:solidFill>
                  <a:srgbClr val="0A6BBA"/>
                </a:solidFill>
                <a:effectLst/>
                <a:uLnTx/>
                <a:uFillTx/>
                <a:latin typeface="Segoe UI"/>
                <a:ea typeface="+mn-ea"/>
                <a:cs typeface="Segoe Sans Display" pitchFamily="2" charset="0"/>
                <a:hlinkClick r:id="rId10">
                  <a:extLst>
                    <a:ext uri="{A12FA001-AC4F-418D-AE19-62706E023703}">
                      <ahyp:hlinkClr xmlns:ahyp="http://schemas.microsoft.com/office/drawing/2018/hyperlinkcolor" val="tx"/>
                    </a:ext>
                  </a:extLst>
                </a:hlinkClick>
              </a:rPr>
              <a:t>Historical GHG Emissions</a:t>
            </a:r>
            <a:r>
              <a:rPr kumimoji="0" lang="en-US" sz="800" b="0" i="0" u="none" strike="noStrike" kern="1200" cap="none" spc="0" normalizeH="0" baseline="0" noProof="0">
                <a:ln>
                  <a:noFill/>
                </a:ln>
                <a:solidFill>
                  <a:srgbClr val="0078D4"/>
                </a:solidFill>
                <a:effectLst/>
                <a:uLnTx/>
                <a:uFillTx/>
                <a:latin typeface="Segoe UI"/>
                <a:ea typeface="+mn-ea"/>
                <a:cs typeface="Segoe Sans Display" pitchFamily="2" charset="0"/>
              </a:rPr>
              <a:t>, </a:t>
            </a:r>
            <a:endParaRPr kumimoji="0" lang="en-US" sz="800" b="0" i="0" u="none" strike="noStrike" kern="1200" cap="none" spc="0" normalizeH="0" baseline="0" noProof="0">
              <a:ln>
                <a:noFill/>
              </a:ln>
              <a:solidFill>
                <a:srgbClr val="000000"/>
              </a:solidFill>
              <a:effectLst/>
              <a:uLnTx/>
              <a:uFillTx/>
              <a:latin typeface="Segoe UI"/>
              <a:ea typeface="+mn-ea"/>
              <a:cs typeface="Segoe Sans Display" pitchFamily="2" charset="0"/>
            </a:endParaRPr>
          </a:p>
        </p:txBody>
      </p:sp>
    </p:spTree>
    <p:extLst>
      <p:ext uri="{BB962C8B-B14F-4D97-AF65-F5344CB8AC3E}">
        <p14:creationId xmlns:p14="http://schemas.microsoft.com/office/powerpoint/2010/main" val="39523359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D8BF7-A8D2-2B1F-87EA-003D5EAFA988}"/>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697D0C8-DBD9-FC11-690A-41E29A96AB2B}"/>
              </a:ext>
              <a:ext uri="{C183D7F6-B498-43B3-948B-1728B52AA6E4}">
                <adec:decorative xmlns:adec="http://schemas.microsoft.com/office/drawing/2017/decorative" val="1"/>
              </a:ext>
            </a:extLst>
          </p:cNvPr>
          <p:cNvSpPr>
            <a:spLocks/>
          </p:cNvSpPr>
          <p:nvPr/>
        </p:nvSpPr>
        <p:spPr bwMode="auto">
          <a:xfrm>
            <a:off x="3741737" y="304800"/>
            <a:ext cx="7861299" cy="5384800"/>
          </a:xfrm>
          <a:prstGeom prst="roundRect">
            <a:avLst>
              <a:gd name="adj" fmla="val 1984"/>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23478A38-472C-75B4-FB8C-688C81C0FD28}"/>
              </a:ext>
              <a:ext uri="{C183D7F6-B498-43B3-948B-1728B52AA6E4}">
                <adec:decorative xmlns:adec="http://schemas.microsoft.com/office/drawing/2017/decorative" val="1"/>
              </a:ext>
            </a:extLst>
          </p:cNvPr>
          <p:cNvCxnSpPr>
            <a:cxnSpLocks/>
          </p:cNvCxnSpPr>
          <p:nvPr/>
        </p:nvCxnSpPr>
        <p:spPr>
          <a:xfrm>
            <a:off x="5977346" y="1408605"/>
            <a:ext cx="539496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CD84D3C-7268-67B5-10A7-012314AE4AAA}"/>
              </a:ext>
              <a:ext uri="{C183D7F6-B498-43B3-948B-1728B52AA6E4}">
                <adec:decorative xmlns:adec="http://schemas.microsoft.com/office/drawing/2017/decorative" val="1"/>
              </a:ext>
            </a:extLst>
          </p:cNvPr>
          <p:cNvCxnSpPr>
            <a:cxnSpLocks/>
          </p:cNvCxnSpPr>
          <p:nvPr/>
        </p:nvCxnSpPr>
        <p:spPr>
          <a:xfrm>
            <a:off x="5977346" y="2467667"/>
            <a:ext cx="539496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69FDDFF-6318-703D-8DC8-0EEDD01FF656}"/>
              </a:ext>
              <a:ext uri="{C183D7F6-B498-43B3-948B-1728B52AA6E4}">
                <adec:decorative xmlns:adec="http://schemas.microsoft.com/office/drawing/2017/decorative" val="1"/>
              </a:ext>
            </a:extLst>
          </p:cNvPr>
          <p:cNvCxnSpPr>
            <a:cxnSpLocks/>
          </p:cNvCxnSpPr>
          <p:nvPr/>
        </p:nvCxnSpPr>
        <p:spPr>
          <a:xfrm>
            <a:off x="5977346" y="3526729"/>
            <a:ext cx="539496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F0DAD82-2C3B-9863-E603-A17E754C38D7}"/>
              </a:ext>
              <a:ext uri="{C183D7F6-B498-43B3-948B-1728B52AA6E4}">
                <adec:decorative xmlns:adec="http://schemas.microsoft.com/office/drawing/2017/decorative" val="1"/>
              </a:ext>
            </a:extLst>
          </p:cNvPr>
          <p:cNvCxnSpPr>
            <a:cxnSpLocks/>
          </p:cNvCxnSpPr>
          <p:nvPr/>
        </p:nvCxnSpPr>
        <p:spPr>
          <a:xfrm>
            <a:off x="5977346" y="4585791"/>
            <a:ext cx="539496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AB5E58D6-64B2-7A78-DF9C-218EFAC91AEB}"/>
              </a:ext>
              <a:ext uri="{C183D7F6-B498-43B3-948B-1728B52AA6E4}">
                <adec:decorative xmlns:adec="http://schemas.microsoft.com/office/drawing/2017/decorative" val="1"/>
              </a:ext>
            </a:extLst>
          </p:cNvPr>
          <p:cNvSpPr>
            <a:spLocks/>
          </p:cNvSpPr>
          <p:nvPr/>
        </p:nvSpPr>
        <p:spPr bwMode="auto">
          <a:xfrm>
            <a:off x="588964" y="1127783"/>
            <a:ext cx="754062" cy="754062"/>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8" name="Graphic 36">
            <a:extLst>
              <a:ext uri="{FF2B5EF4-FFF2-40B4-BE49-F238E27FC236}">
                <a16:creationId xmlns:a16="http://schemas.microsoft.com/office/drawing/2014/main" id="{47406177-295E-AA87-B9F7-4FF2FB9781AC}"/>
              </a:ext>
              <a:ext uri="{C183D7F6-B498-43B3-948B-1728B52AA6E4}">
                <adec:decorative xmlns:adec="http://schemas.microsoft.com/office/drawing/2017/decorative" val="1"/>
              </a:ext>
            </a:extLst>
          </p:cNvPr>
          <p:cNvSpPr>
            <a:spLocks/>
          </p:cNvSpPr>
          <p:nvPr/>
        </p:nvSpPr>
        <p:spPr>
          <a:xfrm>
            <a:off x="786081" y="1315435"/>
            <a:ext cx="359828" cy="378758"/>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3" name="Title 5">
            <a:extLst>
              <a:ext uri="{FF2B5EF4-FFF2-40B4-BE49-F238E27FC236}">
                <a16:creationId xmlns:a16="http://schemas.microsoft.com/office/drawing/2014/main" id="{ACE970C4-3219-6A11-9D35-5DCBA92A1219}"/>
              </a:ext>
            </a:extLst>
          </p:cNvPr>
          <p:cNvSpPr>
            <a:spLocks noGrp="1" noChangeAspect="1"/>
          </p:cNvSpPr>
          <p:nvPr>
            <p:ph type="title"/>
          </p:nvPr>
        </p:nvSpPr>
        <p:spPr>
          <a:xfrm>
            <a:off x="584200" y="2248815"/>
            <a:ext cx="3108576" cy="2215991"/>
          </a:xfrm>
        </p:spPr>
        <p:txBody>
          <a:bodyPr/>
          <a:lstStyle/>
          <a:p>
            <a:r>
              <a:rPr lang="en-US" noProof="0">
                <a:ea typeface="+mj-ea"/>
                <a:cs typeface="+mj-cs"/>
              </a:rPr>
              <a:t>AI is already transforming </a:t>
            </a:r>
            <a:r>
              <a:rPr lang="en-US" noProof="0">
                <a:solidFill>
                  <a:schemeClr val="accent2"/>
                </a:solidFill>
                <a:ea typeface="+mj-ea"/>
                <a:cs typeface="+mj-cs"/>
              </a:rPr>
              <a:t>Energy and Resources</a:t>
            </a:r>
          </a:p>
        </p:txBody>
      </p:sp>
      <p:sp>
        <p:nvSpPr>
          <p:cNvPr id="77" name="TextBox 24_1 - 4">
            <a:extLst>
              <a:ext uri="{FF2B5EF4-FFF2-40B4-BE49-F238E27FC236}">
                <a16:creationId xmlns:a16="http://schemas.microsoft.com/office/drawing/2014/main" id="{358AED40-7404-7CEC-DACD-DE99A2CD68D9}"/>
              </a:ext>
            </a:extLst>
          </p:cNvPr>
          <p:cNvSpPr txBox="1">
            <a:spLocks/>
          </p:cNvSpPr>
          <p:nvPr/>
        </p:nvSpPr>
        <p:spPr>
          <a:xfrm>
            <a:off x="3867711" y="430774"/>
            <a:ext cx="1926210" cy="896600"/>
          </a:xfrm>
          <a:prstGeom prst="roundRect">
            <a:avLst>
              <a:gd name="adj" fmla="val 65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itchFamily="34" charset="0"/>
              </a:rPr>
              <a:t>92%</a:t>
            </a:r>
          </a:p>
        </p:txBody>
      </p:sp>
      <p:sp>
        <p:nvSpPr>
          <p:cNvPr id="75" name="TextBox 74">
            <a:extLst>
              <a:ext uri="{FF2B5EF4-FFF2-40B4-BE49-F238E27FC236}">
                <a16:creationId xmlns:a16="http://schemas.microsoft.com/office/drawing/2014/main" id="{1D83DD90-7D1A-DC4D-AFD3-D1EA600240C5}"/>
              </a:ext>
            </a:extLst>
          </p:cNvPr>
          <p:cNvSpPr txBox="1">
            <a:spLocks/>
          </p:cNvSpPr>
          <p:nvPr/>
        </p:nvSpPr>
        <p:spPr>
          <a:xfrm>
            <a:off x="5977346" y="632853"/>
            <a:ext cx="5371373" cy="492443"/>
          </a:xfrm>
          <a:prstGeom prst="rect">
            <a:avLst/>
          </a:prstGeom>
          <a:noFill/>
        </p:spPr>
        <p:txBody>
          <a:bodyPr wrap="square" lIns="0" tIns="0" rIns="0" bIns="0" anchor="ctr">
            <a:spAutoFit/>
          </a:bodyPr>
          <a:lstStyle/>
          <a:p>
            <a:pPr marL="0" marR="0" lvl="0" indent="0" algn="l" defTabSz="914225"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Of companies will increase their AI investments, particularly in generative AI, over the next three years</a:t>
            </a:r>
            <a:r>
              <a:rPr kumimoji="0" lang="en-US" sz="1600" b="0" i="0" u="none" strike="noStrike" kern="1200" cap="none" spc="0" normalizeH="0" baseline="30000" noProof="0">
                <a:ln>
                  <a:noFill/>
                </a:ln>
                <a:solidFill>
                  <a:srgbClr val="000000"/>
                </a:solidFill>
                <a:effectLst/>
                <a:uLnTx/>
                <a:uFillTx/>
                <a:latin typeface="Segoe UI"/>
                <a:ea typeface="+mn-ea"/>
                <a:cs typeface="+mn-cs"/>
              </a:rPr>
              <a:t>1</a:t>
            </a:r>
            <a:endParaRPr kumimoji="0" lang="en-US" sz="1600" b="0" i="0" u="none" strike="noStrike" kern="1200" cap="none" spc="0" normalizeH="0" baseline="0" noProof="0">
              <a:ln w="3175">
                <a:noFill/>
              </a:ln>
              <a:solidFill>
                <a:srgbClr val="000000"/>
              </a:solidFill>
              <a:effectLst/>
              <a:uLnTx/>
              <a:uFillTx/>
              <a:latin typeface="Segoe UI"/>
              <a:ea typeface="+mn-ea"/>
              <a:cs typeface="+mn-cs"/>
            </a:endParaRPr>
          </a:p>
        </p:txBody>
      </p:sp>
      <p:sp>
        <p:nvSpPr>
          <p:cNvPr id="79" name="TextBox 24_1 - 3">
            <a:extLst>
              <a:ext uri="{FF2B5EF4-FFF2-40B4-BE49-F238E27FC236}">
                <a16:creationId xmlns:a16="http://schemas.microsoft.com/office/drawing/2014/main" id="{4D370D72-5532-6DFB-28F2-20E2DBC08C94}"/>
              </a:ext>
            </a:extLst>
          </p:cNvPr>
          <p:cNvSpPr txBox="1">
            <a:spLocks/>
          </p:cNvSpPr>
          <p:nvPr/>
        </p:nvSpPr>
        <p:spPr>
          <a:xfrm>
            <a:off x="3867711" y="1489836"/>
            <a:ext cx="1926210" cy="896600"/>
          </a:xfrm>
          <a:prstGeom prst="roundRect">
            <a:avLst>
              <a:gd name="adj" fmla="val 65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itchFamily="34" charset="0"/>
              </a:rPr>
              <a:t>$15 Billion</a:t>
            </a:r>
          </a:p>
        </p:txBody>
      </p:sp>
      <p:sp>
        <p:nvSpPr>
          <p:cNvPr id="76" name="TextBox 75">
            <a:extLst>
              <a:ext uri="{FF2B5EF4-FFF2-40B4-BE49-F238E27FC236}">
                <a16:creationId xmlns:a16="http://schemas.microsoft.com/office/drawing/2014/main" id="{F2743B6C-BB4E-9E55-8D10-272BF90ADD9E}"/>
              </a:ext>
            </a:extLst>
          </p:cNvPr>
          <p:cNvSpPr txBox="1">
            <a:spLocks/>
          </p:cNvSpPr>
          <p:nvPr/>
        </p:nvSpPr>
        <p:spPr>
          <a:xfrm>
            <a:off x="5977346" y="1815025"/>
            <a:ext cx="5547362"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tential annual savings in grid investment costs</a:t>
            </a:r>
            <a:r>
              <a:rPr kumimoji="0" lang="en-US" sz="1600" b="0" i="0" u="none" strike="noStrike" kern="1200" cap="none" spc="0" normalizeH="0" baseline="30000" noProof="0">
                <a:ln>
                  <a:noFill/>
                </a:ln>
                <a:solidFill>
                  <a:srgbClr val="000000"/>
                </a:solidFill>
                <a:effectLst/>
                <a:uLnTx/>
                <a:uFillTx/>
                <a:latin typeface="Segoe UI"/>
                <a:ea typeface="+mn-ea"/>
                <a:cs typeface="+mn-cs"/>
              </a:rPr>
              <a:t>2</a:t>
            </a:r>
          </a:p>
        </p:txBody>
      </p:sp>
      <p:sp>
        <p:nvSpPr>
          <p:cNvPr id="80" name="TextBox 24_1">
            <a:extLst>
              <a:ext uri="{FF2B5EF4-FFF2-40B4-BE49-F238E27FC236}">
                <a16:creationId xmlns:a16="http://schemas.microsoft.com/office/drawing/2014/main" id="{46021CB6-874A-1E7A-A14C-A23EC10A62CD}"/>
              </a:ext>
            </a:extLst>
          </p:cNvPr>
          <p:cNvSpPr txBox="1">
            <a:spLocks/>
          </p:cNvSpPr>
          <p:nvPr/>
        </p:nvSpPr>
        <p:spPr>
          <a:xfrm>
            <a:off x="3867711" y="2548898"/>
            <a:ext cx="1926210" cy="896600"/>
          </a:xfrm>
          <a:prstGeom prst="roundRect">
            <a:avLst>
              <a:gd name="adj" fmla="val 65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itchFamily="34" charset="0"/>
              </a:rPr>
              <a:t>70%</a:t>
            </a:r>
          </a:p>
        </p:txBody>
      </p:sp>
      <p:sp>
        <p:nvSpPr>
          <p:cNvPr id="82" name="TextBox 81">
            <a:extLst>
              <a:ext uri="{FF2B5EF4-FFF2-40B4-BE49-F238E27FC236}">
                <a16:creationId xmlns:a16="http://schemas.microsoft.com/office/drawing/2014/main" id="{A0A2ADDF-257C-9967-9486-38812B6C0C1C}"/>
              </a:ext>
            </a:extLst>
          </p:cNvPr>
          <p:cNvSpPr txBox="1">
            <a:spLocks/>
          </p:cNvSpPr>
          <p:nvPr/>
        </p:nvSpPr>
        <p:spPr>
          <a:xfrm>
            <a:off x="5977346" y="2874089"/>
            <a:ext cx="5547362"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mprovement in seismic interpretation accuracy</a:t>
            </a:r>
            <a:r>
              <a:rPr kumimoji="0" lang="en-US" sz="1600" b="0" i="0" u="none" strike="noStrike" kern="1200" cap="none" spc="0" normalizeH="0" baseline="30000" noProof="0">
                <a:ln>
                  <a:noFill/>
                </a:ln>
                <a:solidFill>
                  <a:srgbClr val="000000"/>
                </a:solidFill>
                <a:effectLst/>
                <a:uLnTx/>
                <a:uFillTx/>
                <a:latin typeface="Segoe UI"/>
                <a:ea typeface="+mn-ea"/>
                <a:cs typeface="+mn-cs"/>
              </a:rPr>
              <a:t>3</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TextBox 24_1 - 1">
            <a:extLst>
              <a:ext uri="{FF2B5EF4-FFF2-40B4-BE49-F238E27FC236}">
                <a16:creationId xmlns:a16="http://schemas.microsoft.com/office/drawing/2014/main" id="{D74E2DF0-52CD-93B6-61B4-4C61CA08176B}"/>
              </a:ext>
            </a:extLst>
          </p:cNvPr>
          <p:cNvSpPr txBox="1">
            <a:spLocks/>
          </p:cNvSpPr>
          <p:nvPr/>
        </p:nvSpPr>
        <p:spPr>
          <a:xfrm>
            <a:off x="3867711" y="3607960"/>
            <a:ext cx="1926210" cy="896600"/>
          </a:xfrm>
          <a:prstGeom prst="roundRect">
            <a:avLst>
              <a:gd name="adj" fmla="val 65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itchFamily="34" charset="0"/>
              </a:rPr>
              <a:t>82%</a:t>
            </a:r>
          </a:p>
        </p:txBody>
      </p:sp>
      <p:sp>
        <p:nvSpPr>
          <p:cNvPr id="83" name="TextBox 82">
            <a:extLst>
              <a:ext uri="{FF2B5EF4-FFF2-40B4-BE49-F238E27FC236}">
                <a16:creationId xmlns:a16="http://schemas.microsoft.com/office/drawing/2014/main" id="{CFC1F05F-36AD-4E71-BBFC-1F8A298B9478}"/>
              </a:ext>
            </a:extLst>
          </p:cNvPr>
          <p:cNvSpPr txBox="1">
            <a:spLocks/>
          </p:cNvSpPr>
          <p:nvPr/>
        </p:nvSpPr>
        <p:spPr>
          <a:xfrm>
            <a:off x="5977346" y="3810042"/>
            <a:ext cx="5371373"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Of leaders across industries expect to use agents to meet the demand for more workforce capacity</a:t>
            </a:r>
            <a:r>
              <a:rPr kumimoji="0" lang="en-US" sz="1600" b="0" i="0" u="none" strike="noStrike" kern="1200" cap="none" spc="0" normalizeH="0" baseline="30000" noProof="0">
                <a:ln w="3175">
                  <a:noFill/>
                </a:ln>
                <a:solidFill>
                  <a:srgbClr val="000000"/>
                </a:solidFill>
                <a:effectLst/>
                <a:uLnTx/>
                <a:uFillTx/>
                <a:latin typeface="Segoe UI"/>
                <a:ea typeface="+mn-ea"/>
                <a:cs typeface="+mn-cs"/>
              </a:rPr>
              <a:t>4</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TextBox 24_1 - 2">
            <a:extLst>
              <a:ext uri="{FF2B5EF4-FFF2-40B4-BE49-F238E27FC236}">
                <a16:creationId xmlns:a16="http://schemas.microsoft.com/office/drawing/2014/main" id="{02A39A58-A5AC-412F-6BDF-70604F94A2EC}"/>
              </a:ext>
            </a:extLst>
          </p:cNvPr>
          <p:cNvSpPr txBox="1">
            <a:spLocks/>
          </p:cNvSpPr>
          <p:nvPr/>
        </p:nvSpPr>
        <p:spPr>
          <a:xfrm>
            <a:off x="3867711" y="4667026"/>
            <a:ext cx="1926210" cy="896600"/>
          </a:xfrm>
          <a:prstGeom prst="roundRect">
            <a:avLst>
              <a:gd name="adj" fmla="val 65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4000" b="0" i="0" u="none" strike="noStrike" cap="none" spc="0" normalizeH="0" baseline="0">
                <a:ln>
                  <a:noFill/>
                </a:ln>
                <a:solidFill>
                  <a:srgbClr val="FFFFFF"/>
                </a:solidFill>
                <a:effectLst/>
                <a:uLnTx/>
                <a:uFillTx/>
                <a:latin typeface="Segoe Sans Display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itchFamily="34" charset="0"/>
              </a:rPr>
              <a:t>30–50%</a:t>
            </a:r>
          </a:p>
        </p:txBody>
      </p:sp>
      <p:sp>
        <p:nvSpPr>
          <p:cNvPr id="74" name="TextBox 73">
            <a:extLst>
              <a:ext uri="{FF2B5EF4-FFF2-40B4-BE49-F238E27FC236}">
                <a16:creationId xmlns:a16="http://schemas.microsoft.com/office/drawing/2014/main" id="{376545C5-4ADC-8961-8964-D58294ABA714}"/>
              </a:ext>
            </a:extLst>
          </p:cNvPr>
          <p:cNvSpPr txBox="1">
            <a:spLocks/>
          </p:cNvSpPr>
          <p:nvPr/>
        </p:nvSpPr>
        <p:spPr>
          <a:xfrm>
            <a:off x="5977346" y="4734551"/>
            <a:ext cx="5394960" cy="761550"/>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tential reduction in outage durations due to AI-based fault detection that can help rapidly identify and precisely pinpoint grid faults</a:t>
            </a:r>
            <a:r>
              <a:rPr kumimoji="0" lang="en-US" sz="1600" b="0" i="0" u="none" strike="noStrike" kern="1200" cap="none" spc="0" normalizeH="0" baseline="30000" noProof="0">
                <a:ln w="3175">
                  <a:noFill/>
                </a:ln>
                <a:solidFill>
                  <a:srgbClr val="000000"/>
                </a:solidFill>
                <a:effectLst/>
                <a:uLnTx/>
                <a:uFillTx/>
                <a:latin typeface="Segoe UI"/>
                <a:ea typeface="+mn-ea"/>
                <a:cs typeface="+mn-cs"/>
              </a:rPr>
              <a:t>2</a:t>
            </a:r>
            <a:endParaRPr kumimoji="0" lang="en-US" sz="1600" b="0" i="0" u="none" strike="noStrike" kern="1200" cap="none" spc="0" normalizeH="0" baseline="30000" noProof="0">
              <a:ln>
                <a:noFill/>
              </a:ln>
              <a:solidFill>
                <a:srgbClr val="000000"/>
              </a:solidFill>
              <a:effectLst/>
              <a:uLnTx/>
              <a:uFillTx/>
              <a:latin typeface="Segoe UI"/>
              <a:ea typeface="+mn-ea"/>
              <a:cs typeface="+mn-cs"/>
            </a:endParaRPr>
          </a:p>
        </p:txBody>
      </p:sp>
      <p:sp>
        <p:nvSpPr>
          <p:cNvPr id="4" name="TextBox 3">
            <a:extLst>
              <a:ext uri="{FF2B5EF4-FFF2-40B4-BE49-F238E27FC236}">
                <a16:creationId xmlns:a16="http://schemas.microsoft.com/office/drawing/2014/main" id="{03F1A860-F552-AC5F-EDC9-9D751605F6BB}"/>
              </a:ext>
            </a:extLst>
          </p:cNvPr>
          <p:cNvSpPr txBox="1">
            <a:spLocks/>
          </p:cNvSpPr>
          <p:nvPr/>
        </p:nvSpPr>
        <p:spPr>
          <a:xfrm>
            <a:off x="588263" y="5900925"/>
            <a:ext cx="6316662" cy="569387"/>
          </a:xfrm>
          <a:prstGeom prst="rect">
            <a:avLst/>
          </a:prstGeom>
          <a:noFill/>
        </p:spPr>
        <p:txBody>
          <a:bodyPr wrap="square" lIns="0" tIns="0" rIns="0" bIns="0" rtlCol="0" anchor="b">
            <a:spAutoFit/>
          </a:bodyPr>
          <a:lstStyle/>
          <a:p>
            <a:pPr marL="114300" marR="0" lvl="0" indent="-114300" algn="l" defTabSz="932563" rtl="0" eaLnBrk="1" fontAlgn="auto" latinLnBrk="0" hangingPunct="1">
              <a:lnSpc>
                <a:spcPct val="100000"/>
              </a:lnSpc>
              <a:spcBef>
                <a:spcPts val="0"/>
              </a:spcBef>
              <a:spcAft>
                <a:spcPts val="200"/>
              </a:spcAft>
              <a:buClrTx/>
              <a:buSzPct val="100000"/>
              <a:buFont typeface="+mj-lt"/>
              <a:buAutoNum type="arabicPeriod"/>
              <a:tabLst>
                <a:tab pos="120650" algn="l"/>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cKinsey: </a:t>
            </a:r>
            <a:r>
              <a:rPr kumimoji="0" lang="en-US" sz="800" b="0" i="0" u="none" strike="noStrike" kern="1200" cap="none" spc="0" normalizeH="0" baseline="0" noProof="0">
                <a:ln>
                  <a:noFill/>
                </a:ln>
                <a:solidFill>
                  <a:srgbClr val="0078D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Superagency in the workplace: Empowering people to unlock AI’s full potential</a:t>
            </a:r>
            <a:r>
              <a:rPr kumimoji="0" lang="en-US" sz="800" b="0" i="0" u="none" strike="noStrike" kern="1200" cap="none" spc="0" normalizeH="0" baseline="0" noProof="0">
                <a:ln>
                  <a:noFill/>
                </a:ln>
                <a:solidFill>
                  <a:srgbClr val="000000"/>
                </a:solidFill>
                <a:effectLst/>
                <a:uLnTx/>
                <a:uFillTx/>
                <a:latin typeface="Segoe UI"/>
                <a:ea typeface="+mn-ea"/>
                <a:cs typeface="+mn-cs"/>
              </a:rPr>
              <a:t>.</a:t>
            </a:r>
            <a:r>
              <a:rPr kumimoji="0" lang="en-US" sz="800" b="0" i="0" u="none" strike="noStrike" kern="1200" cap="none" spc="0" normalizeH="0" baseline="0" noProof="0">
                <a:ln>
                  <a:noFill/>
                </a:ln>
                <a:solidFill>
                  <a:srgbClr val="0078D4"/>
                </a:solidFill>
                <a:effectLst/>
                <a:uLnTx/>
                <a:uFillTx/>
                <a:latin typeface="Segoe UI"/>
                <a:ea typeface="+mn-ea"/>
                <a:cs typeface="+mn-cs"/>
              </a:rPr>
              <a:t> </a:t>
            </a:r>
            <a:r>
              <a:rPr kumimoji="0" lang="en-US" sz="800" b="0" i="0" u="none" strike="noStrike" kern="1200" cap="none" spc="0" normalizeH="0" baseline="0" noProof="0">
                <a:ln>
                  <a:noFill/>
                </a:ln>
                <a:solidFill>
                  <a:srgbClr val="000000"/>
                </a:solidFill>
                <a:effectLst/>
                <a:uLnTx/>
                <a:uFillTx/>
                <a:latin typeface="Segoe UI"/>
                <a:ea typeface="+mn-ea"/>
                <a:cs typeface="+mn-cs"/>
              </a:rPr>
              <a:t>January 2025.</a:t>
            </a:r>
          </a:p>
          <a:p>
            <a:pPr marL="114300" marR="0" lvl="0" indent="-114300" algn="l" defTabSz="932563" rtl="0" eaLnBrk="1" fontAlgn="auto" latinLnBrk="0" hangingPunct="1">
              <a:lnSpc>
                <a:spcPct val="100000"/>
              </a:lnSpc>
              <a:spcBef>
                <a:spcPts val="0"/>
              </a:spcBef>
              <a:spcAft>
                <a:spcPts val="200"/>
              </a:spcAft>
              <a:buClrTx/>
              <a:buSzPct val="100000"/>
              <a:buFont typeface="+mj-lt"/>
              <a:buAutoNum type="arabicPeriod"/>
              <a:tabLst>
                <a:tab pos="120650" algn="l"/>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International Energy Agency: </a:t>
            </a:r>
            <a:r>
              <a:rPr kumimoji="0" lang="en-US" sz="8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Energy and AI</a:t>
            </a:r>
            <a:r>
              <a:rPr kumimoji="0" lang="en-US" sz="800" b="0" i="0" u="none" strike="noStrike" kern="1200" cap="none" spc="0" normalizeH="0" baseline="0" noProof="0">
                <a:ln>
                  <a:noFill/>
                </a:ln>
                <a:solidFill>
                  <a:srgbClr val="000000"/>
                </a:solidFill>
                <a:effectLst/>
                <a:uLnTx/>
                <a:uFillTx/>
                <a:latin typeface="Segoe UI"/>
                <a:ea typeface="+mn-ea"/>
                <a:cs typeface="+mn-cs"/>
              </a:rPr>
              <a:t>. 2025.</a:t>
            </a:r>
          </a:p>
          <a:p>
            <a:pPr marL="114300" marR="0" lvl="0" indent="-114300" algn="l" defTabSz="932563" rtl="0" eaLnBrk="1" fontAlgn="auto" latinLnBrk="0" hangingPunct="1">
              <a:lnSpc>
                <a:spcPct val="100000"/>
              </a:lnSpc>
              <a:spcBef>
                <a:spcPts val="0"/>
              </a:spcBef>
              <a:spcAft>
                <a:spcPts val="200"/>
              </a:spcAft>
              <a:buClr>
                <a:srgbClr val="000000"/>
              </a:buClr>
              <a:buSzPct val="100000"/>
              <a:buFont typeface="+mj-lt"/>
              <a:buAutoNum type="arabicPeriod"/>
              <a:tabLst>
                <a:tab pos="120650" algn="l"/>
              </a:tabLst>
              <a:defRPr/>
            </a:pPr>
            <a:r>
              <a:rPr kumimoji="0" lang="en-US" sz="800" b="0" i="0" u="none" strike="noStrike" kern="1200" cap="none" spc="0" normalizeH="0" baseline="0" noProof="0">
                <a:ln>
                  <a:noFill/>
                </a:ln>
                <a:solidFill>
                  <a:srgbClr val="0078D4"/>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ADNOC and AIQ Successfully Complete Trial Phase of Agentic AI Solution | AIQ</a:t>
            </a:r>
            <a:r>
              <a:rPr kumimoji="0" lang="en-US" sz="800" b="0" i="0" u="none" strike="noStrike" kern="1200" cap="none" spc="0" normalizeH="0" baseline="0" noProof="0">
                <a:ln>
                  <a:noFill/>
                </a:ln>
                <a:solidFill>
                  <a:srgbClr val="000000"/>
                </a:solidFill>
                <a:effectLst/>
                <a:uLnTx/>
                <a:uFillTx/>
                <a:latin typeface="Segoe UI"/>
                <a:ea typeface="+mn-ea"/>
                <a:cs typeface="+mn-cs"/>
              </a:rPr>
              <a:t>, January 2025</a:t>
            </a:r>
          </a:p>
          <a:p>
            <a:pPr marL="114300" marR="0" lvl="0" indent="-114300" algn="l" defTabSz="932563" rtl="0" eaLnBrk="1" fontAlgn="auto" latinLnBrk="0" hangingPunct="1">
              <a:lnSpc>
                <a:spcPct val="100000"/>
              </a:lnSpc>
              <a:spcBef>
                <a:spcPts val="0"/>
              </a:spcBef>
              <a:spcAft>
                <a:spcPts val="200"/>
              </a:spcAft>
              <a:buClrTx/>
              <a:buSzPct val="100000"/>
              <a:buFont typeface="+mj-lt"/>
              <a:buAutoNum type="arabicPeriod"/>
              <a:tabLst>
                <a:tab pos="120650" algn="l"/>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Work Trend Index: </a:t>
            </a:r>
            <a:r>
              <a:rPr kumimoji="0" lang="en-US" sz="800" b="0" i="0" u="none" strike="noStrike" kern="1200" cap="none" spc="0" normalizeH="0" baseline="0" noProof="0">
                <a:ln>
                  <a:noFill/>
                </a:ln>
                <a:solidFill>
                  <a:srgbClr val="0078D4"/>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2025: The Year the Frontier Firm Is Born</a:t>
            </a:r>
            <a:r>
              <a:rPr kumimoji="0" lang="en-US" sz="800" b="0" i="0" u="none" strike="noStrike" kern="1200" cap="none" spc="0" normalizeH="0" baseline="0" noProof="0">
                <a:ln>
                  <a:noFill/>
                </a:ln>
                <a:solidFill>
                  <a:srgbClr val="000000"/>
                </a:solidFill>
                <a:effectLst/>
                <a:uLnTx/>
                <a:uFillTx/>
                <a:latin typeface="Segoe UI"/>
                <a:ea typeface="+mn-ea"/>
                <a:cs typeface="+mn-cs"/>
              </a:rPr>
              <a:t>. 2025.</a:t>
            </a:r>
          </a:p>
        </p:txBody>
      </p:sp>
    </p:spTree>
    <p:extLst>
      <p:ext uri="{BB962C8B-B14F-4D97-AF65-F5344CB8AC3E}">
        <p14:creationId xmlns:p14="http://schemas.microsoft.com/office/powerpoint/2010/main" val="307137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100"/>
                                  </p:stCondLst>
                                  <p:childTnLst>
                                    <p:animMotion origin="layout" path="M -6.25E-7 -1.85185E-6 L -6.25E-7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42" presetClass="path" presetSubtype="0" decel="100000" fill="hold" grpId="1" nodeType="withEffect">
                                  <p:stCondLst>
                                    <p:cond delay="100"/>
                                  </p:stCondLst>
                                  <p:childTnLst>
                                    <p:animMotion origin="layout" path="M 3.33333E-6 -2.96296E-6 L 3.33333E-6 0.03542 " pathEditMode="relative" rAng="0" ptsTypes="AA">
                                      <p:cBhvr>
                                        <p:cTn id="17" dur="700" spd="-100000" fill="hold"/>
                                        <p:tgtEl>
                                          <p:spTgt spid="2"/>
                                        </p:tgtEl>
                                        <p:attrNameLst>
                                          <p:attrName>ppt_x</p:attrName>
                                          <p:attrName>ppt_y</p:attrName>
                                        </p:attrNameLst>
                                      </p:cBhvr>
                                      <p:rCtr x="0" y="1759"/>
                                    </p:animMotion>
                                  </p:childTnLst>
                                </p:cTn>
                              </p:par>
                              <p:par>
                                <p:cTn id="18" presetID="10" presetClass="entr" presetSubtype="0" fill="hold" grpId="0" nodeType="withEffect">
                                  <p:stCondLst>
                                    <p:cond delay="1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42" presetClass="path" presetSubtype="0" decel="100000" fill="hold" grpId="1" nodeType="withEffect">
                                  <p:stCondLst>
                                    <p:cond delay="100"/>
                                  </p:stCondLst>
                                  <p:childTnLst>
                                    <p:animMotion origin="layout" path="M 3.33333E-6 -4.44444E-6 L 3.33333E-6 0.03542 " pathEditMode="relative" rAng="0" ptsTypes="AA">
                                      <p:cBhvr>
                                        <p:cTn id="22" dur="700" spd="-100000" fill="hold"/>
                                        <p:tgtEl>
                                          <p:spTgt spid="8"/>
                                        </p:tgtEl>
                                        <p:attrNameLst>
                                          <p:attrName>ppt_x</p:attrName>
                                          <p:attrName>ppt_y</p:attrName>
                                        </p:attrNameLst>
                                      </p:cBhvr>
                                      <p:rCtr x="0" y="1759"/>
                                    </p:animMotion>
                                  </p:childTnLst>
                                </p:cTn>
                              </p:par>
                              <p:par>
                                <p:cTn id="23" presetID="10" presetClass="entr" presetSubtype="0" fill="hold" grpId="0" nodeType="withEffect">
                                  <p:stCondLst>
                                    <p:cond delay="500"/>
                                  </p:stCondLst>
                                  <p:childTnLst>
                                    <p:set>
                                      <p:cBhvr>
                                        <p:cTn id="24" dur="1" fill="hold">
                                          <p:stCondLst>
                                            <p:cond delay="0"/>
                                          </p:stCondLst>
                                        </p:cTn>
                                        <p:tgtEl>
                                          <p:spTgt spid="77"/>
                                        </p:tgtEl>
                                        <p:attrNameLst>
                                          <p:attrName>style.visibility</p:attrName>
                                        </p:attrNameLst>
                                      </p:cBhvr>
                                      <p:to>
                                        <p:strVal val="visible"/>
                                      </p:to>
                                    </p:set>
                                    <p:animEffect transition="in" filter="fade">
                                      <p:cBhvr>
                                        <p:cTn id="25" dur="500"/>
                                        <p:tgtEl>
                                          <p:spTgt spid="77"/>
                                        </p:tgtEl>
                                      </p:cBhvr>
                                    </p:animEffect>
                                  </p:childTnLst>
                                </p:cTn>
                              </p:par>
                              <p:par>
                                <p:cTn id="26" presetID="42" presetClass="path" presetSubtype="0" decel="100000" fill="hold" grpId="1" nodeType="withEffect">
                                  <p:stCondLst>
                                    <p:cond delay="500"/>
                                  </p:stCondLst>
                                  <p:childTnLst>
                                    <p:animMotion origin="layout" path="M 3.95833E-6 4.07407E-6 L 3.95833E-6 0.03541 " pathEditMode="relative" rAng="0" ptsTypes="AA">
                                      <p:cBhvr>
                                        <p:cTn id="27" dur="700" spd="-100000" fill="hold"/>
                                        <p:tgtEl>
                                          <p:spTgt spid="77"/>
                                        </p:tgtEl>
                                        <p:attrNameLst>
                                          <p:attrName>ppt_x</p:attrName>
                                          <p:attrName>ppt_y</p:attrName>
                                        </p:attrNameLst>
                                      </p:cBhvr>
                                      <p:rCtr x="0" y="1759"/>
                                    </p:animMotion>
                                  </p:childTnLst>
                                </p:cTn>
                              </p:par>
                              <p:par>
                                <p:cTn id="28" presetID="10" presetClass="entr" presetSubtype="0" fill="hold" grpId="0" nodeType="withEffect">
                                  <p:stCondLst>
                                    <p:cond delay="500"/>
                                  </p:stCondLst>
                                  <p:childTnLst>
                                    <p:set>
                                      <p:cBhvr>
                                        <p:cTn id="29" dur="1" fill="hold">
                                          <p:stCondLst>
                                            <p:cond delay="0"/>
                                          </p:stCondLst>
                                        </p:cTn>
                                        <p:tgtEl>
                                          <p:spTgt spid="75"/>
                                        </p:tgtEl>
                                        <p:attrNameLst>
                                          <p:attrName>style.visibility</p:attrName>
                                        </p:attrNameLst>
                                      </p:cBhvr>
                                      <p:to>
                                        <p:strVal val="visible"/>
                                      </p:to>
                                    </p:set>
                                    <p:animEffect transition="in" filter="fade">
                                      <p:cBhvr>
                                        <p:cTn id="30" dur="500"/>
                                        <p:tgtEl>
                                          <p:spTgt spid="75"/>
                                        </p:tgtEl>
                                      </p:cBhvr>
                                    </p:animEffect>
                                  </p:childTnLst>
                                </p:cTn>
                              </p:par>
                              <p:par>
                                <p:cTn id="31" presetID="42" presetClass="path" presetSubtype="0" decel="100000" fill="hold" grpId="1" nodeType="withEffect">
                                  <p:stCondLst>
                                    <p:cond delay="500"/>
                                  </p:stCondLst>
                                  <p:childTnLst>
                                    <p:animMotion origin="layout" path="M 3.95833E-6 4.07407E-6 L 3.95833E-6 0.03541 " pathEditMode="relative" rAng="0" ptsTypes="AA">
                                      <p:cBhvr>
                                        <p:cTn id="32" dur="700" spd="-100000" fill="hold"/>
                                        <p:tgtEl>
                                          <p:spTgt spid="75"/>
                                        </p:tgtEl>
                                        <p:attrNameLst>
                                          <p:attrName>ppt_x</p:attrName>
                                          <p:attrName>ppt_y</p:attrName>
                                        </p:attrNameLst>
                                      </p:cBhvr>
                                      <p:rCtr x="0" y="1759"/>
                                    </p:animMotion>
                                  </p:childTnLst>
                                </p:cTn>
                              </p:par>
                              <p:par>
                                <p:cTn id="33" presetID="10" presetClass="entr" presetSubtype="0" fill="hold" nodeType="withEffect">
                                  <p:stCondLst>
                                    <p:cond delay="500"/>
                                  </p:stCondLst>
                                  <p:childTnLst>
                                    <p:set>
                                      <p:cBhvr>
                                        <p:cTn id="34" dur="1" fill="hold">
                                          <p:stCondLst>
                                            <p:cond delay="0"/>
                                          </p:stCondLst>
                                        </p:cTn>
                                        <p:tgtEl>
                                          <p:spTgt spid="93"/>
                                        </p:tgtEl>
                                        <p:attrNameLst>
                                          <p:attrName>style.visibility</p:attrName>
                                        </p:attrNameLst>
                                      </p:cBhvr>
                                      <p:to>
                                        <p:strVal val="visible"/>
                                      </p:to>
                                    </p:set>
                                    <p:animEffect transition="in" filter="fade">
                                      <p:cBhvr>
                                        <p:cTn id="35" dur="500"/>
                                        <p:tgtEl>
                                          <p:spTgt spid="93"/>
                                        </p:tgtEl>
                                      </p:cBhvr>
                                    </p:animEffect>
                                  </p:childTnLst>
                                </p:cTn>
                              </p:par>
                              <p:par>
                                <p:cTn id="36" presetID="42" presetClass="path" presetSubtype="0" decel="100000" fill="hold" nodeType="withEffect">
                                  <p:stCondLst>
                                    <p:cond delay="500"/>
                                  </p:stCondLst>
                                  <p:childTnLst>
                                    <p:animMotion origin="layout" path="M 1.66667E-6 -4.07407E-6 L 1.66667E-6 0.03542 " pathEditMode="relative" rAng="0" ptsTypes="AA">
                                      <p:cBhvr>
                                        <p:cTn id="37" dur="700" spd="-100000" fill="hold"/>
                                        <p:tgtEl>
                                          <p:spTgt spid="93"/>
                                        </p:tgtEl>
                                        <p:attrNameLst>
                                          <p:attrName>ppt_x</p:attrName>
                                          <p:attrName>ppt_y</p:attrName>
                                        </p:attrNameLst>
                                      </p:cBhvr>
                                      <p:rCtr x="0" y="1759"/>
                                    </p:animMotion>
                                  </p:childTnLst>
                                </p:cTn>
                              </p:par>
                              <p:par>
                                <p:cTn id="38" presetID="10" presetClass="entr" presetSubtype="0" fill="hold" grpId="0" nodeType="withEffect">
                                  <p:stCondLst>
                                    <p:cond delay="50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par>
                                <p:cTn id="41" presetID="42" presetClass="path" presetSubtype="0" decel="100000" fill="hold" grpId="1" nodeType="withEffect">
                                  <p:stCondLst>
                                    <p:cond delay="500"/>
                                  </p:stCondLst>
                                  <p:childTnLst>
                                    <p:animMotion origin="layout" path="M 3.95833E-6 4.07407E-6 L 3.95833E-6 0.03541 " pathEditMode="relative" rAng="0" ptsTypes="AA">
                                      <p:cBhvr>
                                        <p:cTn id="42" dur="700" spd="-100000" fill="hold"/>
                                        <p:tgtEl>
                                          <p:spTgt spid="79"/>
                                        </p:tgtEl>
                                        <p:attrNameLst>
                                          <p:attrName>ppt_x</p:attrName>
                                          <p:attrName>ppt_y</p:attrName>
                                        </p:attrNameLst>
                                      </p:cBhvr>
                                      <p:rCtr x="0" y="1759"/>
                                    </p:animMotion>
                                  </p:childTnLst>
                                </p:cTn>
                              </p:par>
                              <p:par>
                                <p:cTn id="43" presetID="10" presetClass="entr" presetSubtype="0" fill="hold" grpId="0" nodeType="withEffect">
                                  <p:stCondLst>
                                    <p:cond delay="500"/>
                                  </p:stCondLst>
                                  <p:childTnLst>
                                    <p:set>
                                      <p:cBhvr>
                                        <p:cTn id="44" dur="1" fill="hold">
                                          <p:stCondLst>
                                            <p:cond delay="0"/>
                                          </p:stCondLst>
                                        </p:cTn>
                                        <p:tgtEl>
                                          <p:spTgt spid="76"/>
                                        </p:tgtEl>
                                        <p:attrNameLst>
                                          <p:attrName>style.visibility</p:attrName>
                                        </p:attrNameLst>
                                      </p:cBhvr>
                                      <p:to>
                                        <p:strVal val="visible"/>
                                      </p:to>
                                    </p:set>
                                    <p:animEffect transition="in" filter="fade">
                                      <p:cBhvr>
                                        <p:cTn id="45" dur="500"/>
                                        <p:tgtEl>
                                          <p:spTgt spid="76"/>
                                        </p:tgtEl>
                                      </p:cBhvr>
                                    </p:animEffect>
                                  </p:childTnLst>
                                </p:cTn>
                              </p:par>
                              <p:par>
                                <p:cTn id="46" presetID="42" presetClass="path" presetSubtype="0" decel="100000" fill="hold" grpId="1" nodeType="withEffect">
                                  <p:stCondLst>
                                    <p:cond delay="500"/>
                                  </p:stCondLst>
                                  <p:childTnLst>
                                    <p:animMotion origin="layout" path="M 3.95833E-6 4.07407E-6 L 3.95833E-6 0.03541 " pathEditMode="relative" rAng="0" ptsTypes="AA">
                                      <p:cBhvr>
                                        <p:cTn id="47" dur="700" spd="-100000" fill="hold"/>
                                        <p:tgtEl>
                                          <p:spTgt spid="76"/>
                                        </p:tgtEl>
                                        <p:attrNameLst>
                                          <p:attrName>ppt_x</p:attrName>
                                          <p:attrName>ppt_y</p:attrName>
                                        </p:attrNameLst>
                                      </p:cBhvr>
                                      <p:rCtr x="0" y="1759"/>
                                    </p:animMotion>
                                  </p:childTnLst>
                                </p:cTn>
                              </p:par>
                              <p:par>
                                <p:cTn id="48" presetID="10" presetClass="entr" presetSubtype="0" fill="hold" grpId="0" nodeType="withEffect">
                                  <p:stCondLst>
                                    <p:cond delay="500"/>
                                  </p:stCondLst>
                                  <p:childTnLst>
                                    <p:set>
                                      <p:cBhvr>
                                        <p:cTn id="49" dur="1" fill="hold">
                                          <p:stCondLst>
                                            <p:cond delay="0"/>
                                          </p:stCondLst>
                                        </p:cTn>
                                        <p:tgtEl>
                                          <p:spTgt spid="80"/>
                                        </p:tgtEl>
                                        <p:attrNameLst>
                                          <p:attrName>style.visibility</p:attrName>
                                        </p:attrNameLst>
                                      </p:cBhvr>
                                      <p:to>
                                        <p:strVal val="visible"/>
                                      </p:to>
                                    </p:set>
                                    <p:animEffect transition="in" filter="fade">
                                      <p:cBhvr>
                                        <p:cTn id="50" dur="500"/>
                                        <p:tgtEl>
                                          <p:spTgt spid="80"/>
                                        </p:tgtEl>
                                      </p:cBhvr>
                                    </p:animEffect>
                                  </p:childTnLst>
                                </p:cTn>
                              </p:par>
                              <p:par>
                                <p:cTn id="51" presetID="42" presetClass="path" presetSubtype="0" decel="100000" fill="hold" grpId="1" nodeType="withEffect">
                                  <p:stCondLst>
                                    <p:cond delay="500"/>
                                  </p:stCondLst>
                                  <p:childTnLst>
                                    <p:animMotion origin="layout" path="M 3.95833E-6 4.07407E-6 L 3.95833E-6 0.03541 " pathEditMode="relative" rAng="0" ptsTypes="AA">
                                      <p:cBhvr>
                                        <p:cTn id="52" dur="700" spd="-100000" fill="hold"/>
                                        <p:tgtEl>
                                          <p:spTgt spid="80"/>
                                        </p:tgtEl>
                                        <p:attrNameLst>
                                          <p:attrName>ppt_x</p:attrName>
                                          <p:attrName>ppt_y</p:attrName>
                                        </p:attrNameLst>
                                      </p:cBhvr>
                                      <p:rCtr x="0" y="1759"/>
                                    </p:animMotion>
                                  </p:childTnLst>
                                </p:cTn>
                              </p:par>
                              <p:par>
                                <p:cTn id="53" presetID="10" presetClass="entr" presetSubtype="0" fill="hold" grpId="0" nodeType="withEffect">
                                  <p:stCondLst>
                                    <p:cond delay="500"/>
                                  </p:stCondLst>
                                  <p:childTnLst>
                                    <p:set>
                                      <p:cBhvr>
                                        <p:cTn id="54" dur="1" fill="hold">
                                          <p:stCondLst>
                                            <p:cond delay="0"/>
                                          </p:stCondLst>
                                        </p:cTn>
                                        <p:tgtEl>
                                          <p:spTgt spid="82"/>
                                        </p:tgtEl>
                                        <p:attrNameLst>
                                          <p:attrName>style.visibility</p:attrName>
                                        </p:attrNameLst>
                                      </p:cBhvr>
                                      <p:to>
                                        <p:strVal val="visible"/>
                                      </p:to>
                                    </p:set>
                                    <p:animEffect transition="in" filter="fade">
                                      <p:cBhvr>
                                        <p:cTn id="55" dur="500"/>
                                        <p:tgtEl>
                                          <p:spTgt spid="82"/>
                                        </p:tgtEl>
                                      </p:cBhvr>
                                    </p:animEffect>
                                  </p:childTnLst>
                                </p:cTn>
                              </p:par>
                              <p:par>
                                <p:cTn id="56" presetID="42" presetClass="path" presetSubtype="0" decel="100000" fill="hold" grpId="1" nodeType="withEffect">
                                  <p:stCondLst>
                                    <p:cond delay="500"/>
                                  </p:stCondLst>
                                  <p:childTnLst>
                                    <p:animMotion origin="layout" path="M 3.95833E-6 4.07407E-6 L 3.95833E-6 0.03541 " pathEditMode="relative" rAng="0" ptsTypes="AA">
                                      <p:cBhvr>
                                        <p:cTn id="57" dur="700" spd="-100000" fill="hold"/>
                                        <p:tgtEl>
                                          <p:spTgt spid="82"/>
                                        </p:tgtEl>
                                        <p:attrNameLst>
                                          <p:attrName>ppt_x</p:attrName>
                                          <p:attrName>ppt_y</p:attrName>
                                        </p:attrNameLst>
                                      </p:cBhvr>
                                      <p:rCtr x="0" y="1759"/>
                                    </p:animMotion>
                                  </p:childTnLst>
                                </p:cTn>
                              </p:par>
                              <p:par>
                                <p:cTn id="58" presetID="10" presetClass="entr" presetSubtype="0" fill="hold" grpId="0" nodeType="withEffect">
                                  <p:stCondLst>
                                    <p:cond delay="500"/>
                                  </p:stCondLst>
                                  <p:childTnLst>
                                    <p:set>
                                      <p:cBhvr>
                                        <p:cTn id="59" dur="1" fill="hold">
                                          <p:stCondLst>
                                            <p:cond delay="0"/>
                                          </p:stCondLst>
                                        </p:cTn>
                                        <p:tgtEl>
                                          <p:spTgt spid="81"/>
                                        </p:tgtEl>
                                        <p:attrNameLst>
                                          <p:attrName>style.visibility</p:attrName>
                                        </p:attrNameLst>
                                      </p:cBhvr>
                                      <p:to>
                                        <p:strVal val="visible"/>
                                      </p:to>
                                    </p:set>
                                    <p:animEffect transition="in" filter="fade">
                                      <p:cBhvr>
                                        <p:cTn id="60" dur="500"/>
                                        <p:tgtEl>
                                          <p:spTgt spid="81"/>
                                        </p:tgtEl>
                                      </p:cBhvr>
                                    </p:animEffect>
                                  </p:childTnLst>
                                </p:cTn>
                              </p:par>
                              <p:par>
                                <p:cTn id="61" presetID="42" presetClass="path" presetSubtype="0" decel="100000" fill="hold" grpId="1" nodeType="withEffect">
                                  <p:stCondLst>
                                    <p:cond delay="500"/>
                                  </p:stCondLst>
                                  <p:childTnLst>
                                    <p:animMotion origin="layout" path="M -3.95833E-6 4.81481E-6 L -3.95833E-6 0.03541 " pathEditMode="relative" rAng="0" ptsTypes="AA">
                                      <p:cBhvr>
                                        <p:cTn id="62" dur="700" spd="-100000" fill="hold"/>
                                        <p:tgtEl>
                                          <p:spTgt spid="81"/>
                                        </p:tgtEl>
                                        <p:attrNameLst>
                                          <p:attrName>ppt_x</p:attrName>
                                          <p:attrName>ppt_y</p:attrName>
                                        </p:attrNameLst>
                                      </p:cBhvr>
                                      <p:rCtr x="0" y="1759"/>
                                    </p:animMotion>
                                  </p:childTnLst>
                                </p:cTn>
                              </p:par>
                              <p:par>
                                <p:cTn id="63" presetID="10" presetClass="entr" presetSubtype="0" fill="hold" nodeType="withEffect">
                                  <p:stCondLst>
                                    <p:cond delay="500"/>
                                  </p:stCondLst>
                                  <p:childTnLst>
                                    <p:set>
                                      <p:cBhvr>
                                        <p:cTn id="64" dur="1" fill="hold">
                                          <p:stCondLst>
                                            <p:cond delay="0"/>
                                          </p:stCondLst>
                                        </p:cTn>
                                        <p:tgtEl>
                                          <p:spTgt spid="97"/>
                                        </p:tgtEl>
                                        <p:attrNameLst>
                                          <p:attrName>style.visibility</p:attrName>
                                        </p:attrNameLst>
                                      </p:cBhvr>
                                      <p:to>
                                        <p:strVal val="visible"/>
                                      </p:to>
                                    </p:set>
                                    <p:animEffect transition="in" filter="fade">
                                      <p:cBhvr>
                                        <p:cTn id="65" dur="500"/>
                                        <p:tgtEl>
                                          <p:spTgt spid="97"/>
                                        </p:tgtEl>
                                      </p:cBhvr>
                                    </p:animEffect>
                                  </p:childTnLst>
                                </p:cTn>
                              </p:par>
                              <p:par>
                                <p:cTn id="66" presetID="42" presetClass="path" presetSubtype="0" decel="100000" fill="hold" nodeType="withEffect">
                                  <p:stCondLst>
                                    <p:cond delay="500"/>
                                  </p:stCondLst>
                                  <p:childTnLst>
                                    <p:animMotion origin="layout" path="M 1.66667E-6 -1.85185E-6 L 1.66667E-6 0.03542 " pathEditMode="relative" rAng="0" ptsTypes="AA">
                                      <p:cBhvr>
                                        <p:cTn id="67" dur="700" spd="-100000" fill="hold"/>
                                        <p:tgtEl>
                                          <p:spTgt spid="97"/>
                                        </p:tgtEl>
                                        <p:attrNameLst>
                                          <p:attrName>ppt_x</p:attrName>
                                          <p:attrName>ppt_y</p:attrName>
                                        </p:attrNameLst>
                                      </p:cBhvr>
                                      <p:rCtr x="0" y="1759"/>
                                    </p:animMotion>
                                  </p:childTnLst>
                                </p:cTn>
                              </p:par>
                              <p:par>
                                <p:cTn id="68" presetID="10" presetClass="entr" presetSubtype="0" fill="hold" grpId="0" nodeType="withEffect">
                                  <p:stCondLst>
                                    <p:cond delay="500"/>
                                  </p:stCondLst>
                                  <p:childTnLst>
                                    <p:set>
                                      <p:cBhvr>
                                        <p:cTn id="69" dur="1" fill="hold">
                                          <p:stCondLst>
                                            <p:cond delay="0"/>
                                          </p:stCondLst>
                                        </p:cTn>
                                        <p:tgtEl>
                                          <p:spTgt spid="83"/>
                                        </p:tgtEl>
                                        <p:attrNameLst>
                                          <p:attrName>style.visibility</p:attrName>
                                        </p:attrNameLst>
                                      </p:cBhvr>
                                      <p:to>
                                        <p:strVal val="visible"/>
                                      </p:to>
                                    </p:set>
                                    <p:animEffect transition="in" filter="fade">
                                      <p:cBhvr>
                                        <p:cTn id="70" dur="500"/>
                                        <p:tgtEl>
                                          <p:spTgt spid="83"/>
                                        </p:tgtEl>
                                      </p:cBhvr>
                                    </p:animEffect>
                                  </p:childTnLst>
                                </p:cTn>
                              </p:par>
                              <p:par>
                                <p:cTn id="71" presetID="42" presetClass="path" presetSubtype="0" decel="100000" fill="hold" grpId="1" nodeType="withEffect">
                                  <p:stCondLst>
                                    <p:cond delay="500"/>
                                  </p:stCondLst>
                                  <p:childTnLst>
                                    <p:animMotion origin="layout" path="M 3.95833E-6 4.07407E-6 L 3.95833E-6 0.03541 " pathEditMode="relative" rAng="0" ptsTypes="AA">
                                      <p:cBhvr>
                                        <p:cTn id="72" dur="700" spd="-100000" fill="hold"/>
                                        <p:tgtEl>
                                          <p:spTgt spid="83"/>
                                        </p:tgtEl>
                                        <p:attrNameLst>
                                          <p:attrName>ppt_x</p:attrName>
                                          <p:attrName>ppt_y</p:attrName>
                                        </p:attrNameLst>
                                      </p:cBhvr>
                                      <p:rCtr x="0" y="1759"/>
                                    </p:animMotion>
                                  </p:childTnLst>
                                </p:cTn>
                              </p:par>
                              <p:par>
                                <p:cTn id="73" presetID="10" presetClass="entr" presetSubtype="0" fill="hold" grpId="0" nodeType="withEffect">
                                  <p:stCondLst>
                                    <p:cond delay="500"/>
                                  </p:stCondLst>
                                  <p:childTnLst>
                                    <p:set>
                                      <p:cBhvr>
                                        <p:cTn id="74" dur="1" fill="hold">
                                          <p:stCondLst>
                                            <p:cond delay="0"/>
                                          </p:stCondLst>
                                        </p:cTn>
                                        <p:tgtEl>
                                          <p:spTgt spid="78"/>
                                        </p:tgtEl>
                                        <p:attrNameLst>
                                          <p:attrName>style.visibility</p:attrName>
                                        </p:attrNameLst>
                                      </p:cBhvr>
                                      <p:to>
                                        <p:strVal val="visible"/>
                                      </p:to>
                                    </p:set>
                                    <p:animEffect transition="in" filter="fade">
                                      <p:cBhvr>
                                        <p:cTn id="75" dur="500"/>
                                        <p:tgtEl>
                                          <p:spTgt spid="78"/>
                                        </p:tgtEl>
                                      </p:cBhvr>
                                    </p:animEffect>
                                  </p:childTnLst>
                                </p:cTn>
                              </p:par>
                              <p:par>
                                <p:cTn id="76" presetID="42" presetClass="path" presetSubtype="0" decel="100000" fill="hold" grpId="1" nodeType="withEffect">
                                  <p:stCondLst>
                                    <p:cond delay="500"/>
                                  </p:stCondLst>
                                  <p:childTnLst>
                                    <p:animMotion origin="layout" path="M 3.95833E-6 4.07407E-6 L 3.95833E-6 0.03541 " pathEditMode="relative" rAng="0" ptsTypes="AA">
                                      <p:cBhvr>
                                        <p:cTn id="77" dur="700" spd="-100000" fill="hold"/>
                                        <p:tgtEl>
                                          <p:spTgt spid="78"/>
                                        </p:tgtEl>
                                        <p:attrNameLst>
                                          <p:attrName>ppt_x</p:attrName>
                                          <p:attrName>ppt_y</p:attrName>
                                        </p:attrNameLst>
                                      </p:cBhvr>
                                      <p:rCtr x="0" y="1759"/>
                                    </p:animMotion>
                                  </p:childTnLst>
                                </p:cTn>
                              </p:par>
                              <p:par>
                                <p:cTn id="78" presetID="10" presetClass="entr" presetSubtype="0" fill="hold" grpId="0" nodeType="withEffect">
                                  <p:stCondLst>
                                    <p:cond delay="500"/>
                                  </p:stCondLst>
                                  <p:childTnLst>
                                    <p:set>
                                      <p:cBhvr>
                                        <p:cTn id="79" dur="1" fill="hold">
                                          <p:stCondLst>
                                            <p:cond delay="0"/>
                                          </p:stCondLst>
                                        </p:cTn>
                                        <p:tgtEl>
                                          <p:spTgt spid="3"/>
                                        </p:tgtEl>
                                        <p:attrNameLst>
                                          <p:attrName>style.visibility</p:attrName>
                                        </p:attrNameLst>
                                      </p:cBhvr>
                                      <p:to>
                                        <p:strVal val="visible"/>
                                      </p:to>
                                    </p:set>
                                    <p:animEffect transition="in" filter="fade">
                                      <p:cBhvr>
                                        <p:cTn id="80" dur="500"/>
                                        <p:tgtEl>
                                          <p:spTgt spid="3"/>
                                        </p:tgtEl>
                                      </p:cBhvr>
                                    </p:animEffect>
                                  </p:childTnLst>
                                </p:cTn>
                              </p:par>
                              <p:par>
                                <p:cTn id="81" presetID="42" presetClass="path" presetSubtype="0" decel="100000" fill="hold" grpId="1" nodeType="withEffect">
                                  <p:stCondLst>
                                    <p:cond delay="500"/>
                                  </p:stCondLst>
                                  <p:childTnLst>
                                    <p:animMotion origin="layout" path="M 3.95833E-6 4.07407E-6 L 3.95833E-6 0.03541 " pathEditMode="relative" rAng="0" ptsTypes="AA">
                                      <p:cBhvr>
                                        <p:cTn id="82" dur="700" spd="-100000" fill="hold"/>
                                        <p:tgtEl>
                                          <p:spTgt spid="3"/>
                                        </p:tgtEl>
                                        <p:attrNameLst>
                                          <p:attrName>ppt_x</p:attrName>
                                          <p:attrName>ppt_y</p:attrName>
                                        </p:attrNameLst>
                                      </p:cBhvr>
                                      <p:rCtr x="0" y="1759"/>
                                    </p:animMotion>
                                  </p:childTnLst>
                                </p:cTn>
                              </p:par>
                              <p:par>
                                <p:cTn id="83" presetID="10" presetClass="entr" presetSubtype="0" fill="hold" grpId="0" nodeType="withEffect">
                                  <p:stCondLst>
                                    <p:cond delay="500"/>
                                  </p:stCondLst>
                                  <p:childTnLst>
                                    <p:set>
                                      <p:cBhvr>
                                        <p:cTn id="84" dur="1" fill="hold">
                                          <p:stCondLst>
                                            <p:cond delay="0"/>
                                          </p:stCondLst>
                                        </p:cTn>
                                        <p:tgtEl>
                                          <p:spTgt spid="74"/>
                                        </p:tgtEl>
                                        <p:attrNameLst>
                                          <p:attrName>style.visibility</p:attrName>
                                        </p:attrNameLst>
                                      </p:cBhvr>
                                      <p:to>
                                        <p:strVal val="visible"/>
                                      </p:to>
                                    </p:set>
                                    <p:animEffect transition="in" filter="fade">
                                      <p:cBhvr>
                                        <p:cTn id="85" dur="500"/>
                                        <p:tgtEl>
                                          <p:spTgt spid="74"/>
                                        </p:tgtEl>
                                      </p:cBhvr>
                                    </p:animEffect>
                                  </p:childTnLst>
                                </p:cTn>
                              </p:par>
                              <p:par>
                                <p:cTn id="86" presetID="42" presetClass="path" presetSubtype="0" decel="100000" fill="hold" grpId="1" nodeType="withEffect">
                                  <p:stCondLst>
                                    <p:cond delay="500"/>
                                  </p:stCondLst>
                                  <p:childTnLst>
                                    <p:animMotion origin="layout" path="M 1.66667E-6 -3.33333E-6 L 1.66667E-6 0.03542 " pathEditMode="relative" rAng="0" ptsTypes="AA">
                                      <p:cBhvr>
                                        <p:cTn id="87" dur="700" spd="-100000" fill="hold"/>
                                        <p:tgtEl>
                                          <p:spTgt spid="74"/>
                                        </p:tgtEl>
                                        <p:attrNameLst>
                                          <p:attrName>ppt_x</p:attrName>
                                          <p:attrName>ppt_y</p:attrName>
                                        </p:attrNameLst>
                                      </p:cBhvr>
                                      <p:rCtr x="0" y="1759"/>
                                    </p:animMotion>
                                  </p:childTnLst>
                                </p:cTn>
                              </p:par>
                              <p:par>
                                <p:cTn id="88" presetID="10" presetClass="entr" presetSubtype="0" fill="hold" nodeType="withEffect">
                                  <p:stCondLst>
                                    <p:cond delay="500"/>
                                  </p:stCondLst>
                                  <p:childTnLst>
                                    <p:set>
                                      <p:cBhvr>
                                        <p:cTn id="89" dur="1" fill="hold">
                                          <p:stCondLst>
                                            <p:cond delay="0"/>
                                          </p:stCondLst>
                                        </p:cTn>
                                        <p:tgtEl>
                                          <p:spTgt spid="98"/>
                                        </p:tgtEl>
                                        <p:attrNameLst>
                                          <p:attrName>style.visibility</p:attrName>
                                        </p:attrNameLst>
                                      </p:cBhvr>
                                      <p:to>
                                        <p:strVal val="visible"/>
                                      </p:to>
                                    </p:set>
                                    <p:animEffect transition="in" filter="fade">
                                      <p:cBhvr>
                                        <p:cTn id="90" dur="500"/>
                                        <p:tgtEl>
                                          <p:spTgt spid="98"/>
                                        </p:tgtEl>
                                      </p:cBhvr>
                                    </p:animEffect>
                                  </p:childTnLst>
                                </p:cTn>
                              </p:par>
                              <p:par>
                                <p:cTn id="91" presetID="42" presetClass="path" presetSubtype="0" decel="100000" fill="hold" nodeType="withEffect">
                                  <p:stCondLst>
                                    <p:cond delay="500"/>
                                  </p:stCondLst>
                                  <p:childTnLst>
                                    <p:animMotion origin="layout" path="M 1.66667E-6 1.11022E-16 L 1.66667E-6 0.03542 " pathEditMode="relative" rAng="0" ptsTypes="AA">
                                      <p:cBhvr>
                                        <p:cTn id="92" dur="700" spd="-100000" fill="hold"/>
                                        <p:tgtEl>
                                          <p:spTgt spid="98"/>
                                        </p:tgtEl>
                                        <p:attrNameLst>
                                          <p:attrName>ppt_x</p:attrName>
                                          <p:attrName>ppt_y</p:attrName>
                                        </p:attrNameLst>
                                      </p:cBhvr>
                                      <p:rCtr x="0" y="1759"/>
                                    </p:animMotion>
                                  </p:childTnLst>
                                </p:cTn>
                              </p:par>
                              <p:par>
                                <p:cTn id="93" presetID="10" presetClass="entr" presetSubtype="0" fill="hold" nodeType="withEffect">
                                  <p:stCondLst>
                                    <p:cond delay="500"/>
                                  </p:stCondLst>
                                  <p:childTnLst>
                                    <p:set>
                                      <p:cBhvr>
                                        <p:cTn id="94" dur="1" fill="hold">
                                          <p:stCondLst>
                                            <p:cond delay="0"/>
                                          </p:stCondLst>
                                        </p:cTn>
                                        <p:tgtEl>
                                          <p:spTgt spid="96"/>
                                        </p:tgtEl>
                                        <p:attrNameLst>
                                          <p:attrName>style.visibility</p:attrName>
                                        </p:attrNameLst>
                                      </p:cBhvr>
                                      <p:to>
                                        <p:strVal val="visible"/>
                                      </p:to>
                                    </p:set>
                                    <p:animEffect transition="in" filter="fade">
                                      <p:cBhvr>
                                        <p:cTn id="95" dur="500"/>
                                        <p:tgtEl>
                                          <p:spTgt spid="96"/>
                                        </p:tgtEl>
                                      </p:cBhvr>
                                    </p:animEffect>
                                  </p:childTnLst>
                                </p:cTn>
                              </p:par>
                              <p:par>
                                <p:cTn id="96" presetID="42" presetClass="path" presetSubtype="0" decel="100000" fill="hold" nodeType="withEffect">
                                  <p:stCondLst>
                                    <p:cond delay="500"/>
                                  </p:stCondLst>
                                  <p:childTnLst>
                                    <p:animMotion origin="layout" path="M 3.95833E-6 4.07407E-6 L 3.95833E-6 0.03541 " pathEditMode="relative" rAng="0" ptsTypes="AA">
                                      <p:cBhvr>
                                        <p:cTn id="97" dur="700" spd="-100000" fill="hold"/>
                                        <p:tgtEl>
                                          <p:spTgt spid="9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 grpId="0" animBg="1"/>
      <p:bldP spid="2" grpId="1" animBg="1"/>
      <p:bldP spid="8" grpId="0" animBg="1"/>
      <p:bldP spid="8" grpId="1" animBg="1"/>
      <p:bldP spid="13" grpId="0"/>
      <p:bldP spid="13" grpId="1"/>
      <p:bldP spid="77" grpId="0" animBg="1"/>
      <p:bldP spid="77" grpId="1" animBg="1"/>
      <p:bldP spid="75" grpId="0"/>
      <p:bldP spid="75" grpId="1"/>
      <p:bldP spid="79" grpId="0" animBg="1"/>
      <p:bldP spid="79" grpId="1" animBg="1"/>
      <p:bldP spid="76" grpId="0"/>
      <p:bldP spid="76" grpId="1"/>
      <p:bldP spid="80" grpId="0" animBg="1"/>
      <p:bldP spid="80" grpId="1" animBg="1"/>
      <p:bldP spid="82" grpId="0"/>
      <p:bldP spid="82" grpId="1"/>
      <p:bldP spid="81" grpId="0" animBg="1"/>
      <p:bldP spid="81" grpId="1" animBg="1"/>
      <p:bldP spid="83" grpId="0"/>
      <p:bldP spid="83" grpId="1"/>
      <p:bldP spid="78" grpId="0" animBg="1"/>
      <p:bldP spid="78" grpId="1" animBg="1"/>
      <p:bldP spid="74" grpId="0"/>
      <p:bldP spid="74" grpId="1"/>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BA79B-66CC-C756-B710-B1CFA50B1CBF}"/>
            </a:ext>
          </a:extLst>
        </p:cNvPr>
        <p:cNvGrpSpPr/>
        <p:nvPr/>
      </p:nvGrpSpPr>
      <p:grpSpPr>
        <a:xfrm>
          <a:off x="0" y="0"/>
          <a:ext cx="0" cy="0"/>
          <a:chOff x="0" y="0"/>
          <a:chExt cx="0" cy="0"/>
        </a:xfrm>
      </p:grpSpPr>
      <p:sp>
        <p:nvSpPr>
          <p:cNvPr id="24" name="Title 1">
            <a:extLst>
              <a:ext uri="{FF2B5EF4-FFF2-40B4-BE49-F238E27FC236}">
                <a16:creationId xmlns:a16="http://schemas.microsoft.com/office/drawing/2014/main" id="{91ABCCEB-4033-08CB-A458-DB70479F7E2F}"/>
              </a:ext>
            </a:extLst>
          </p:cNvPr>
          <p:cNvSpPr txBox="1">
            <a:spLocks noGrp="1"/>
          </p:cNvSpPr>
          <p:nvPr>
            <p:ph type="title" idx="4294967295"/>
          </p:nvPr>
        </p:nvSpPr>
        <p:spPr>
          <a:xfrm>
            <a:off x="588263" y="660555"/>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822715" rtl="0" eaLnBrk="1" fontAlgn="base" latinLnBrk="0" hangingPunct="1">
              <a:lnSpc>
                <a:spcPct val="100000"/>
              </a:lnSpc>
              <a:spcBef>
                <a:spcPct val="0"/>
              </a:spcBef>
              <a:spcAft>
                <a:spcPct val="0"/>
              </a:spcAft>
              <a:buClrTx/>
              <a:buSzTx/>
              <a:buFontTx/>
              <a:buNone/>
              <a:tabLst>
                <a:tab pos="920878" algn="l"/>
              </a:tabLst>
              <a:defRPr/>
            </a:pPr>
            <a:r>
              <a:rPr kumimoji="0" lang="en-US" sz="6000" b="0" i="0" u="none" strike="noStrike" kern="0" cap="none" spc="-50" normalizeH="0" baseline="0" noProof="0" dirty="0">
                <a:ln w="3175">
                  <a:noFill/>
                </a:ln>
                <a:solidFill>
                  <a:schemeClr val="tx1"/>
                </a:solidFill>
                <a:effectLst/>
                <a:uLnTx/>
                <a:uFillTx/>
                <a:latin typeface="Segoe UI Variable Display Semib" pitchFamily="2" charset="0"/>
                <a:ea typeface="+mn-ea"/>
                <a:cs typeface="Segoe Sans Display Semibold" pitchFamily="2" charset="0"/>
              </a:rPr>
              <a:t>Becoming Frontier</a:t>
            </a:r>
          </a:p>
        </p:txBody>
      </p:sp>
      <p:sp>
        <p:nvSpPr>
          <p:cNvPr id="23" name="!! Opportunities box">
            <a:extLst>
              <a:ext uri="{FF2B5EF4-FFF2-40B4-BE49-F238E27FC236}">
                <a16:creationId xmlns:a16="http://schemas.microsoft.com/office/drawing/2014/main" id="{543B40A0-70E9-5690-F43E-1A5402A70498}"/>
              </a:ext>
              <a:ext uri="{C183D7F6-B498-43B3-948B-1728B52AA6E4}">
                <adec:decorative xmlns:adec="http://schemas.microsoft.com/office/drawing/2017/decorative" val="1"/>
              </a:ext>
            </a:extLst>
          </p:cNvPr>
          <p:cNvSpPr txBox="1">
            <a:spLocks/>
          </p:cNvSpPr>
          <p:nvPr/>
        </p:nvSpPr>
        <p:spPr>
          <a:xfrm>
            <a:off x="586740" y="2088324"/>
            <a:ext cx="11018520" cy="4091094"/>
          </a:xfrm>
          <a:prstGeom prst="roundRect">
            <a:avLst>
              <a:gd name="adj" fmla="val 6030"/>
            </a:avLst>
          </a:prstGeom>
          <a:noFill/>
          <a:ln w="19050" cap="rnd" cmpd="sng" algn="ctr">
            <a:solidFill>
              <a:srgbClr val="0A2526">
                <a:alpha val="25000"/>
              </a:srgbClr>
            </a:solidFill>
            <a:prstDash val="solid"/>
            <a:headEnd type="none" w="lg" len="sm"/>
            <a:tailEnd type="none" w="lg" len="sm"/>
          </a:ln>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25" name="Rectangle: Rounded Corners 24">
            <a:extLst>
              <a:ext uri="{FF2B5EF4-FFF2-40B4-BE49-F238E27FC236}">
                <a16:creationId xmlns:a16="http://schemas.microsoft.com/office/drawing/2014/main" id="{BDCEB798-D308-9463-D02E-5D213AB8692B}"/>
              </a:ext>
              <a:ext uri="{C183D7F6-B498-43B3-948B-1728B52AA6E4}">
                <adec:decorative xmlns:adec="http://schemas.microsoft.com/office/drawing/2017/decorative" val="0"/>
              </a:ext>
            </a:extLst>
          </p:cNvPr>
          <p:cNvSpPr/>
          <p:nvPr/>
        </p:nvSpPr>
        <p:spPr bwMode="auto">
          <a:xfrm>
            <a:off x="4746591" y="1836092"/>
            <a:ext cx="2698818" cy="492442"/>
          </a:xfrm>
          <a:prstGeom prst="roundRect">
            <a:avLst>
              <a:gd name="adj" fmla="val 34256"/>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2000" b="1" i="0" u="none" strike="noStrike" kern="1200" cap="none" spc="0" normalizeH="0" baseline="0" noProof="0">
                <a:ln w="3175">
                  <a:noFill/>
                </a:ln>
                <a:solidFill>
                  <a:srgbClr val="091F2C"/>
                </a:solidFill>
                <a:effectLst/>
                <a:uLnTx/>
                <a:uFillTx/>
                <a:latin typeface="Segoe UI Variable Display Semib" pitchFamily="2" charset="0"/>
                <a:ea typeface="+mn-ea"/>
                <a:cs typeface="Segoe UI" pitchFamily="34" charset="0"/>
              </a:rPr>
              <a:t>Success framework</a:t>
            </a:r>
          </a:p>
        </p:txBody>
      </p:sp>
      <p:pic>
        <p:nvPicPr>
          <p:cNvPr id="29" name="Picture 28">
            <a:extLst>
              <a:ext uri="{FF2B5EF4-FFF2-40B4-BE49-F238E27FC236}">
                <a16:creationId xmlns:a16="http://schemas.microsoft.com/office/drawing/2014/main" id="{399087C9-1154-004D-93E7-8728BCB6FE12}"/>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1468" t="15466" r="13884" b="24563"/>
          <a:stretch>
            <a:fillRect/>
          </a:stretch>
        </p:blipFill>
        <p:spPr>
          <a:xfrm>
            <a:off x="851137" y="2529680"/>
            <a:ext cx="2523744" cy="3389829"/>
          </a:xfrm>
          <a:prstGeom prst="roundRect">
            <a:avLst>
              <a:gd name="adj" fmla="val 7777"/>
            </a:avLst>
          </a:prstGeom>
          <a:ln>
            <a:noFill/>
          </a:ln>
        </p:spPr>
      </p:pic>
      <p:sp>
        <p:nvSpPr>
          <p:cNvPr id="30" name="!! Container gradient">
            <a:extLst>
              <a:ext uri="{FF2B5EF4-FFF2-40B4-BE49-F238E27FC236}">
                <a16:creationId xmlns:a16="http://schemas.microsoft.com/office/drawing/2014/main" id="{B073BC04-F6EA-1629-FA81-B1E210B9EF37}"/>
              </a:ext>
              <a:ext uri="{C183D7F6-B498-43B3-948B-1728B52AA6E4}">
                <adec:decorative xmlns:adec="http://schemas.microsoft.com/office/drawing/2017/decorative" val="1"/>
              </a:ext>
            </a:extLst>
          </p:cNvPr>
          <p:cNvSpPr/>
          <p:nvPr/>
        </p:nvSpPr>
        <p:spPr bwMode="auto">
          <a:xfrm rot="10800000">
            <a:off x="849824" y="3947216"/>
            <a:ext cx="2526372" cy="1979042"/>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1DF93563-52B9-0C6B-CA78-786862BAB7C8}"/>
              </a:ext>
            </a:extLst>
          </p:cNvPr>
          <p:cNvSpPr txBox="1"/>
          <p:nvPr/>
        </p:nvSpPr>
        <p:spPr>
          <a:xfrm>
            <a:off x="1281852" y="4480741"/>
            <a:ext cx="1662314"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ea typeface="+mn-ea"/>
                <a:cs typeface="+mn-cs"/>
              </a:rPr>
              <a:t>Enri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ea typeface="+mn-ea"/>
                <a:cs typeface="+mn-cs"/>
              </a:rPr>
              <a:t>employ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ea typeface="+mn-ea"/>
                <a:cs typeface="+mn-cs"/>
              </a:rPr>
              <a:t>experiences</a:t>
            </a:r>
          </a:p>
        </p:txBody>
      </p:sp>
      <p:pic>
        <p:nvPicPr>
          <p:cNvPr id="33" name="Picture 32">
            <a:extLst>
              <a:ext uri="{FF2B5EF4-FFF2-40B4-BE49-F238E27FC236}">
                <a16:creationId xmlns:a16="http://schemas.microsoft.com/office/drawing/2014/main" id="{209B89E7-2219-39E6-C4D7-51E856F92164}"/>
              </a:ext>
              <a:ext uri="{C183D7F6-B498-43B3-948B-1728B52AA6E4}">
                <adec:decorative xmlns:adec="http://schemas.microsoft.com/office/drawing/2017/decorative" val="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4000"/>
                    </a14:imgEffect>
                  </a14:imgLayer>
                </a14:imgProps>
              </a:ext>
            </a:extLst>
          </a:blip>
          <a:srcRect r="56167" b="41123"/>
          <a:stretch>
            <a:fillRect/>
          </a:stretch>
        </p:blipFill>
        <p:spPr>
          <a:xfrm>
            <a:off x="3506461" y="2528742"/>
            <a:ext cx="2523744" cy="3389829"/>
          </a:xfrm>
          <a:prstGeom prst="roundRect">
            <a:avLst>
              <a:gd name="adj" fmla="val 7777"/>
            </a:avLst>
          </a:prstGeom>
          <a:ln>
            <a:noFill/>
          </a:ln>
        </p:spPr>
      </p:pic>
      <p:sp>
        <p:nvSpPr>
          <p:cNvPr id="34" name="Rectangle: Top Corners Rounded 33">
            <a:extLst>
              <a:ext uri="{FF2B5EF4-FFF2-40B4-BE49-F238E27FC236}">
                <a16:creationId xmlns:a16="http://schemas.microsoft.com/office/drawing/2014/main" id="{6CB3DC39-F775-BB08-495F-93D1EDB0ED1D}"/>
              </a:ext>
              <a:ext uri="{C183D7F6-B498-43B3-948B-1728B52AA6E4}">
                <adec:decorative xmlns:adec="http://schemas.microsoft.com/office/drawing/2017/decorative" val="1"/>
              </a:ext>
            </a:extLst>
          </p:cNvPr>
          <p:cNvSpPr/>
          <p:nvPr/>
        </p:nvSpPr>
        <p:spPr bwMode="auto">
          <a:xfrm rot="10800000">
            <a:off x="3505405" y="3815448"/>
            <a:ext cx="2525858"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4D731943-6B59-1FF2-85A6-8C03296E8456}"/>
              </a:ext>
            </a:extLst>
          </p:cNvPr>
          <p:cNvSpPr txBox="1"/>
          <p:nvPr/>
        </p:nvSpPr>
        <p:spPr>
          <a:xfrm>
            <a:off x="3890689" y="4480741"/>
            <a:ext cx="1755288"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Reinv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engagement</a:t>
            </a:r>
          </a:p>
        </p:txBody>
      </p:sp>
      <p:pic>
        <p:nvPicPr>
          <p:cNvPr id="37" name="Picture 36">
            <a:extLst>
              <a:ext uri="{FF2B5EF4-FFF2-40B4-BE49-F238E27FC236}">
                <a16:creationId xmlns:a16="http://schemas.microsoft.com/office/drawing/2014/main" id="{2A9A71DF-FEFD-D625-8704-91E29E9765E4}"/>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7699"/>
                    </a14:imgEffect>
                    <a14:imgEffect>
                      <a14:saturation sat="80000"/>
                    </a14:imgEffect>
                    <a14:imgEffect>
                      <a14:brightnessContrast bright="-16000"/>
                    </a14:imgEffect>
                  </a14:imgLayer>
                </a14:imgProps>
              </a:ext>
            </a:extLst>
          </a:blip>
          <a:srcRect l="25007" t="4155" r="5777" b="2904"/>
          <a:stretch>
            <a:fillRect/>
          </a:stretch>
        </p:blipFill>
        <p:spPr>
          <a:xfrm>
            <a:off x="6162974" y="2528742"/>
            <a:ext cx="2523744" cy="3388861"/>
          </a:xfrm>
          <a:prstGeom prst="roundRect">
            <a:avLst>
              <a:gd name="adj" fmla="val 7777"/>
            </a:avLst>
          </a:prstGeom>
          <a:ln>
            <a:noFill/>
          </a:ln>
        </p:spPr>
      </p:pic>
      <p:sp>
        <p:nvSpPr>
          <p:cNvPr id="38" name="Rectangle: Top Corners Rounded 37">
            <a:extLst>
              <a:ext uri="{FF2B5EF4-FFF2-40B4-BE49-F238E27FC236}">
                <a16:creationId xmlns:a16="http://schemas.microsoft.com/office/drawing/2014/main" id="{DE9D2F23-394D-0CA3-5DDF-C05BDAA9F781}"/>
              </a:ext>
              <a:ext uri="{C183D7F6-B498-43B3-948B-1728B52AA6E4}">
                <adec:decorative xmlns:adec="http://schemas.microsoft.com/office/drawing/2017/decorative" val="1"/>
              </a:ext>
            </a:extLst>
          </p:cNvPr>
          <p:cNvSpPr/>
          <p:nvPr/>
        </p:nvSpPr>
        <p:spPr bwMode="auto">
          <a:xfrm rot="10800000">
            <a:off x="6160472" y="3815450"/>
            <a:ext cx="2528749"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43A4A91B-874E-AA49-6A65-C19E1C50B15F}"/>
              </a:ext>
            </a:extLst>
          </p:cNvPr>
          <p:cNvSpPr txBox="1"/>
          <p:nvPr/>
        </p:nvSpPr>
        <p:spPr>
          <a:xfrm>
            <a:off x="6725937" y="4480741"/>
            <a:ext cx="1397819"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Resha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processes</a:t>
            </a:r>
          </a:p>
        </p:txBody>
      </p:sp>
      <p:pic>
        <p:nvPicPr>
          <p:cNvPr id="41" name="Picture 40">
            <a:extLst>
              <a:ext uri="{FF2B5EF4-FFF2-40B4-BE49-F238E27FC236}">
                <a16:creationId xmlns:a16="http://schemas.microsoft.com/office/drawing/2014/main" id="{C587ADDF-218C-3361-6CB8-10AFE4E1D72E}"/>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8000"/>
                    </a14:imgEffect>
                  </a14:imgLayer>
                </a14:imgProps>
              </a:ext>
            </a:extLst>
          </a:blip>
          <a:srcRect l="27803" b="3055"/>
          <a:stretch>
            <a:fillRect/>
          </a:stretch>
        </p:blipFill>
        <p:spPr>
          <a:xfrm>
            <a:off x="8818431" y="2527773"/>
            <a:ext cx="2523744" cy="3388860"/>
          </a:xfrm>
          <a:prstGeom prst="roundRect">
            <a:avLst>
              <a:gd name="adj" fmla="val 7777"/>
            </a:avLst>
          </a:prstGeom>
          <a:ln>
            <a:noFill/>
          </a:ln>
        </p:spPr>
      </p:pic>
      <p:sp>
        <p:nvSpPr>
          <p:cNvPr id="42" name="Rectangle: Top Corners Rounded 41">
            <a:extLst>
              <a:ext uri="{FF2B5EF4-FFF2-40B4-BE49-F238E27FC236}">
                <a16:creationId xmlns:a16="http://schemas.microsoft.com/office/drawing/2014/main" id="{54CD66A2-E31E-F169-75CD-F708BF234B18}"/>
              </a:ext>
              <a:ext uri="{C183D7F6-B498-43B3-948B-1728B52AA6E4}">
                <adec:decorative xmlns:adec="http://schemas.microsoft.com/office/drawing/2017/decorative" val="1"/>
              </a:ext>
            </a:extLst>
          </p:cNvPr>
          <p:cNvSpPr/>
          <p:nvPr/>
        </p:nvSpPr>
        <p:spPr bwMode="auto">
          <a:xfrm rot="10800000">
            <a:off x="8818431" y="3823138"/>
            <a:ext cx="2523745"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168C25E-66BF-99B4-E447-A4105CA50CD6}"/>
              </a:ext>
            </a:extLst>
          </p:cNvPr>
          <p:cNvSpPr txBox="1"/>
          <p:nvPr/>
        </p:nvSpPr>
        <p:spPr>
          <a:xfrm>
            <a:off x="9339716" y="4480741"/>
            <a:ext cx="1481175"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Bend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curve 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ea typeface="+mn-ea"/>
                <a:cs typeface="+mn-cs"/>
              </a:rPr>
              <a:t>innovation</a:t>
            </a:r>
          </a:p>
        </p:txBody>
      </p:sp>
    </p:spTree>
    <p:extLst>
      <p:ext uri="{BB962C8B-B14F-4D97-AF65-F5344CB8AC3E}">
        <p14:creationId xmlns:p14="http://schemas.microsoft.com/office/powerpoint/2010/main" val="32456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42" presetClass="path" presetSubtype="0" decel="100000" fill="hold" grpId="1" nodeType="withEffect">
                                  <p:stCondLst>
                                    <p:cond delay="0"/>
                                  </p:stCondLst>
                                  <p:childTnLst>
                                    <p:animMotion origin="layout" path="M -2.08333E-7 2.59259E-6 L -2.08333E-7 0.03541 " pathEditMode="relative" rAng="0" ptsTypes="AA">
                                      <p:cBhvr>
                                        <p:cTn id="9" dur="700" spd="-100000" fill="hold"/>
                                        <p:tgtEl>
                                          <p:spTgt spid="24"/>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75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42" presetClass="path" presetSubtype="0" decel="100000" fill="hold" grpId="1" nodeType="withEffect">
                                  <p:stCondLst>
                                    <p:cond delay="0"/>
                                  </p:stCondLst>
                                  <p:childTnLst>
                                    <p:animMotion origin="layout" path="M 0 3.7037E-7 L 0 0.03542 " pathEditMode="relative" rAng="0" ptsTypes="AA">
                                      <p:cBhvr>
                                        <p:cTn id="17" dur="700" spd="-100000" fill="hold"/>
                                        <p:tgtEl>
                                          <p:spTgt spid="25"/>
                                        </p:tgtEl>
                                        <p:attrNameLst>
                                          <p:attrName>ppt_x</p:attrName>
                                          <p:attrName>ppt_y</p:attrName>
                                        </p:attrNameLst>
                                      </p:cBhvr>
                                      <p:rCtr x="0" y="1759"/>
                                    </p:animMotion>
                                  </p:childTnLst>
                                </p:cTn>
                              </p:par>
                              <p:par>
                                <p:cTn id="18" presetID="10" presetClass="entr" presetSubtype="0" fill="hold" nodeType="withEffect">
                                  <p:stCondLst>
                                    <p:cond delay="1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42" presetClass="path" presetSubtype="0" decel="100000" fill="hold" nodeType="withEffect">
                                  <p:stCondLst>
                                    <p:cond delay="100"/>
                                  </p:stCondLst>
                                  <p:childTnLst>
                                    <p:animMotion origin="layout" path="M 2.70833E-6 -2.22222E-6 L 2.70833E-6 0.03542 " pathEditMode="relative" rAng="0" ptsTypes="AA">
                                      <p:cBhvr>
                                        <p:cTn id="22" dur="700" spd="-100000" fill="hold"/>
                                        <p:tgtEl>
                                          <p:spTgt spid="29"/>
                                        </p:tgtEl>
                                        <p:attrNameLst>
                                          <p:attrName>ppt_x</p:attrName>
                                          <p:attrName>ppt_y</p:attrName>
                                        </p:attrNameLst>
                                      </p:cBhvr>
                                      <p:rCtr x="0" y="1759"/>
                                    </p:animMotion>
                                  </p:childTnLst>
                                </p:cTn>
                              </p:par>
                              <p:par>
                                <p:cTn id="23" presetID="10" presetClass="entr" presetSubtype="0" fill="hold" grpId="0" nodeType="withEffect">
                                  <p:stCondLst>
                                    <p:cond delay="10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42" presetClass="path" presetSubtype="0" decel="100000" fill="hold" grpId="1" nodeType="withEffect">
                                  <p:stCondLst>
                                    <p:cond delay="100"/>
                                  </p:stCondLst>
                                  <p:childTnLst>
                                    <p:animMotion origin="layout" path="M 2.08333E-6 -7.40741E-7 L 2.08333E-6 0.03542 " pathEditMode="relative" rAng="0" ptsTypes="AA">
                                      <p:cBhvr>
                                        <p:cTn id="27" dur="700" spd="-100000" fill="hold"/>
                                        <p:tgtEl>
                                          <p:spTgt spid="31"/>
                                        </p:tgtEl>
                                        <p:attrNameLst>
                                          <p:attrName>ppt_x</p:attrName>
                                          <p:attrName>ppt_y</p:attrName>
                                        </p:attrNameLst>
                                      </p:cBhvr>
                                      <p:rCtr x="0" y="1759"/>
                                    </p:animMotion>
                                  </p:childTnLst>
                                </p:cTn>
                              </p:par>
                              <p:par>
                                <p:cTn id="28" presetID="10" presetClass="entr" presetSubtype="0" fill="hold"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42" presetClass="path" presetSubtype="0" decel="100000" fill="hold" nodeType="withEffect">
                                  <p:stCondLst>
                                    <p:cond delay="200"/>
                                  </p:stCondLst>
                                  <p:childTnLst>
                                    <p:animMotion origin="layout" path="M 4.58333E-6 7.40741E-7 L 4.58333E-6 0.03542 " pathEditMode="relative" rAng="0" ptsTypes="AA">
                                      <p:cBhvr>
                                        <p:cTn id="32" dur="700" spd="-100000" fill="hold"/>
                                        <p:tgtEl>
                                          <p:spTgt spid="33"/>
                                        </p:tgtEl>
                                        <p:attrNameLst>
                                          <p:attrName>ppt_x</p:attrName>
                                          <p:attrName>ppt_y</p:attrName>
                                        </p:attrNameLst>
                                      </p:cBhvr>
                                      <p:rCtr x="0" y="1782"/>
                                    </p:animMotion>
                                  </p:childTnLst>
                                </p:cTn>
                              </p:par>
                              <p:par>
                                <p:cTn id="33" presetID="10" presetClass="entr" presetSubtype="0" fill="hold" grpId="0" nodeType="withEffect">
                                  <p:stCondLst>
                                    <p:cond delay="20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42" presetClass="path" presetSubtype="0" decel="100000" fill="hold" grpId="1" nodeType="withEffect">
                                  <p:stCondLst>
                                    <p:cond delay="200"/>
                                  </p:stCondLst>
                                  <p:childTnLst>
                                    <p:animMotion origin="layout" path="M 4.58333E-6 7.40741E-7 L 4.58333E-6 0.03542 " pathEditMode="relative" rAng="0" ptsTypes="AA">
                                      <p:cBhvr>
                                        <p:cTn id="37" dur="700" spd="-100000" fill="hold"/>
                                        <p:tgtEl>
                                          <p:spTgt spid="34"/>
                                        </p:tgtEl>
                                        <p:attrNameLst>
                                          <p:attrName>ppt_x</p:attrName>
                                          <p:attrName>ppt_y</p:attrName>
                                        </p:attrNameLst>
                                      </p:cBhvr>
                                      <p:rCtr x="0" y="1782"/>
                                    </p:animMotion>
                                  </p:childTnLst>
                                </p:cTn>
                              </p:par>
                              <p:par>
                                <p:cTn id="38" presetID="10" presetClass="entr" presetSubtype="0" fill="hold" grpId="0" nodeType="withEffect">
                                  <p:stCondLst>
                                    <p:cond delay="2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42" presetClass="path" presetSubtype="0" decel="100000" fill="hold" grpId="1" nodeType="withEffect">
                                  <p:stCondLst>
                                    <p:cond delay="200"/>
                                  </p:stCondLst>
                                  <p:childTnLst>
                                    <p:animMotion origin="layout" path="M 4.58333E-6 7.40741E-7 L 4.58333E-6 0.03542 " pathEditMode="relative" rAng="0" ptsTypes="AA">
                                      <p:cBhvr>
                                        <p:cTn id="42" dur="700" spd="-100000" fill="hold"/>
                                        <p:tgtEl>
                                          <p:spTgt spid="35"/>
                                        </p:tgtEl>
                                        <p:attrNameLst>
                                          <p:attrName>ppt_x</p:attrName>
                                          <p:attrName>ppt_y</p:attrName>
                                        </p:attrNameLst>
                                      </p:cBhvr>
                                      <p:rCtr x="0" y="1782"/>
                                    </p:animMotion>
                                  </p:childTnLst>
                                </p:cTn>
                              </p:par>
                              <p:par>
                                <p:cTn id="43" presetID="10" presetClass="entr" presetSubtype="0" fill="hold" nodeType="withEffect">
                                  <p:stCondLst>
                                    <p:cond delay="30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nodeType="withEffect">
                                  <p:stCondLst>
                                    <p:cond delay="300"/>
                                  </p:stCondLst>
                                  <p:childTnLst>
                                    <p:animMotion origin="layout" path="M -4.16667E-6 7.40741E-7 L -4.16667E-6 0.03542 " pathEditMode="relative" rAng="0" ptsTypes="AA">
                                      <p:cBhvr>
                                        <p:cTn id="47" dur="700" spd="-100000" fill="hold"/>
                                        <p:tgtEl>
                                          <p:spTgt spid="37"/>
                                        </p:tgtEl>
                                        <p:attrNameLst>
                                          <p:attrName>ppt_x</p:attrName>
                                          <p:attrName>ppt_y</p:attrName>
                                        </p:attrNameLst>
                                      </p:cBhvr>
                                      <p:rCtr x="0" y="1782"/>
                                    </p:animMotion>
                                  </p:childTnLst>
                                </p:cTn>
                              </p:par>
                              <p:par>
                                <p:cTn id="48" presetID="10" presetClass="entr" presetSubtype="0" fill="hold" grpId="0" nodeType="withEffect">
                                  <p:stCondLst>
                                    <p:cond delay="30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par>
                                <p:cTn id="51" presetID="42" presetClass="path" presetSubtype="0" decel="100000" fill="hold" grpId="1" nodeType="withEffect">
                                  <p:stCondLst>
                                    <p:cond delay="300"/>
                                  </p:stCondLst>
                                  <p:childTnLst>
                                    <p:animMotion origin="layout" path="M -4.16667E-6 7.40741E-7 L -4.16667E-6 0.03542 " pathEditMode="relative" rAng="0" ptsTypes="AA">
                                      <p:cBhvr>
                                        <p:cTn id="52" dur="700" spd="-100000" fill="hold"/>
                                        <p:tgtEl>
                                          <p:spTgt spid="38"/>
                                        </p:tgtEl>
                                        <p:attrNameLst>
                                          <p:attrName>ppt_x</p:attrName>
                                          <p:attrName>ppt_y</p:attrName>
                                        </p:attrNameLst>
                                      </p:cBhvr>
                                      <p:rCtr x="0" y="1782"/>
                                    </p:animMotion>
                                  </p:childTnLst>
                                </p:cTn>
                              </p:par>
                              <p:par>
                                <p:cTn id="53" presetID="10" presetClass="entr" presetSubtype="0" fill="hold" grpId="0" nodeType="withEffect">
                                  <p:stCondLst>
                                    <p:cond delay="30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42" presetClass="path" presetSubtype="0" decel="100000" fill="hold" grpId="1" nodeType="withEffect">
                                  <p:stCondLst>
                                    <p:cond delay="300"/>
                                  </p:stCondLst>
                                  <p:childTnLst>
                                    <p:animMotion origin="layout" path="M -4.16667E-6 7.40741E-7 L -4.16667E-6 0.03542 " pathEditMode="relative" rAng="0" ptsTypes="AA">
                                      <p:cBhvr>
                                        <p:cTn id="57" dur="700" spd="-100000" fill="hold"/>
                                        <p:tgtEl>
                                          <p:spTgt spid="39"/>
                                        </p:tgtEl>
                                        <p:attrNameLst>
                                          <p:attrName>ppt_x</p:attrName>
                                          <p:attrName>ppt_y</p:attrName>
                                        </p:attrNameLst>
                                      </p:cBhvr>
                                      <p:rCtr x="0" y="1782"/>
                                    </p:animMotion>
                                  </p:childTnLst>
                                </p:cTn>
                              </p:par>
                              <p:par>
                                <p:cTn id="58" presetID="10" presetClass="entr" presetSubtype="0" fill="hold" nodeType="withEffect">
                                  <p:stCondLst>
                                    <p:cond delay="40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42" presetClass="path" presetSubtype="0" decel="100000" fill="hold" nodeType="withEffect">
                                  <p:stCondLst>
                                    <p:cond delay="400"/>
                                  </p:stCondLst>
                                  <p:childTnLst>
                                    <p:animMotion origin="layout" path="M -2.91667E-6 7.40741E-7 L -2.91667E-6 0.03542 " pathEditMode="relative" rAng="0" ptsTypes="AA">
                                      <p:cBhvr>
                                        <p:cTn id="62" dur="700" spd="-100000" fill="hold"/>
                                        <p:tgtEl>
                                          <p:spTgt spid="41"/>
                                        </p:tgtEl>
                                        <p:attrNameLst>
                                          <p:attrName>ppt_x</p:attrName>
                                          <p:attrName>ppt_y</p:attrName>
                                        </p:attrNameLst>
                                      </p:cBhvr>
                                      <p:rCtr x="0" y="1782"/>
                                    </p:animMotion>
                                  </p:childTnLst>
                                </p:cTn>
                              </p:par>
                              <p:par>
                                <p:cTn id="63" presetID="10" presetClass="entr" presetSubtype="0" fill="hold" grpId="0" nodeType="withEffect">
                                  <p:stCondLst>
                                    <p:cond delay="40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42" presetClass="path" presetSubtype="0" decel="100000" fill="hold" grpId="1" nodeType="withEffect">
                                  <p:stCondLst>
                                    <p:cond delay="400"/>
                                  </p:stCondLst>
                                  <p:childTnLst>
                                    <p:animMotion origin="layout" path="M -2.91667E-6 7.40741E-7 L -2.91667E-6 0.03542 " pathEditMode="relative" rAng="0" ptsTypes="AA">
                                      <p:cBhvr>
                                        <p:cTn id="67" dur="700" spd="-100000" fill="hold"/>
                                        <p:tgtEl>
                                          <p:spTgt spid="42"/>
                                        </p:tgtEl>
                                        <p:attrNameLst>
                                          <p:attrName>ppt_x</p:attrName>
                                          <p:attrName>ppt_y</p:attrName>
                                        </p:attrNameLst>
                                      </p:cBhvr>
                                      <p:rCtr x="0" y="1782"/>
                                    </p:animMotion>
                                  </p:childTnLst>
                                </p:cTn>
                              </p:par>
                              <p:par>
                                <p:cTn id="68" presetID="10" presetClass="entr" presetSubtype="0" fill="hold" grpId="0" nodeType="withEffect">
                                  <p:stCondLst>
                                    <p:cond delay="40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42" presetClass="path" presetSubtype="0" decel="100000" fill="hold" grpId="1" nodeType="withEffect">
                                  <p:stCondLst>
                                    <p:cond delay="400"/>
                                  </p:stCondLst>
                                  <p:childTnLst>
                                    <p:animMotion origin="layout" path="M -2.91667E-6 7.40741E-7 L -2.91667E-6 0.03542 " pathEditMode="relative" rAng="0" ptsTypes="AA">
                                      <p:cBhvr>
                                        <p:cTn id="72" dur="700" spd="-100000" fill="hold"/>
                                        <p:tgtEl>
                                          <p:spTgt spid="43"/>
                                        </p:tgtEl>
                                        <p:attrNameLst>
                                          <p:attrName>ppt_x</p:attrName>
                                          <p:attrName>ppt_y</p:attrName>
                                        </p:attrNameLst>
                                      </p:cBhvr>
                                      <p:rCtr x="0" y="1782"/>
                                    </p:animMotion>
                                  </p:childTnLst>
                                </p:cTn>
                              </p:par>
                              <p:par>
                                <p:cTn id="73" presetID="10" presetClass="entr" presetSubtype="0" fill="hold" grpId="0" nodeType="withEffect">
                                  <p:stCondLst>
                                    <p:cond delay="10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par>
                                <p:cTn id="76" presetID="42" presetClass="path" presetSubtype="0" decel="100000" fill="hold" grpId="1" nodeType="withEffect">
                                  <p:stCondLst>
                                    <p:cond delay="100"/>
                                  </p:stCondLst>
                                  <p:childTnLst>
                                    <p:animMotion origin="layout" path="M 2.70833E-6 4.07407E-6 L 2.70833E-6 0.03541 " pathEditMode="relative" rAng="0" ptsTypes="AA">
                                      <p:cBhvr>
                                        <p:cTn id="77"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4" grpId="1"/>
      <p:bldP spid="23" grpId="0" animBg="1"/>
      <p:bldP spid="25" grpId="0" animBg="1"/>
      <p:bldP spid="25" grpId="1" animBg="1"/>
      <p:bldP spid="30" grpId="0" animBg="1"/>
      <p:bldP spid="30" grpId="1" animBg="1"/>
      <p:bldP spid="31" grpId="0"/>
      <p:bldP spid="31" grpId="1"/>
      <p:bldP spid="34" grpId="0" animBg="1"/>
      <p:bldP spid="34" grpId="1" animBg="1"/>
      <p:bldP spid="35" grpId="0"/>
      <p:bldP spid="35" grpId="1"/>
      <p:bldP spid="38" grpId="0" animBg="1"/>
      <p:bldP spid="38" grpId="1" animBg="1"/>
      <p:bldP spid="39" grpId="0"/>
      <p:bldP spid="39" grpId="1"/>
      <p:bldP spid="42" grpId="0" animBg="1"/>
      <p:bldP spid="42" grpId="1" animBg="1"/>
      <p:bldP spid="43" grpId="0"/>
      <p:bldP spid="4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A8841-D3EB-BC8C-1F5C-FB2CFB9BA54A}"/>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EA67DDA0-57CA-87EF-B4AC-C2A65EF26BAF}"/>
              </a:ext>
            </a:extLst>
          </p:cNvPr>
          <p:cNvSpPr txBox="1">
            <a:spLocks noGrp="1"/>
          </p:cNvSpPr>
          <p:nvPr>
            <p:ph type="title" idx="4294967295"/>
          </p:nvPr>
        </p:nvSpPr>
        <p:spPr>
          <a:xfrm>
            <a:off x="588263" y="1686101"/>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822715" rtl="0" eaLnBrk="1" fontAlgn="base" latinLnBrk="0" hangingPunct="1">
              <a:lnSpc>
                <a:spcPct val="100000"/>
              </a:lnSpc>
              <a:spcBef>
                <a:spcPct val="0"/>
              </a:spcBef>
              <a:spcAft>
                <a:spcPct val="0"/>
              </a:spcAft>
              <a:buClrTx/>
              <a:buSzTx/>
              <a:buFontTx/>
              <a:buNone/>
              <a:tabLst>
                <a:tab pos="920878" algn="l"/>
              </a:tabLst>
              <a:defRPr/>
            </a:pPr>
            <a:r>
              <a:rPr kumimoji="0" lang="en-US" sz="6000" b="0" i="0" u="none" strike="noStrike" kern="0" cap="none" spc="-50" normalizeH="0" baseline="0" noProof="0">
                <a:ln w="3175">
                  <a:noFill/>
                </a:ln>
                <a:solidFill>
                  <a:schemeClr val="tx1"/>
                </a:solidFill>
                <a:effectLst/>
                <a:uLnTx/>
                <a:uFillTx/>
                <a:latin typeface="Segoe UI Variable Display Semib" pitchFamily="2" charset="0"/>
                <a:ea typeface="+mn-ea"/>
                <a:cs typeface="Segoe Sans Display Semibold" pitchFamily="2" charset="0"/>
              </a:rPr>
              <a:t>AI First Differentiation</a:t>
            </a:r>
          </a:p>
        </p:txBody>
      </p:sp>
      <p:sp>
        <p:nvSpPr>
          <p:cNvPr id="14" name="TextBox 13">
            <a:extLst>
              <a:ext uri="{FF2B5EF4-FFF2-40B4-BE49-F238E27FC236}">
                <a16:creationId xmlns:a16="http://schemas.microsoft.com/office/drawing/2014/main" id="{B1674D4D-48D9-7715-A8F6-41CF7DAFCF4A}"/>
              </a:ext>
              <a:ext uri="{C183D7F6-B498-43B3-948B-1728B52AA6E4}">
                <adec:decorative xmlns:adec="http://schemas.microsoft.com/office/drawing/2017/decorative" val="1"/>
              </a:ext>
            </a:extLst>
          </p:cNvPr>
          <p:cNvSpPr txBox="1">
            <a:spLocks/>
          </p:cNvSpPr>
          <p:nvPr/>
        </p:nvSpPr>
        <p:spPr>
          <a:xfrm>
            <a:off x="10314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Agents</a:t>
            </a:r>
          </a:p>
        </p:txBody>
      </p:sp>
      <p:sp>
        <p:nvSpPr>
          <p:cNvPr id="15" name="TextBox 14">
            <a:extLst>
              <a:ext uri="{FF2B5EF4-FFF2-40B4-BE49-F238E27FC236}">
                <a16:creationId xmlns:a16="http://schemas.microsoft.com/office/drawing/2014/main" id="{E1D980BB-5EBA-9F24-59D5-9C12CAA45EB2}"/>
              </a:ext>
              <a:ext uri="{C183D7F6-B498-43B3-948B-1728B52AA6E4}">
                <adec:decorative xmlns:adec="http://schemas.microsoft.com/office/drawing/2017/decorative" val="1"/>
              </a:ext>
            </a:extLst>
          </p:cNvPr>
          <p:cNvSpPr txBox="1">
            <a:spLocks/>
          </p:cNvSpPr>
          <p:nvPr/>
        </p:nvSpPr>
        <p:spPr>
          <a:xfrm>
            <a:off x="44452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Copilot</a:t>
            </a:r>
          </a:p>
        </p:txBody>
      </p:sp>
      <p:sp>
        <p:nvSpPr>
          <p:cNvPr id="16" name="TextBox 15">
            <a:extLst>
              <a:ext uri="{FF2B5EF4-FFF2-40B4-BE49-F238E27FC236}">
                <a16:creationId xmlns:a16="http://schemas.microsoft.com/office/drawing/2014/main" id="{66266A9A-232F-1A29-5B5F-EC6E7752699E}"/>
              </a:ext>
              <a:ext uri="{C183D7F6-B498-43B3-948B-1728B52AA6E4}">
                <adec:decorative xmlns:adec="http://schemas.microsoft.com/office/drawing/2017/decorative" val="1"/>
              </a:ext>
            </a:extLst>
          </p:cNvPr>
          <p:cNvSpPr txBox="1">
            <a:spLocks/>
          </p:cNvSpPr>
          <p:nvPr/>
        </p:nvSpPr>
        <p:spPr>
          <a:xfrm>
            <a:off x="78590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r>
              <a:rPr kumimoji="0" lang="en-US" sz="20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Human ambition</a:t>
            </a:r>
          </a:p>
        </p:txBody>
      </p:sp>
      <p:pic>
        <p:nvPicPr>
          <p:cNvPr id="17" name="Copilot logo">
            <a:extLst>
              <a:ext uri="{FF2B5EF4-FFF2-40B4-BE49-F238E27FC236}">
                <a16:creationId xmlns:a16="http://schemas.microsoft.com/office/drawing/2014/main" id="{89D39539-CFCA-81F0-3DB1-B4F77750D9F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33762" y="3508009"/>
            <a:ext cx="361148" cy="361148"/>
          </a:xfrm>
          <a:prstGeom prst="rect">
            <a:avLst/>
          </a:prstGeom>
          <a:effectLst/>
          <a:extLst>
            <a:ext uri="{909E8E84-426E-40DD-AFC4-6F175D3DCCD1}">
              <a14:hiddenFill xmlns:a14="http://schemas.microsoft.com/office/drawing/2010/main">
                <a:solidFill>
                  <a:srgbClr val="FFFFFF"/>
                </a:solidFill>
              </a14:hiddenFill>
            </a:ext>
          </a:extLst>
        </p:spPr>
      </p:pic>
      <p:sp>
        <p:nvSpPr>
          <p:cNvPr id="18" name="Graphic 16">
            <a:extLst>
              <a:ext uri="{FF2B5EF4-FFF2-40B4-BE49-F238E27FC236}">
                <a16:creationId xmlns:a16="http://schemas.microsoft.com/office/drawing/2014/main" id="{64D2F5C7-5719-AE2C-94E1-3A699C1B029C}"/>
              </a:ext>
              <a:ext uri="{C183D7F6-B498-43B3-948B-1728B52AA6E4}">
                <adec:decorative xmlns:adec="http://schemas.microsoft.com/office/drawing/2017/decorative" val="1"/>
              </a:ext>
            </a:extLst>
          </p:cNvPr>
          <p:cNvSpPr/>
          <p:nvPr/>
        </p:nvSpPr>
        <p:spPr>
          <a:xfrm>
            <a:off x="2550058" y="3523034"/>
            <a:ext cx="331052" cy="331098"/>
          </a:xfrm>
          <a:custGeom>
            <a:avLst/>
            <a:gdLst>
              <a:gd name="connsiteX0" fmla="*/ 210959 w 329429"/>
              <a:gd name="connsiteY0" fmla="*/ 96018 h 329474"/>
              <a:gd name="connsiteX1" fmla="*/ 207449 w 329429"/>
              <a:gd name="connsiteY1" fmla="*/ 92026 h 329474"/>
              <a:gd name="connsiteX2" fmla="*/ 190785 w 329429"/>
              <a:gd name="connsiteY2" fmla="*/ 81711 h 329474"/>
              <a:gd name="connsiteX3" fmla="*/ 170154 w 329429"/>
              <a:gd name="connsiteY3" fmla="*/ 75011 h 329474"/>
              <a:gd name="connsiteX4" fmla="*/ 166212 w 329429"/>
              <a:gd name="connsiteY4" fmla="*/ 72036 h 329474"/>
              <a:gd name="connsiteX5" fmla="*/ 164715 w 329429"/>
              <a:gd name="connsiteY5" fmla="*/ 67332 h 329474"/>
              <a:gd name="connsiteX6" fmla="*/ 166212 w 329429"/>
              <a:gd name="connsiteY6" fmla="*/ 62628 h 329474"/>
              <a:gd name="connsiteX7" fmla="*/ 170154 w 329429"/>
              <a:gd name="connsiteY7" fmla="*/ 59653 h 329474"/>
              <a:gd name="connsiteX8" fmla="*/ 190785 w 329429"/>
              <a:gd name="connsiteY8" fmla="*/ 52953 h 329474"/>
              <a:gd name="connsiteX9" fmla="*/ 207196 w 329429"/>
              <a:gd name="connsiteY9" fmla="*/ 42607 h 329474"/>
              <a:gd name="connsiteX10" fmla="*/ 217124 w 329429"/>
              <a:gd name="connsiteY10" fmla="*/ 26560 h 329474"/>
              <a:gd name="connsiteX11" fmla="*/ 217295 w 329429"/>
              <a:gd name="connsiteY11" fmla="*/ 26049 h 329474"/>
              <a:gd name="connsiteX12" fmla="*/ 224000 w 329429"/>
              <a:gd name="connsiteY12" fmla="*/ 5434 h 329474"/>
              <a:gd name="connsiteX13" fmla="*/ 226979 w 329429"/>
              <a:gd name="connsiteY13" fmla="*/ 1496 h 329474"/>
              <a:gd name="connsiteX14" fmla="*/ 231685 w 329429"/>
              <a:gd name="connsiteY14" fmla="*/ 0 h 329474"/>
              <a:gd name="connsiteX15" fmla="*/ 236393 w 329429"/>
              <a:gd name="connsiteY15" fmla="*/ 1496 h 329474"/>
              <a:gd name="connsiteX16" fmla="*/ 239371 w 329429"/>
              <a:gd name="connsiteY16" fmla="*/ 5434 h 329474"/>
              <a:gd name="connsiteX17" fmla="*/ 246077 w 329429"/>
              <a:gd name="connsiteY17" fmla="*/ 26049 h 329474"/>
              <a:gd name="connsiteX18" fmla="*/ 256353 w 329429"/>
              <a:gd name="connsiteY18" fmla="*/ 42682 h 329474"/>
              <a:gd name="connsiteX19" fmla="*/ 273000 w 329429"/>
              <a:gd name="connsiteY19" fmla="*/ 52953 h 329474"/>
              <a:gd name="connsiteX20" fmla="*/ 293631 w 329429"/>
              <a:gd name="connsiteY20" fmla="*/ 59653 h 329474"/>
              <a:gd name="connsiteX21" fmla="*/ 294043 w 329429"/>
              <a:gd name="connsiteY21" fmla="*/ 59756 h 329474"/>
              <a:gd name="connsiteX22" fmla="*/ 297984 w 329429"/>
              <a:gd name="connsiteY22" fmla="*/ 62731 h 329474"/>
              <a:gd name="connsiteX23" fmla="*/ 299482 w 329429"/>
              <a:gd name="connsiteY23" fmla="*/ 67435 h 329474"/>
              <a:gd name="connsiteX24" fmla="*/ 297984 w 329429"/>
              <a:gd name="connsiteY24" fmla="*/ 72139 h 329474"/>
              <a:gd name="connsiteX25" fmla="*/ 294043 w 329429"/>
              <a:gd name="connsiteY25" fmla="*/ 75114 h 329474"/>
              <a:gd name="connsiteX26" fmla="*/ 273412 w 329429"/>
              <a:gd name="connsiteY26" fmla="*/ 81814 h 329474"/>
              <a:gd name="connsiteX27" fmla="*/ 256767 w 329429"/>
              <a:gd name="connsiteY27" fmla="*/ 92084 h 329474"/>
              <a:gd name="connsiteX28" fmla="*/ 246488 w 329429"/>
              <a:gd name="connsiteY28" fmla="*/ 108717 h 329474"/>
              <a:gd name="connsiteX29" fmla="*/ 239783 w 329429"/>
              <a:gd name="connsiteY29" fmla="*/ 129333 h 329474"/>
              <a:gd name="connsiteX30" fmla="*/ 239585 w 329429"/>
              <a:gd name="connsiteY30" fmla="*/ 129839 h 329474"/>
              <a:gd name="connsiteX31" fmla="*/ 236806 w 329429"/>
              <a:gd name="connsiteY31" fmla="*/ 133271 h 329474"/>
              <a:gd name="connsiteX32" fmla="*/ 232098 w 329429"/>
              <a:gd name="connsiteY32" fmla="*/ 134767 h 329474"/>
              <a:gd name="connsiteX33" fmla="*/ 227390 w 329429"/>
              <a:gd name="connsiteY33" fmla="*/ 133271 h 329474"/>
              <a:gd name="connsiteX34" fmla="*/ 224414 w 329429"/>
              <a:gd name="connsiteY34" fmla="*/ 129333 h 329474"/>
              <a:gd name="connsiteX35" fmla="*/ 217708 w 329429"/>
              <a:gd name="connsiteY35" fmla="*/ 108717 h 329474"/>
              <a:gd name="connsiteX36" fmla="*/ 210959 w 329429"/>
              <a:gd name="connsiteY36" fmla="*/ 96018 h 329474"/>
              <a:gd name="connsiteX37" fmla="*/ 326179 w 329429"/>
              <a:gd name="connsiteY37" fmla="*/ 152933 h 329474"/>
              <a:gd name="connsiteX38" fmla="*/ 314718 w 329429"/>
              <a:gd name="connsiteY38" fmla="*/ 149211 h 329474"/>
              <a:gd name="connsiteX39" fmla="*/ 305470 w 329429"/>
              <a:gd name="connsiteY39" fmla="*/ 143505 h 329474"/>
              <a:gd name="connsiteX40" fmla="*/ 299760 w 329429"/>
              <a:gd name="connsiteY40" fmla="*/ 134265 h 329474"/>
              <a:gd name="connsiteX41" fmla="*/ 296035 w 329429"/>
              <a:gd name="connsiteY41" fmla="*/ 122812 h 329474"/>
              <a:gd name="connsiteX42" fmla="*/ 294380 w 329429"/>
              <a:gd name="connsiteY42" fmla="*/ 120624 h 329474"/>
              <a:gd name="connsiteX43" fmla="*/ 291766 w 329429"/>
              <a:gd name="connsiteY43" fmla="*/ 119793 h 329474"/>
              <a:gd name="connsiteX44" fmla="*/ 289150 w 329429"/>
              <a:gd name="connsiteY44" fmla="*/ 120624 h 329474"/>
              <a:gd name="connsiteX45" fmla="*/ 287496 w 329429"/>
              <a:gd name="connsiteY45" fmla="*/ 122812 h 329474"/>
              <a:gd name="connsiteX46" fmla="*/ 283771 w 329429"/>
              <a:gd name="connsiteY46" fmla="*/ 134265 h 329474"/>
              <a:gd name="connsiteX47" fmla="*/ 278160 w 329429"/>
              <a:gd name="connsiteY47" fmla="*/ 143463 h 329474"/>
              <a:gd name="connsiteX48" fmla="*/ 269042 w 329429"/>
              <a:gd name="connsiteY48" fmla="*/ 149211 h 329474"/>
              <a:gd name="connsiteX49" fmla="*/ 257581 w 329429"/>
              <a:gd name="connsiteY49" fmla="*/ 152933 h 329474"/>
              <a:gd name="connsiteX50" fmla="*/ 255390 w 329429"/>
              <a:gd name="connsiteY50" fmla="*/ 154586 h 329474"/>
              <a:gd name="connsiteX51" fmla="*/ 254559 w 329429"/>
              <a:gd name="connsiteY51" fmla="*/ 157199 h 329474"/>
              <a:gd name="connsiteX52" fmla="*/ 255390 w 329429"/>
              <a:gd name="connsiteY52" fmla="*/ 159812 h 329474"/>
              <a:gd name="connsiteX53" fmla="*/ 257581 w 329429"/>
              <a:gd name="connsiteY53" fmla="*/ 161466 h 329474"/>
              <a:gd name="connsiteX54" fmla="*/ 269042 w 329429"/>
              <a:gd name="connsiteY54" fmla="*/ 165188 h 329474"/>
              <a:gd name="connsiteX55" fmla="*/ 278301 w 329429"/>
              <a:gd name="connsiteY55" fmla="*/ 170919 h 329474"/>
              <a:gd name="connsiteX56" fmla="*/ 284000 w 329429"/>
              <a:gd name="connsiteY56" fmla="*/ 180191 h 329474"/>
              <a:gd name="connsiteX57" fmla="*/ 287726 w 329429"/>
              <a:gd name="connsiteY57" fmla="*/ 191644 h 329474"/>
              <a:gd name="connsiteX58" fmla="*/ 289380 w 329429"/>
              <a:gd name="connsiteY58" fmla="*/ 193832 h 329474"/>
              <a:gd name="connsiteX59" fmla="*/ 291995 w 329429"/>
              <a:gd name="connsiteY59" fmla="*/ 194663 h 329474"/>
              <a:gd name="connsiteX60" fmla="*/ 294609 w 329429"/>
              <a:gd name="connsiteY60" fmla="*/ 193832 h 329474"/>
              <a:gd name="connsiteX61" fmla="*/ 296264 w 329429"/>
              <a:gd name="connsiteY61" fmla="*/ 191644 h 329474"/>
              <a:gd name="connsiteX62" fmla="*/ 299989 w 329429"/>
              <a:gd name="connsiteY62" fmla="*/ 180191 h 329474"/>
              <a:gd name="connsiteX63" fmla="*/ 305699 w 329429"/>
              <a:gd name="connsiteY63" fmla="*/ 170950 h 329474"/>
              <a:gd name="connsiteX64" fmla="*/ 314947 w 329429"/>
              <a:gd name="connsiteY64" fmla="*/ 165245 h 329474"/>
              <a:gd name="connsiteX65" fmla="*/ 326408 w 329429"/>
              <a:gd name="connsiteY65" fmla="*/ 161522 h 329474"/>
              <a:gd name="connsiteX66" fmla="*/ 328599 w 329429"/>
              <a:gd name="connsiteY66" fmla="*/ 159869 h 329474"/>
              <a:gd name="connsiteX67" fmla="*/ 329430 w 329429"/>
              <a:gd name="connsiteY67" fmla="*/ 157256 h 329474"/>
              <a:gd name="connsiteX68" fmla="*/ 328599 w 329429"/>
              <a:gd name="connsiteY68" fmla="*/ 154643 h 329474"/>
              <a:gd name="connsiteX69" fmla="*/ 326408 w 329429"/>
              <a:gd name="connsiteY69" fmla="*/ 152990 h 329474"/>
              <a:gd name="connsiteX70" fmla="*/ 326179 w 329429"/>
              <a:gd name="connsiteY70" fmla="*/ 152933 h 329474"/>
              <a:gd name="connsiteX71" fmla="*/ 149741 w 329429"/>
              <a:gd name="connsiteY71" fmla="*/ 29948 h 329474"/>
              <a:gd name="connsiteX72" fmla="*/ 191053 w 329429"/>
              <a:gd name="connsiteY72" fmla="*/ 35719 h 329474"/>
              <a:gd name="connsiteX73" fmla="*/ 185529 w 329429"/>
              <a:gd name="connsiteY73" fmla="*/ 38319 h 329474"/>
              <a:gd name="connsiteX74" fmla="*/ 165464 w 329429"/>
              <a:gd name="connsiteY74" fmla="*/ 44908 h 329474"/>
              <a:gd name="connsiteX75" fmla="*/ 153934 w 329429"/>
              <a:gd name="connsiteY75" fmla="*/ 53443 h 329474"/>
              <a:gd name="connsiteX76" fmla="*/ 149741 w 329429"/>
              <a:gd name="connsiteY76" fmla="*/ 66920 h 329474"/>
              <a:gd name="connsiteX77" fmla="*/ 153934 w 329429"/>
              <a:gd name="connsiteY77" fmla="*/ 80247 h 329474"/>
              <a:gd name="connsiteX78" fmla="*/ 164715 w 329429"/>
              <a:gd name="connsiteY78" fmla="*/ 89830 h 329474"/>
              <a:gd name="connsiteX79" fmla="*/ 185679 w 329429"/>
              <a:gd name="connsiteY79" fmla="*/ 96718 h 329474"/>
              <a:gd name="connsiteX80" fmla="*/ 196460 w 329429"/>
              <a:gd name="connsiteY80" fmla="*/ 103307 h 329474"/>
              <a:gd name="connsiteX81" fmla="*/ 199155 w 329429"/>
              <a:gd name="connsiteY81" fmla="*/ 104804 h 329474"/>
              <a:gd name="connsiteX82" fmla="*/ 203498 w 329429"/>
              <a:gd name="connsiteY82" fmla="*/ 113040 h 329474"/>
              <a:gd name="connsiteX83" fmla="*/ 209637 w 329429"/>
              <a:gd name="connsiteY83" fmla="*/ 134752 h 329474"/>
              <a:gd name="connsiteX84" fmla="*/ 218172 w 329429"/>
              <a:gd name="connsiteY84" fmla="*/ 146282 h 329474"/>
              <a:gd name="connsiteX85" fmla="*/ 231499 w 329429"/>
              <a:gd name="connsiteY85" fmla="*/ 150475 h 329474"/>
              <a:gd name="connsiteX86" fmla="*/ 241682 w 329429"/>
              <a:gd name="connsiteY86" fmla="*/ 148079 h 329474"/>
              <a:gd name="connsiteX87" fmla="*/ 238986 w 329429"/>
              <a:gd name="connsiteY87" fmla="*/ 157962 h 329474"/>
              <a:gd name="connsiteX88" fmla="*/ 242580 w 329429"/>
              <a:gd name="connsiteY88" fmla="*/ 169192 h 329474"/>
              <a:gd name="connsiteX89" fmla="*/ 252014 w 329429"/>
              <a:gd name="connsiteY89" fmla="*/ 176380 h 329474"/>
              <a:gd name="connsiteX90" fmla="*/ 263843 w 329429"/>
              <a:gd name="connsiteY90" fmla="*/ 180123 h 329474"/>
              <a:gd name="connsiteX91" fmla="*/ 267138 w 329429"/>
              <a:gd name="connsiteY91" fmla="*/ 182220 h 329474"/>
              <a:gd name="connsiteX92" fmla="*/ 269234 w 329429"/>
              <a:gd name="connsiteY92" fmla="*/ 185664 h 329474"/>
              <a:gd name="connsiteX93" fmla="*/ 272828 w 329429"/>
              <a:gd name="connsiteY93" fmla="*/ 197044 h 329474"/>
              <a:gd name="connsiteX94" fmla="*/ 280165 w 329429"/>
              <a:gd name="connsiteY94" fmla="*/ 206777 h 329474"/>
              <a:gd name="connsiteX95" fmla="*/ 291396 w 329429"/>
              <a:gd name="connsiteY95" fmla="*/ 210378 h 329474"/>
              <a:gd name="connsiteX96" fmla="*/ 296473 w 329429"/>
              <a:gd name="connsiteY96" fmla="*/ 209699 h 329474"/>
              <a:gd name="connsiteX97" fmla="*/ 149741 w 329429"/>
              <a:gd name="connsiteY97" fmla="*/ 329430 h 329474"/>
              <a:gd name="connsiteX98" fmla="*/ 80198 w 329429"/>
              <a:gd name="connsiteY98" fmla="*/ 312334 h 329474"/>
              <a:gd name="connsiteX99" fmla="*/ 15953 w 329429"/>
              <a:gd name="connsiteY99" fmla="*/ 329060 h 329474"/>
              <a:gd name="connsiteX100" fmla="*/ 428 w 329429"/>
              <a:gd name="connsiteY100" fmla="*/ 319951 h 329474"/>
              <a:gd name="connsiteX101" fmla="*/ 428 w 329429"/>
              <a:gd name="connsiteY101" fmla="*/ 313536 h 329474"/>
              <a:gd name="connsiteX102" fmla="*/ 17144 w 329429"/>
              <a:gd name="connsiteY102" fmla="*/ 249321 h 329474"/>
              <a:gd name="connsiteX103" fmla="*/ 0 w 329429"/>
              <a:gd name="connsiteY103" fmla="*/ 179689 h 329474"/>
              <a:gd name="connsiteX104" fmla="*/ 149741 w 329429"/>
              <a:gd name="connsiteY104" fmla="*/ 29948 h 32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9429" h="329474">
                <a:moveTo>
                  <a:pt x="210959" y="96018"/>
                </a:moveTo>
                <a:cubicBezTo>
                  <a:pt x="209877" y="94619"/>
                  <a:pt x="208704" y="93286"/>
                  <a:pt x="207449" y="92026"/>
                </a:cubicBezTo>
                <a:cubicBezTo>
                  <a:pt x="202775" y="87337"/>
                  <a:pt x="197068" y="83805"/>
                  <a:pt x="190785" y="81711"/>
                </a:cubicBezTo>
                <a:lnTo>
                  <a:pt x="170154" y="75011"/>
                </a:lnTo>
                <a:cubicBezTo>
                  <a:pt x="168563" y="74451"/>
                  <a:pt x="167186" y="73411"/>
                  <a:pt x="166212" y="72036"/>
                </a:cubicBezTo>
                <a:cubicBezTo>
                  <a:pt x="165238" y="70660"/>
                  <a:pt x="164715" y="69017"/>
                  <a:pt x="164715" y="67332"/>
                </a:cubicBezTo>
                <a:cubicBezTo>
                  <a:pt x="164715" y="65647"/>
                  <a:pt x="165238" y="64004"/>
                  <a:pt x="166212" y="62628"/>
                </a:cubicBezTo>
                <a:cubicBezTo>
                  <a:pt x="167186" y="61253"/>
                  <a:pt x="168563" y="60213"/>
                  <a:pt x="170154" y="59653"/>
                </a:cubicBezTo>
                <a:lnTo>
                  <a:pt x="190785" y="52953"/>
                </a:lnTo>
                <a:cubicBezTo>
                  <a:pt x="196980" y="50815"/>
                  <a:pt x="202598" y="47274"/>
                  <a:pt x="207196" y="42607"/>
                </a:cubicBezTo>
                <a:cubicBezTo>
                  <a:pt x="211669" y="38068"/>
                  <a:pt x="215062" y="32583"/>
                  <a:pt x="217124" y="26560"/>
                </a:cubicBezTo>
                <a:lnTo>
                  <a:pt x="217295" y="26049"/>
                </a:lnTo>
                <a:lnTo>
                  <a:pt x="224000" y="5434"/>
                </a:lnTo>
                <a:cubicBezTo>
                  <a:pt x="224562" y="3845"/>
                  <a:pt x="225603" y="2469"/>
                  <a:pt x="226979" y="1496"/>
                </a:cubicBezTo>
                <a:cubicBezTo>
                  <a:pt x="228355" y="523"/>
                  <a:pt x="229999" y="0"/>
                  <a:pt x="231685" y="0"/>
                </a:cubicBezTo>
                <a:cubicBezTo>
                  <a:pt x="233373" y="0"/>
                  <a:pt x="235017" y="523"/>
                  <a:pt x="236393" y="1496"/>
                </a:cubicBezTo>
                <a:cubicBezTo>
                  <a:pt x="237769" y="2469"/>
                  <a:pt x="238810" y="3845"/>
                  <a:pt x="239371" y="5434"/>
                </a:cubicBezTo>
                <a:lnTo>
                  <a:pt x="246077" y="26049"/>
                </a:lnTo>
                <a:cubicBezTo>
                  <a:pt x="248161" y="32317"/>
                  <a:pt x="251680" y="38012"/>
                  <a:pt x="256353" y="42682"/>
                </a:cubicBezTo>
                <a:cubicBezTo>
                  <a:pt x="261028" y="47353"/>
                  <a:pt x="266727" y="50869"/>
                  <a:pt x="273000" y="52953"/>
                </a:cubicBezTo>
                <a:lnTo>
                  <a:pt x="293631" y="59653"/>
                </a:lnTo>
                <a:lnTo>
                  <a:pt x="294043" y="59756"/>
                </a:lnTo>
                <a:cubicBezTo>
                  <a:pt x="295633" y="60316"/>
                  <a:pt x="297011" y="61356"/>
                  <a:pt x="297984" y="62731"/>
                </a:cubicBezTo>
                <a:cubicBezTo>
                  <a:pt x="298959" y="64107"/>
                  <a:pt x="299482" y="65750"/>
                  <a:pt x="299482" y="67435"/>
                </a:cubicBezTo>
                <a:cubicBezTo>
                  <a:pt x="299482" y="69120"/>
                  <a:pt x="298959" y="70763"/>
                  <a:pt x="297984" y="72139"/>
                </a:cubicBezTo>
                <a:cubicBezTo>
                  <a:pt x="297011" y="73514"/>
                  <a:pt x="295633" y="74554"/>
                  <a:pt x="294043" y="75114"/>
                </a:cubicBezTo>
                <a:lnTo>
                  <a:pt x="273412" y="81814"/>
                </a:lnTo>
                <a:cubicBezTo>
                  <a:pt x="267141" y="83898"/>
                  <a:pt x="261440" y="87414"/>
                  <a:pt x="256767" y="92084"/>
                </a:cubicBezTo>
                <a:cubicBezTo>
                  <a:pt x="252093" y="96755"/>
                  <a:pt x="248574" y="102450"/>
                  <a:pt x="246488" y="108717"/>
                </a:cubicBezTo>
                <a:lnTo>
                  <a:pt x="239783" y="129333"/>
                </a:lnTo>
                <a:cubicBezTo>
                  <a:pt x="239723" y="129504"/>
                  <a:pt x="239657" y="129673"/>
                  <a:pt x="239585" y="129839"/>
                </a:cubicBezTo>
                <a:cubicBezTo>
                  <a:pt x="238994" y="131214"/>
                  <a:pt x="238034" y="132403"/>
                  <a:pt x="236806" y="133271"/>
                </a:cubicBezTo>
                <a:cubicBezTo>
                  <a:pt x="235429" y="134244"/>
                  <a:pt x="233784" y="134767"/>
                  <a:pt x="232098" y="134767"/>
                </a:cubicBezTo>
                <a:cubicBezTo>
                  <a:pt x="230412" y="134767"/>
                  <a:pt x="228768" y="134244"/>
                  <a:pt x="227390" y="133271"/>
                </a:cubicBezTo>
                <a:cubicBezTo>
                  <a:pt x="226014" y="132298"/>
                  <a:pt x="224974" y="130922"/>
                  <a:pt x="224414" y="129333"/>
                </a:cubicBezTo>
                <a:lnTo>
                  <a:pt x="217708" y="108717"/>
                </a:lnTo>
                <a:cubicBezTo>
                  <a:pt x="216193" y="104119"/>
                  <a:pt x="213906" y="99827"/>
                  <a:pt x="210959" y="96018"/>
                </a:cubicBezTo>
                <a:close/>
                <a:moveTo>
                  <a:pt x="326179" y="152933"/>
                </a:moveTo>
                <a:lnTo>
                  <a:pt x="314718" y="149211"/>
                </a:lnTo>
                <a:cubicBezTo>
                  <a:pt x="311233" y="148053"/>
                  <a:pt x="308066" y="146100"/>
                  <a:pt x="305470" y="143505"/>
                </a:cubicBezTo>
                <a:cubicBezTo>
                  <a:pt x="302873" y="140910"/>
                  <a:pt x="300918" y="137747"/>
                  <a:pt x="299760" y="134265"/>
                </a:cubicBezTo>
                <a:lnTo>
                  <a:pt x="296035" y="122812"/>
                </a:lnTo>
                <a:cubicBezTo>
                  <a:pt x="295723" y="121929"/>
                  <a:pt x="295145" y="121164"/>
                  <a:pt x="294380" y="120624"/>
                </a:cubicBezTo>
                <a:cubicBezTo>
                  <a:pt x="293616" y="120083"/>
                  <a:pt x="292703" y="119793"/>
                  <a:pt x="291766" y="119793"/>
                </a:cubicBezTo>
                <a:cubicBezTo>
                  <a:pt x="290828" y="119793"/>
                  <a:pt x="289915" y="120083"/>
                  <a:pt x="289150" y="120624"/>
                </a:cubicBezTo>
                <a:cubicBezTo>
                  <a:pt x="288386" y="121164"/>
                  <a:pt x="287808" y="121929"/>
                  <a:pt x="287496" y="122812"/>
                </a:cubicBezTo>
                <a:lnTo>
                  <a:pt x="283771" y="134265"/>
                </a:lnTo>
                <a:cubicBezTo>
                  <a:pt x="282636" y="137722"/>
                  <a:pt x="280715" y="140870"/>
                  <a:pt x="278160" y="143463"/>
                </a:cubicBezTo>
                <a:cubicBezTo>
                  <a:pt x="275606" y="146056"/>
                  <a:pt x="272485" y="148023"/>
                  <a:pt x="269042" y="149211"/>
                </a:cubicBezTo>
                <a:lnTo>
                  <a:pt x="257581" y="152933"/>
                </a:lnTo>
                <a:cubicBezTo>
                  <a:pt x="256698" y="153245"/>
                  <a:pt x="255933" y="153821"/>
                  <a:pt x="255390" y="154586"/>
                </a:cubicBezTo>
                <a:cubicBezTo>
                  <a:pt x="254850" y="155350"/>
                  <a:pt x="254559" y="156264"/>
                  <a:pt x="254559" y="157199"/>
                </a:cubicBezTo>
                <a:cubicBezTo>
                  <a:pt x="254559" y="158135"/>
                  <a:pt x="254850" y="159049"/>
                  <a:pt x="255390" y="159812"/>
                </a:cubicBezTo>
                <a:cubicBezTo>
                  <a:pt x="255933" y="160576"/>
                  <a:pt x="256698" y="161154"/>
                  <a:pt x="257581" y="161466"/>
                </a:cubicBezTo>
                <a:lnTo>
                  <a:pt x="269042" y="165188"/>
                </a:lnTo>
                <a:cubicBezTo>
                  <a:pt x="272533" y="166352"/>
                  <a:pt x="275703" y="168313"/>
                  <a:pt x="278301" y="170919"/>
                </a:cubicBezTo>
                <a:cubicBezTo>
                  <a:pt x="280897" y="173523"/>
                  <a:pt x="282850" y="176699"/>
                  <a:pt x="284000" y="180191"/>
                </a:cubicBezTo>
                <a:lnTo>
                  <a:pt x="287726" y="191644"/>
                </a:lnTo>
                <a:cubicBezTo>
                  <a:pt x="288037" y="192526"/>
                  <a:pt x="288615" y="193291"/>
                  <a:pt x="289380" y="193832"/>
                </a:cubicBezTo>
                <a:cubicBezTo>
                  <a:pt x="290144" y="194373"/>
                  <a:pt x="291057" y="194663"/>
                  <a:pt x="291995" y="194663"/>
                </a:cubicBezTo>
                <a:cubicBezTo>
                  <a:pt x="292932" y="194663"/>
                  <a:pt x="293845" y="194373"/>
                  <a:pt x="294609" y="193832"/>
                </a:cubicBezTo>
                <a:cubicBezTo>
                  <a:pt x="295374" y="193291"/>
                  <a:pt x="295952" y="192526"/>
                  <a:pt x="296264" y="191644"/>
                </a:cubicBezTo>
                <a:lnTo>
                  <a:pt x="299989" y="180191"/>
                </a:lnTo>
                <a:cubicBezTo>
                  <a:pt x="301148" y="176709"/>
                  <a:pt x="303102" y="173545"/>
                  <a:pt x="305699" y="170950"/>
                </a:cubicBezTo>
                <a:cubicBezTo>
                  <a:pt x="308295" y="168357"/>
                  <a:pt x="311462" y="166403"/>
                  <a:pt x="314947" y="165245"/>
                </a:cubicBezTo>
                <a:lnTo>
                  <a:pt x="326408" y="161522"/>
                </a:lnTo>
                <a:cubicBezTo>
                  <a:pt x="327292" y="161211"/>
                  <a:pt x="328057" y="160634"/>
                  <a:pt x="328599" y="159869"/>
                </a:cubicBezTo>
                <a:cubicBezTo>
                  <a:pt x="329139" y="159106"/>
                  <a:pt x="329430" y="158192"/>
                  <a:pt x="329430" y="157256"/>
                </a:cubicBezTo>
                <a:cubicBezTo>
                  <a:pt x="329430" y="156320"/>
                  <a:pt x="329139" y="155407"/>
                  <a:pt x="328599" y="154643"/>
                </a:cubicBezTo>
                <a:cubicBezTo>
                  <a:pt x="328057" y="153880"/>
                  <a:pt x="327292" y="153302"/>
                  <a:pt x="326408" y="152990"/>
                </a:cubicBezTo>
                <a:lnTo>
                  <a:pt x="326179" y="152933"/>
                </a:lnTo>
                <a:close/>
                <a:moveTo>
                  <a:pt x="149741" y="29948"/>
                </a:moveTo>
                <a:cubicBezTo>
                  <a:pt x="164071" y="29948"/>
                  <a:pt x="177931" y="31961"/>
                  <a:pt x="191053" y="35719"/>
                </a:cubicBezTo>
                <a:cubicBezTo>
                  <a:pt x="189325" y="36793"/>
                  <a:pt x="187471" y="37667"/>
                  <a:pt x="185529" y="38319"/>
                </a:cubicBezTo>
                <a:lnTo>
                  <a:pt x="165464" y="44908"/>
                </a:lnTo>
                <a:cubicBezTo>
                  <a:pt x="160861" y="46550"/>
                  <a:pt x="156848" y="49520"/>
                  <a:pt x="153934" y="53443"/>
                </a:cubicBezTo>
                <a:cubicBezTo>
                  <a:pt x="151214" y="57412"/>
                  <a:pt x="149753" y="62108"/>
                  <a:pt x="149741" y="66920"/>
                </a:cubicBezTo>
                <a:cubicBezTo>
                  <a:pt x="149756" y="71684"/>
                  <a:pt x="151217" y="76332"/>
                  <a:pt x="153934" y="80247"/>
                </a:cubicBezTo>
                <a:cubicBezTo>
                  <a:pt x="156410" y="84512"/>
                  <a:pt x="160188" y="87871"/>
                  <a:pt x="164715" y="89830"/>
                </a:cubicBezTo>
                <a:lnTo>
                  <a:pt x="185679" y="96718"/>
                </a:lnTo>
                <a:cubicBezTo>
                  <a:pt x="189717" y="98088"/>
                  <a:pt x="193399" y="100338"/>
                  <a:pt x="196460" y="103307"/>
                </a:cubicBezTo>
                <a:lnTo>
                  <a:pt x="199155" y="104804"/>
                </a:lnTo>
                <a:cubicBezTo>
                  <a:pt x="201039" y="107297"/>
                  <a:pt x="202505" y="110078"/>
                  <a:pt x="203498" y="113040"/>
                </a:cubicBezTo>
                <a:lnTo>
                  <a:pt x="209637" y="134752"/>
                </a:lnTo>
                <a:cubicBezTo>
                  <a:pt x="211220" y="139386"/>
                  <a:pt x="214203" y="143415"/>
                  <a:pt x="218172" y="146282"/>
                </a:cubicBezTo>
                <a:cubicBezTo>
                  <a:pt x="222087" y="148998"/>
                  <a:pt x="226735" y="150460"/>
                  <a:pt x="231499" y="150475"/>
                </a:cubicBezTo>
                <a:cubicBezTo>
                  <a:pt x="235038" y="150518"/>
                  <a:pt x="238534" y="149696"/>
                  <a:pt x="241682" y="148079"/>
                </a:cubicBezTo>
                <a:cubicBezTo>
                  <a:pt x="239903" y="151068"/>
                  <a:pt x="238971" y="154485"/>
                  <a:pt x="238986" y="157962"/>
                </a:cubicBezTo>
                <a:cubicBezTo>
                  <a:pt x="238953" y="161994"/>
                  <a:pt x="240213" y="165929"/>
                  <a:pt x="242580" y="169192"/>
                </a:cubicBezTo>
                <a:cubicBezTo>
                  <a:pt x="244907" y="172504"/>
                  <a:pt x="248203" y="175016"/>
                  <a:pt x="252014" y="176380"/>
                </a:cubicBezTo>
                <a:lnTo>
                  <a:pt x="263843" y="180123"/>
                </a:lnTo>
                <a:cubicBezTo>
                  <a:pt x="265056" y="180622"/>
                  <a:pt x="266172" y="181332"/>
                  <a:pt x="267138" y="182220"/>
                </a:cubicBezTo>
                <a:cubicBezTo>
                  <a:pt x="268093" y="183191"/>
                  <a:pt x="268810" y="184370"/>
                  <a:pt x="269234" y="185664"/>
                </a:cubicBezTo>
                <a:lnTo>
                  <a:pt x="272828" y="197044"/>
                </a:lnTo>
                <a:cubicBezTo>
                  <a:pt x="274214" y="200967"/>
                  <a:pt x="276776" y="204365"/>
                  <a:pt x="280165" y="206777"/>
                </a:cubicBezTo>
                <a:cubicBezTo>
                  <a:pt x="283441" y="209119"/>
                  <a:pt x="287368" y="210378"/>
                  <a:pt x="291396" y="210378"/>
                </a:cubicBezTo>
                <a:cubicBezTo>
                  <a:pt x="293121" y="210378"/>
                  <a:pt x="294828" y="210146"/>
                  <a:pt x="296473" y="209699"/>
                </a:cubicBezTo>
                <a:cubicBezTo>
                  <a:pt x="282576" y="278016"/>
                  <a:pt x="222163" y="329430"/>
                  <a:pt x="149741" y="329430"/>
                </a:cubicBezTo>
                <a:cubicBezTo>
                  <a:pt x="125177" y="329430"/>
                  <a:pt x="101452" y="323499"/>
                  <a:pt x="80198" y="312334"/>
                </a:cubicBezTo>
                <a:lnTo>
                  <a:pt x="15953" y="329060"/>
                </a:lnTo>
                <a:cubicBezTo>
                  <a:pt x="9151" y="330833"/>
                  <a:pt x="2200" y="326754"/>
                  <a:pt x="428" y="319951"/>
                </a:cubicBezTo>
                <a:cubicBezTo>
                  <a:pt x="-120" y="317849"/>
                  <a:pt x="-120" y="315640"/>
                  <a:pt x="428" y="313536"/>
                </a:cubicBezTo>
                <a:lnTo>
                  <a:pt x="17144" y="249321"/>
                </a:lnTo>
                <a:cubicBezTo>
                  <a:pt x="5948" y="228046"/>
                  <a:pt x="0" y="204288"/>
                  <a:pt x="0" y="179689"/>
                </a:cubicBezTo>
                <a:cubicBezTo>
                  <a:pt x="0" y="96989"/>
                  <a:pt x="67041" y="29948"/>
                  <a:pt x="149741" y="29948"/>
                </a:cubicBezTo>
                <a:close/>
              </a:path>
            </a:pathLst>
          </a:custGeom>
          <a:gradFill flip="none" rotWithShape="1">
            <a:gsLst>
              <a:gs pos="86000">
                <a:srgbClr val="318581"/>
              </a:gs>
              <a:gs pos="0">
                <a:schemeClr val="accent1"/>
              </a:gs>
            </a:gsLst>
            <a:path path="circle">
              <a:fillToRect l="100000" t="100000"/>
            </a:path>
            <a:tileRect r="-100000" b="-100000"/>
          </a:gradFill>
          <a:ln w="3175">
            <a:noFill/>
          </a:ln>
          <a:effectLst/>
        </p:spPr>
        <p:txBody>
          <a:bodyPr wrap="none" lIns="320040" tIns="73152" rIns="320040" bIns="146304" rtlCol="0" anchor="ctr" anchorCtr="0">
            <a:noAutofit/>
          </a:bodyPr>
          <a:lstStyle/>
          <a:p>
            <a:pPr marL="0" marR="0" lvl="0" indent="0" algn="ctr" defTabSz="491033"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46602">
                    <a:srgbClr val="000000"/>
                  </a:gs>
                  <a:gs pos="8000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19" name="Graphic 20">
            <a:extLst>
              <a:ext uri="{FF2B5EF4-FFF2-40B4-BE49-F238E27FC236}">
                <a16:creationId xmlns:a16="http://schemas.microsoft.com/office/drawing/2014/main" id="{018B7BE9-7EE9-A599-6EE7-B033DD591255}"/>
              </a:ext>
              <a:ext uri="{C183D7F6-B498-43B3-948B-1728B52AA6E4}">
                <adec:decorative xmlns:adec="http://schemas.microsoft.com/office/drawing/2017/decorative" val="1"/>
              </a:ext>
            </a:extLst>
          </p:cNvPr>
          <p:cNvSpPr/>
          <p:nvPr/>
        </p:nvSpPr>
        <p:spPr>
          <a:xfrm>
            <a:off x="9356426" y="3521629"/>
            <a:ext cx="306745" cy="333908"/>
          </a:xfrm>
          <a:custGeom>
            <a:avLst/>
            <a:gdLst>
              <a:gd name="connsiteX0" fmla="*/ 125782 w 280336"/>
              <a:gd name="connsiteY0" fmla="*/ 0 h 305160"/>
              <a:gd name="connsiteX1" fmla="*/ 53907 w 280336"/>
              <a:gd name="connsiteY1" fmla="*/ 71876 h 305160"/>
              <a:gd name="connsiteX2" fmla="*/ 125782 w 280336"/>
              <a:gd name="connsiteY2" fmla="*/ 143751 h 305160"/>
              <a:gd name="connsiteX3" fmla="*/ 197658 w 280336"/>
              <a:gd name="connsiteY3" fmla="*/ 71876 h 305160"/>
              <a:gd name="connsiteX4" fmla="*/ 125782 w 280336"/>
              <a:gd name="connsiteY4" fmla="*/ 0 h 305160"/>
              <a:gd name="connsiteX5" fmla="*/ 36095 w 280336"/>
              <a:gd name="connsiteY5" fmla="*/ 161720 h 305160"/>
              <a:gd name="connsiteX6" fmla="*/ 0 w 280336"/>
              <a:gd name="connsiteY6" fmla="*/ 197658 h 305160"/>
              <a:gd name="connsiteX7" fmla="*/ 38363 w 280336"/>
              <a:gd name="connsiteY7" fmla="*/ 265879 h 305160"/>
              <a:gd name="connsiteX8" fmla="*/ 125782 w 280336"/>
              <a:gd name="connsiteY8" fmla="*/ 287502 h 305160"/>
              <a:gd name="connsiteX9" fmla="*/ 157255 w 280336"/>
              <a:gd name="connsiteY9" fmla="*/ 285292 h 305160"/>
              <a:gd name="connsiteX10" fmla="*/ 161195 w 280336"/>
              <a:gd name="connsiteY10" fmla="*/ 269534 h 305160"/>
              <a:gd name="connsiteX11" fmla="*/ 152764 w 280336"/>
              <a:gd name="connsiteY11" fmla="*/ 269534 h 305160"/>
              <a:gd name="connsiteX12" fmla="*/ 127883 w 280336"/>
              <a:gd name="connsiteY12" fmla="*/ 232214 h 305160"/>
              <a:gd name="connsiteX13" fmla="*/ 157257 w 280336"/>
              <a:gd name="connsiteY13" fmla="*/ 161720 h 305160"/>
              <a:gd name="connsiteX14" fmla="*/ 36095 w 280336"/>
              <a:gd name="connsiteY14" fmla="*/ 161720 h 305160"/>
              <a:gd name="connsiteX15" fmla="*/ 172719 w 280336"/>
              <a:gd name="connsiteY15" fmla="*/ 251565 h 305160"/>
              <a:gd name="connsiteX16" fmla="*/ 181436 w 280336"/>
              <a:gd name="connsiteY16" fmla="*/ 262729 h 305160"/>
              <a:gd name="connsiteX17" fmla="*/ 173628 w 280336"/>
              <a:gd name="connsiteY17" fmla="*/ 293957 h 305160"/>
              <a:gd name="connsiteX18" fmla="*/ 188474 w 280336"/>
              <a:gd name="connsiteY18" fmla="*/ 302704 h 305160"/>
              <a:gd name="connsiteX19" fmla="*/ 276027 w 280336"/>
              <a:gd name="connsiteY19" fmla="*/ 220987 h 305160"/>
              <a:gd name="connsiteX20" fmla="*/ 266833 w 280336"/>
              <a:gd name="connsiteY20" fmla="*/ 197658 h 305160"/>
              <a:gd name="connsiteX21" fmla="*/ 259582 w 280336"/>
              <a:gd name="connsiteY21" fmla="*/ 197658 h 305160"/>
              <a:gd name="connsiteX22" fmla="*/ 251058 w 280336"/>
              <a:gd name="connsiteY22" fmla="*/ 185833 h 305160"/>
              <a:gd name="connsiteX23" fmla="*/ 261144 w 280336"/>
              <a:gd name="connsiteY23" fmla="*/ 155577 h 305160"/>
              <a:gd name="connsiteX24" fmla="*/ 252621 w 280336"/>
              <a:gd name="connsiteY24" fmla="*/ 143751 h 305160"/>
              <a:gd name="connsiteX25" fmla="*/ 190215 w 280336"/>
              <a:gd name="connsiteY25" fmla="*/ 143751 h 305160"/>
              <a:gd name="connsiteX26" fmla="*/ 181923 w 280336"/>
              <a:gd name="connsiteY26" fmla="*/ 149280 h 305160"/>
              <a:gd name="connsiteX27" fmla="*/ 144486 w 280336"/>
              <a:gd name="connsiteY27" fmla="*/ 239125 h 305160"/>
              <a:gd name="connsiteX28" fmla="*/ 152781 w 280336"/>
              <a:gd name="connsiteY28" fmla="*/ 251565 h 305160"/>
              <a:gd name="connsiteX29" fmla="*/ 172719 w 280336"/>
              <a:gd name="connsiteY29" fmla="*/ 251565 h 30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0336" h="305160">
                <a:moveTo>
                  <a:pt x="125782" y="0"/>
                </a:moveTo>
                <a:cubicBezTo>
                  <a:pt x="86086" y="0"/>
                  <a:pt x="53907" y="32180"/>
                  <a:pt x="53907" y="71876"/>
                </a:cubicBezTo>
                <a:cubicBezTo>
                  <a:pt x="53907" y="111571"/>
                  <a:pt x="86086" y="143751"/>
                  <a:pt x="125782" y="143751"/>
                </a:cubicBezTo>
                <a:cubicBezTo>
                  <a:pt x="165477" y="143751"/>
                  <a:pt x="197658" y="111571"/>
                  <a:pt x="197658" y="71876"/>
                </a:cubicBezTo>
                <a:cubicBezTo>
                  <a:pt x="197658" y="32180"/>
                  <a:pt x="165477" y="0"/>
                  <a:pt x="125782" y="0"/>
                </a:cubicBezTo>
                <a:close/>
                <a:moveTo>
                  <a:pt x="36095" y="161720"/>
                </a:moveTo>
                <a:cubicBezTo>
                  <a:pt x="16229" y="161720"/>
                  <a:pt x="0" y="177657"/>
                  <a:pt x="0" y="197658"/>
                </a:cubicBezTo>
                <a:cubicBezTo>
                  <a:pt x="0" y="228047"/>
                  <a:pt x="14965" y="250959"/>
                  <a:pt x="38363" y="265879"/>
                </a:cubicBezTo>
                <a:cubicBezTo>
                  <a:pt x="61399" y="280566"/>
                  <a:pt x="92455" y="287502"/>
                  <a:pt x="125782" y="287502"/>
                </a:cubicBezTo>
                <a:cubicBezTo>
                  <a:pt x="136576" y="287502"/>
                  <a:pt x="147133" y="286775"/>
                  <a:pt x="157255" y="285292"/>
                </a:cubicBezTo>
                <a:lnTo>
                  <a:pt x="161195" y="269534"/>
                </a:lnTo>
                <a:lnTo>
                  <a:pt x="152764" y="269534"/>
                </a:lnTo>
                <a:cubicBezTo>
                  <a:pt x="133530" y="269534"/>
                  <a:pt x="120486" y="249967"/>
                  <a:pt x="127883" y="232214"/>
                </a:cubicBezTo>
                <a:lnTo>
                  <a:pt x="157257" y="161720"/>
                </a:lnTo>
                <a:lnTo>
                  <a:pt x="36095" y="161720"/>
                </a:lnTo>
                <a:close/>
                <a:moveTo>
                  <a:pt x="172719" y="251565"/>
                </a:moveTo>
                <a:cubicBezTo>
                  <a:pt x="178564" y="251565"/>
                  <a:pt x="182852" y="257058"/>
                  <a:pt x="181436" y="262729"/>
                </a:cubicBezTo>
                <a:lnTo>
                  <a:pt x="173628" y="293957"/>
                </a:lnTo>
                <a:cubicBezTo>
                  <a:pt x="171457" y="302639"/>
                  <a:pt x="181932" y="308812"/>
                  <a:pt x="188474" y="302704"/>
                </a:cubicBezTo>
                <a:lnTo>
                  <a:pt x="276027" y="220987"/>
                </a:lnTo>
                <a:cubicBezTo>
                  <a:pt x="284971" y="212640"/>
                  <a:pt x="279064" y="197658"/>
                  <a:pt x="266833" y="197658"/>
                </a:cubicBezTo>
                <a:lnTo>
                  <a:pt x="259582" y="197658"/>
                </a:lnTo>
                <a:cubicBezTo>
                  <a:pt x="253450" y="197658"/>
                  <a:pt x="249119" y="191651"/>
                  <a:pt x="251058" y="185833"/>
                </a:cubicBezTo>
                <a:lnTo>
                  <a:pt x="261144" y="155577"/>
                </a:lnTo>
                <a:cubicBezTo>
                  <a:pt x="263083" y="149758"/>
                  <a:pt x="258752" y="143751"/>
                  <a:pt x="252621" y="143751"/>
                </a:cubicBezTo>
                <a:lnTo>
                  <a:pt x="190215" y="143751"/>
                </a:lnTo>
                <a:cubicBezTo>
                  <a:pt x="186589" y="143751"/>
                  <a:pt x="183317" y="145933"/>
                  <a:pt x="181923" y="149280"/>
                </a:cubicBezTo>
                <a:lnTo>
                  <a:pt x="144486" y="239125"/>
                </a:lnTo>
                <a:cubicBezTo>
                  <a:pt x="142021" y="245042"/>
                  <a:pt x="146369" y="251565"/>
                  <a:pt x="152781" y="251565"/>
                </a:cubicBezTo>
                <a:lnTo>
                  <a:pt x="172719" y="251565"/>
                </a:lnTo>
                <a:close/>
              </a:path>
            </a:pathLst>
          </a:custGeom>
          <a:gradFill flip="none" rotWithShape="1">
            <a:gsLst>
              <a:gs pos="86000">
                <a:srgbClr val="318581"/>
              </a:gs>
              <a:gs pos="0">
                <a:schemeClr val="accent1"/>
              </a:gs>
            </a:gsLst>
            <a:path path="circle">
              <a:fillToRect l="100000" t="100000"/>
            </a:path>
            <a:tileRect r="-100000" b="-100000"/>
          </a:gradFill>
          <a:ln w="3175">
            <a:noFill/>
          </a:ln>
          <a:effectLst/>
        </p:spPr>
        <p:txBody>
          <a:bodyPr wrap="none" lIns="320040" tIns="73152" rIns="320040" bIns="146304" rtlCol="0" anchor="ctr" anchorCtr="0">
            <a:noAutofit/>
          </a:bodyPr>
          <a:lstStyle/>
          <a:p>
            <a:pPr marL="0" marR="0" lvl="0" indent="0" algn="ctr" defTabSz="491033"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46602">
                    <a:srgbClr val="000000"/>
                  </a:gs>
                  <a:gs pos="8000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20" name="Oval 19">
            <a:extLst>
              <a:ext uri="{FF2B5EF4-FFF2-40B4-BE49-F238E27FC236}">
                <a16:creationId xmlns:a16="http://schemas.microsoft.com/office/drawing/2014/main" id="{E60DF207-C267-A351-DCBF-C3F41A01E8F0}"/>
              </a:ext>
              <a:ext uri="{C183D7F6-B498-43B3-948B-1728B52AA6E4}">
                <adec:decorative xmlns:adec="http://schemas.microsoft.com/office/drawing/2017/decorative" val="1"/>
              </a:ext>
            </a:extLst>
          </p:cNvPr>
          <p:cNvSpPr/>
          <p:nvPr/>
        </p:nvSpPr>
        <p:spPr bwMode="auto">
          <a:xfrm>
            <a:off x="4157050" y="3691146"/>
            <a:ext cx="460367" cy="460367"/>
          </a:xfrm>
          <a:prstGeom prst="ellipse">
            <a:avLst/>
          </a:prstGeom>
          <a:solidFill>
            <a:srgbClr val="EDF6F3"/>
          </a:solidFill>
          <a:ln w="9525" cap="flat" cmpd="sng" algn="ctr">
            <a:noFill/>
            <a:prstDash val="solid"/>
            <a:headEnd type="none" w="med" len="med"/>
            <a:tailEnd type="none" w="med" len="med"/>
          </a:ln>
          <a:effectLst/>
        </p:spPr>
        <p:txBody>
          <a:bodyPr rot="0" spcFirstLastPara="0" vertOverflow="overflow" horzOverflow="overflow" vert="horz" wrap="square" lIns="182880" tIns="128016" rIns="18288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a:ln>
                  <a:noFill/>
                </a:ln>
                <a:solidFill>
                  <a:srgbClr val="000000"/>
                </a:solidFill>
                <a:effectLst/>
                <a:uLnTx/>
                <a:uFillTx/>
                <a:latin typeface="Segoe UI Variable Display Semib" pitchFamily="2" charset="0"/>
                <a:ea typeface="+mn-ea"/>
                <a:cs typeface="Segoe UI" panose="020B0502040204020203" pitchFamily="34" charset="0"/>
              </a:rPr>
              <a:t>+</a:t>
            </a:r>
          </a:p>
        </p:txBody>
      </p:sp>
      <p:sp>
        <p:nvSpPr>
          <p:cNvPr id="21" name="Oval 20">
            <a:extLst>
              <a:ext uri="{FF2B5EF4-FFF2-40B4-BE49-F238E27FC236}">
                <a16:creationId xmlns:a16="http://schemas.microsoft.com/office/drawing/2014/main" id="{74B18A65-C1D7-FF56-F5B0-6816A5F963CA}"/>
              </a:ext>
              <a:ext uri="{C183D7F6-B498-43B3-948B-1728B52AA6E4}">
                <adec:decorative xmlns:adec="http://schemas.microsoft.com/office/drawing/2017/decorative" val="1"/>
              </a:ext>
            </a:extLst>
          </p:cNvPr>
          <p:cNvSpPr/>
          <p:nvPr/>
        </p:nvSpPr>
        <p:spPr bwMode="auto">
          <a:xfrm>
            <a:off x="7572717" y="3691146"/>
            <a:ext cx="460367" cy="460367"/>
          </a:xfrm>
          <a:prstGeom prst="ellipse">
            <a:avLst/>
          </a:prstGeom>
          <a:solidFill>
            <a:srgbClr val="EDF6F3"/>
          </a:solidFill>
          <a:ln w="9525" cap="flat" cmpd="sng" algn="ctr">
            <a:noFill/>
            <a:prstDash val="solid"/>
            <a:headEnd type="none" w="med" len="med"/>
            <a:tailEnd type="none" w="med" len="med"/>
          </a:ln>
          <a:effectLst/>
        </p:spPr>
        <p:txBody>
          <a:bodyPr rot="0" spcFirstLastPara="0" vertOverflow="overflow" horzOverflow="overflow" vert="horz" wrap="square" lIns="182880" tIns="128016" rIns="18288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a:ln>
                  <a:noFill/>
                </a:ln>
                <a:solidFill>
                  <a:srgbClr val="000000"/>
                </a:solidFill>
                <a:effectLst/>
                <a:uLnTx/>
                <a:uFillTx/>
                <a:latin typeface="Segoe UI Variable Display Semib" pitchFamily="2" charset="0"/>
                <a:ea typeface="+mn-ea"/>
                <a:cs typeface="Segoe UI" panose="020B0502040204020203" pitchFamily="34" charset="0"/>
              </a:rPr>
              <a:t>+</a:t>
            </a:r>
          </a:p>
        </p:txBody>
      </p:sp>
    </p:spTree>
    <p:extLst>
      <p:ext uri="{BB962C8B-B14F-4D97-AF65-F5344CB8AC3E}">
        <p14:creationId xmlns:p14="http://schemas.microsoft.com/office/powerpoint/2010/main" val="411114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15"/>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nodeType="withEffect">
                                  <p:stCondLst>
                                    <p:cond delay="0"/>
                                  </p:stCondLst>
                                  <p:childTnLst>
                                    <p:animMotion origin="layout" path="M 1.25E-6 0.03889 L 1.25E-6 1.85185E-6 " pathEditMode="relative" rAng="0" ptsTypes="AA">
                                      <p:cBhvr>
                                        <p:cTn id="14" dur="500" fill="hold"/>
                                        <p:tgtEl>
                                          <p:spTgt spid="17"/>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42" presetClass="path" presetSubtype="0" decel="100000" fill="hold" grpId="1" nodeType="withEffect">
                                  <p:stCondLst>
                                    <p:cond delay="0"/>
                                  </p:stCondLst>
                                  <p:childTnLst>
                                    <p:animMotion origin="layout" path="M -2.08333E-7 -0.03472 L -2.08333E-7 -1.48148E-6 " pathEditMode="relative" rAng="0" ptsTypes="AA">
                                      <p:cBhvr>
                                        <p:cTn id="19" dur="500" fill="hold"/>
                                        <p:tgtEl>
                                          <p:spTgt spid="13"/>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grpId="1" nodeType="withEffect">
                                  <p:stCondLst>
                                    <p:cond delay="0"/>
                                  </p:stCondLst>
                                  <p:childTnLst>
                                    <p:animMotion origin="layout" path="M 0.02954 4.22619E-6 L 4.55357E-6 4.22619E-6 " pathEditMode="relative" rAng="0" ptsTypes="AA">
                                      <p:cBhvr>
                                        <p:cTn id="24" dur="700" fill="hold"/>
                                        <p:tgtEl>
                                          <p:spTgt spid="16"/>
                                        </p:tgtEl>
                                        <p:attrNameLst>
                                          <p:attrName>ppt_x</p:attrName>
                                          <p:attrName>ppt_y</p:attrName>
                                        </p:attrNameLst>
                                      </p:cBhvr>
                                      <p:rCtr x="-1479" y="0"/>
                                    </p:animMotion>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0"/>
                                  </p:stCondLst>
                                  <p:childTnLst>
                                    <p:animMotion origin="layout" path="M 0.02954 4.22619E-6 L 4.55357E-6 4.22619E-6 " pathEditMode="relative" rAng="0" ptsTypes="AA">
                                      <p:cBhvr>
                                        <p:cTn id="29" dur="700" fill="hold"/>
                                        <p:tgtEl>
                                          <p:spTgt spid="19"/>
                                        </p:tgtEl>
                                        <p:attrNameLst>
                                          <p:attrName>ppt_x</p:attrName>
                                          <p:attrName>ppt_y</p:attrName>
                                        </p:attrNameLst>
                                      </p:cBhvr>
                                      <p:rCtr x="-1479" y="0"/>
                                    </p:animMotion>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63" presetClass="path" presetSubtype="0" accel="50000" decel="50000" fill="hold" grpId="1" nodeType="withEffect">
                                  <p:stCondLst>
                                    <p:cond delay="0"/>
                                  </p:stCondLst>
                                  <p:childTnLst>
                                    <p:animMotion origin="layout" path="M -0.02956 7.40741E-7 L -1.875E-6 7.40741E-7 " pathEditMode="relative" rAng="0" ptsTypes="AA">
                                      <p:cBhvr>
                                        <p:cTn id="34" dur="500" fill="hold"/>
                                        <p:tgtEl>
                                          <p:spTgt spid="14"/>
                                        </p:tgtEl>
                                        <p:attrNameLst>
                                          <p:attrName>ppt_x</p:attrName>
                                          <p:attrName>ppt_y</p:attrName>
                                        </p:attrNameLst>
                                      </p:cBhvr>
                                      <p:rCtr x="1471" y="0"/>
                                    </p:animMotion>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63" presetClass="path" presetSubtype="0" accel="50000" decel="50000" fill="hold" grpId="1" nodeType="withEffect">
                                  <p:stCondLst>
                                    <p:cond delay="0"/>
                                  </p:stCondLst>
                                  <p:childTnLst>
                                    <p:animMotion origin="layout" path="M -0.02955 -1.72619E-6 L 2.87698E-6 -1.72619E-6 " pathEditMode="relative" rAng="0" ptsTypes="AA">
                                      <p:cBhvr>
                                        <p:cTn id="39" dur="500" fill="hold"/>
                                        <p:tgtEl>
                                          <p:spTgt spid="18"/>
                                        </p:tgtEl>
                                        <p:attrNameLst>
                                          <p:attrName>ppt_x</p:attrName>
                                          <p:attrName>ppt_y</p:attrName>
                                        </p:attrNameLst>
                                      </p:cBhvr>
                                      <p:rCtr x="1476" y="0"/>
                                    </p:animMotion>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63" presetClass="path" presetSubtype="0" accel="50000" decel="50000" fill="hold" grpId="1" nodeType="withEffect">
                                  <p:stCondLst>
                                    <p:cond delay="0"/>
                                  </p:stCondLst>
                                  <p:childTnLst>
                                    <p:animMotion origin="layout" path="M -0.02955 -1.72619E-6 L 2.87698E-6 -1.72619E-6 " pathEditMode="relative" rAng="0" ptsTypes="AA">
                                      <p:cBhvr>
                                        <p:cTn id="44" dur="500" fill="hold"/>
                                        <p:tgtEl>
                                          <p:spTgt spid="20"/>
                                        </p:tgtEl>
                                        <p:attrNameLst>
                                          <p:attrName>ppt_x</p:attrName>
                                          <p:attrName>ppt_y</p:attrName>
                                        </p:attrNameLst>
                                      </p:cBhvr>
                                      <p:rCtr x="1476" y="0"/>
                                    </p:animMotion>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42" presetClass="path" presetSubtype="0" decel="100000" fill="hold" grpId="1" nodeType="withEffect">
                                  <p:stCondLst>
                                    <p:cond delay="0"/>
                                  </p:stCondLst>
                                  <p:childTnLst>
                                    <p:animMotion origin="layout" path="M 0.02954 4.22619E-6 L 4.55357E-6 4.22619E-6 " pathEditMode="relative" rAng="0" ptsTypes="AA">
                                      <p:cBhvr>
                                        <p:cTn id="49" dur="700" fill="hold"/>
                                        <p:tgtEl>
                                          <p:spTgt spid="21"/>
                                        </p:tgtEl>
                                        <p:attrNameLst>
                                          <p:attrName>ppt_x</p:attrName>
                                          <p:attrName>ppt_y</p:attrName>
                                        </p:attrNameLst>
                                      </p:cBhvr>
                                      <p:rCtr x="-147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animBg="1"/>
      <p:bldP spid="14" grpId="1" animBg="1"/>
      <p:bldP spid="15" grpId="0" animBg="1"/>
      <p:bldP spid="15" grpId="1" animBg="1"/>
      <p:bldP spid="16" grpId="0" animBg="1"/>
      <p:bldP spid="16"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B7F09-6711-D1B2-208A-AD3578AB49E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4FEB43F-AD9A-92B5-56F4-BC42C539F77D}"/>
              </a:ext>
            </a:extLst>
          </p:cNvPr>
          <p:cNvSpPr txBox="1">
            <a:spLocks noGrp="1"/>
          </p:cNvSpPr>
          <p:nvPr>
            <p:ph type="title" idx="4294967295"/>
          </p:nvPr>
        </p:nvSpPr>
        <p:spPr>
          <a:xfrm>
            <a:off x="588263" y="800626"/>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000000"/>
                </a:solidFill>
                <a:effectLst/>
                <a:uLnTx/>
                <a:uFillTx/>
                <a:latin typeface="Segoe UI Variable Display Semib" pitchFamily="2" charset="0"/>
                <a:ea typeface="+mn-ea"/>
                <a:cs typeface="Segoe UI" pitchFamily="34" charset="0"/>
              </a:rPr>
              <a:t>Becoming Frontier</a:t>
            </a:r>
          </a:p>
        </p:txBody>
      </p:sp>
      <p:sp>
        <p:nvSpPr>
          <p:cNvPr id="2" name="!! Opportunities box">
            <a:extLst>
              <a:ext uri="{FF2B5EF4-FFF2-40B4-BE49-F238E27FC236}">
                <a16:creationId xmlns:a16="http://schemas.microsoft.com/office/drawing/2014/main" id="{F4767F9A-2149-D250-7D5A-5B7C414E0637}"/>
              </a:ext>
              <a:ext uri="{C183D7F6-B498-43B3-948B-1728B52AA6E4}">
                <adec:decorative xmlns:adec="http://schemas.microsoft.com/office/drawing/2017/decorative" val="1"/>
              </a:ext>
            </a:extLst>
          </p:cNvPr>
          <p:cNvSpPr txBox="1">
            <a:spLocks/>
          </p:cNvSpPr>
          <p:nvPr/>
        </p:nvSpPr>
        <p:spPr>
          <a:xfrm>
            <a:off x="896982" y="2325189"/>
            <a:ext cx="10424161" cy="3675018"/>
          </a:xfrm>
          <a:prstGeom prst="roundRect">
            <a:avLst>
              <a:gd name="adj" fmla="val 6030"/>
            </a:avLst>
          </a:prstGeom>
          <a:ln w="19050" cap="rnd">
            <a:solidFill>
              <a:srgbClr val="B8B8B7"/>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defPPr>
              <a:defRPr lang="en-US"/>
            </a:defPPr>
            <a:lvl1pPr algn="ctr" defTabSz="1427220">
              <a:spcBef>
                <a:spcPts val="400"/>
              </a:spcBef>
              <a:defRPr sz="4000" spc="-50">
                <a:gradFill>
                  <a:gsLst>
                    <a:gs pos="80460">
                      <a:srgbClr val="000000"/>
                    </a:gs>
                    <a:gs pos="59551">
                      <a:srgbClr val="000000"/>
                    </a:gs>
                  </a:gsLst>
                  <a:path path="circle">
                    <a:fillToRect l="100000" t="100000"/>
                  </a:path>
                </a:gradFill>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kern="0"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dirty="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16" name="Rectangle: Rounded Corners 15">
            <a:extLst>
              <a:ext uri="{FF2B5EF4-FFF2-40B4-BE49-F238E27FC236}">
                <a16:creationId xmlns:a16="http://schemas.microsoft.com/office/drawing/2014/main" id="{67596320-2F80-E3FB-051F-3F4D364C2E4C}"/>
              </a:ext>
              <a:ext uri="{C183D7F6-B498-43B3-948B-1728B52AA6E4}">
                <adec:decorative xmlns:adec="http://schemas.microsoft.com/office/drawing/2017/decorative" val="0"/>
              </a:ext>
            </a:extLst>
          </p:cNvPr>
          <p:cNvSpPr/>
          <p:nvPr/>
        </p:nvSpPr>
        <p:spPr bwMode="auto">
          <a:xfrm>
            <a:off x="2482363" y="2142478"/>
            <a:ext cx="2011260" cy="366986"/>
          </a:xfrm>
          <a:prstGeom prst="roundRect">
            <a:avLst>
              <a:gd name="adj" fmla="val 34256"/>
            </a:avLst>
          </a:prstGeom>
          <a:solidFill>
            <a:srgbClr val="EDF6F3"/>
          </a:solidFill>
          <a:ln w="19050">
            <a:solidFill>
              <a:srgbClr val="B8B8B7"/>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13" b="1" i="0" u="none" strike="noStrike" kern="1200" cap="none" spc="0" normalizeH="0" baseline="0" noProof="0" dirty="0">
                <a:ln w="3175">
                  <a:noFill/>
                </a:ln>
                <a:solidFill>
                  <a:srgbClr val="091F2C"/>
                </a:solidFill>
                <a:effectLst/>
                <a:uLnTx/>
                <a:uFillTx/>
                <a:latin typeface="Segoe UI Variable Display Semib" pitchFamily="2" charset="0"/>
                <a:ea typeface="+mn-ea"/>
                <a:cs typeface="Segoe UI" pitchFamily="34" charset="0"/>
              </a:rPr>
              <a:t>Success framework</a:t>
            </a:r>
          </a:p>
        </p:txBody>
      </p:sp>
      <p:pic>
        <p:nvPicPr>
          <p:cNvPr id="6" name="Picture 5">
            <a:extLst>
              <a:ext uri="{FF2B5EF4-FFF2-40B4-BE49-F238E27FC236}">
                <a16:creationId xmlns:a16="http://schemas.microsoft.com/office/drawing/2014/main" id="{A6DC3DAB-F3D4-F48B-E6B5-A09D9D65DA2A}"/>
              </a:ext>
              <a:ext uri="{C183D7F6-B498-43B3-948B-1728B52AA6E4}">
                <adec:decorative xmlns:adec="http://schemas.microsoft.com/office/drawing/2017/decorative" val="1"/>
              </a:ext>
            </a:extLst>
          </p:cNvPr>
          <p:cNvPicPr>
            <a:picLocks noChangeAspect="1"/>
          </p:cNvPicPr>
          <p:nvPr/>
        </p:nvPicPr>
        <p:blipFill>
          <a:blip r:embed="rId3">
            <a:alphaModFix amt="90000"/>
            <a:extLst>
              <a:ext uri="{BEBA8EAE-BF5A-486C-A8C5-ECC9F3942E4B}">
                <a14:imgProps xmlns:a14="http://schemas.microsoft.com/office/drawing/2010/main">
                  <a14:imgLayer r:embed="rId4">
                    <a14:imgEffect>
                      <a14:brightnessContrast bright="-20000"/>
                    </a14:imgEffect>
                  </a14:imgLayer>
                </a14:imgProps>
              </a:ext>
            </a:extLst>
          </a:blip>
          <a:srcRect l="1849" t="35391" r="991" b="50424"/>
          <a:stretch>
            <a:fillRect/>
          </a:stretch>
        </p:blipFill>
        <p:spPr>
          <a:xfrm>
            <a:off x="1209439" y="2861310"/>
            <a:ext cx="4540469" cy="662940"/>
          </a:xfrm>
          <a:prstGeom prst="roundRect">
            <a:avLst>
              <a:gd name="adj" fmla="val 21888"/>
            </a:avLst>
          </a:prstGeom>
          <a:ln>
            <a:noFill/>
          </a:ln>
        </p:spPr>
      </p:pic>
      <p:pic>
        <p:nvPicPr>
          <p:cNvPr id="5" name="Picture 4">
            <a:extLst>
              <a:ext uri="{FF2B5EF4-FFF2-40B4-BE49-F238E27FC236}">
                <a16:creationId xmlns:a16="http://schemas.microsoft.com/office/drawing/2014/main" id="{AD1B6274-D9D9-88C1-B9AE-E942437D6D5F}"/>
              </a:ext>
              <a:ext uri="{C183D7F6-B498-43B3-948B-1728B52AA6E4}">
                <adec:decorative xmlns:adec="http://schemas.microsoft.com/office/drawing/2017/decorative" val="1"/>
              </a:ext>
            </a:extLst>
          </p:cNvPr>
          <p:cNvPicPr>
            <a:picLocks noChangeAspect="1"/>
          </p:cNvPicPr>
          <p:nvPr/>
        </p:nvPicPr>
        <p:blipFill>
          <a:blip r:embed="rId5">
            <a:alphaModFix amt="90000"/>
            <a:extLst>
              <a:ext uri="{BEBA8EAE-BF5A-486C-A8C5-ECC9F3942E4B}">
                <a14:imgProps xmlns:a14="http://schemas.microsoft.com/office/drawing/2010/main">
                  <a14:imgLayer r:embed="rId6">
                    <a14:imgEffect>
                      <a14:brightnessContrast bright="-24000"/>
                    </a14:imgEffect>
                  </a14:imgLayer>
                </a14:imgProps>
              </a:ext>
            </a:extLst>
          </a:blip>
          <a:srcRect l="512" t="34289" r="927" b="51497"/>
          <a:stretch>
            <a:fillRect/>
          </a:stretch>
        </p:blipFill>
        <p:spPr>
          <a:xfrm>
            <a:off x="1221287" y="3585210"/>
            <a:ext cx="4543243" cy="655320"/>
          </a:xfrm>
          <a:prstGeom prst="roundRect">
            <a:avLst>
              <a:gd name="adj" fmla="val 21888"/>
            </a:avLst>
          </a:prstGeom>
          <a:ln>
            <a:noFill/>
          </a:ln>
        </p:spPr>
      </p:pic>
      <p:pic>
        <p:nvPicPr>
          <p:cNvPr id="4" name="Picture 3">
            <a:extLst>
              <a:ext uri="{FF2B5EF4-FFF2-40B4-BE49-F238E27FC236}">
                <a16:creationId xmlns:a16="http://schemas.microsoft.com/office/drawing/2014/main" id="{4EAAF4C3-1D8B-860D-7F0B-DCDF2DF2C880}"/>
              </a:ext>
              <a:ext uri="{C183D7F6-B498-43B3-948B-1728B52AA6E4}">
                <adec:decorative xmlns:adec="http://schemas.microsoft.com/office/drawing/2017/decorative" val="1"/>
              </a:ext>
            </a:extLst>
          </p:cNvPr>
          <p:cNvPicPr>
            <a:picLocks noChangeAspect="1"/>
          </p:cNvPicPr>
          <p:nvPr/>
        </p:nvPicPr>
        <p:blipFill>
          <a:blip r:embed="rId7">
            <a:alphaModFix amt="90000"/>
            <a:extLst>
              <a:ext uri="{BEBA8EAE-BF5A-486C-A8C5-ECC9F3942E4B}">
                <a14:imgProps xmlns:a14="http://schemas.microsoft.com/office/drawing/2010/main">
                  <a14:imgLayer r:embed="rId8">
                    <a14:imgEffect>
                      <a14:colorTemperature colorTemp="7699"/>
                    </a14:imgEffect>
                    <a14:imgEffect>
                      <a14:saturation sat="80000"/>
                    </a14:imgEffect>
                    <a14:imgEffect>
                      <a14:brightnessContrast bright="-16000"/>
                    </a14:imgEffect>
                  </a14:imgLayer>
                </a14:imgProps>
              </a:ext>
            </a:extLst>
          </a:blip>
          <a:srcRect l="709" t="58145" r="1404" b="27691"/>
          <a:stretch>
            <a:fillRect/>
          </a:stretch>
        </p:blipFill>
        <p:spPr>
          <a:xfrm>
            <a:off x="1217695" y="4294627"/>
            <a:ext cx="4523956" cy="654564"/>
          </a:xfrm>
          <a:prstGeom prst="roundRect">
            <a:avLst>
              <a:gd name="adj" fmla="val 21888"/>
            </a:avLst>
          </a:prstGeom>
          <a:ln>
            <a:noFill/>
          </a:ln>
        </p:spPr>
      </p:pic>
      <p:pic>
        <p:nvPicPr>
          <p:cNvPr id="3" name="Picture 2">
            <a:extLst>
              <a:ext uri="{FF2B5EF4-FFF2-40B4-BE49-F238E27FC236}">
                <a16:creationId xmlns:a16="http://schemas.microsoft.com/office/drawing/2014/main" id="{1B9802ED-AF27-C618-6222-11A84177FFDE}"/>
              </a:ext>
              <a:ext uri="{C183D7F6-B498-43B3-948B-1728B52AA6E4}">
                <adec:decorative xmlns:adec="http://schemas.microsoft.com/office/drawing/2017/decorative" val="1"/>
              </a:ext>
            </a:extLst>
          </p:cNvPr>
          <p:cNvPicPr>
            <a:picLocks noChangeAspect="1"/>
          </p:cNvPicPr>
          <p:nvPr/>
        </p:nvPicPr>
        <p:blipFill>
          <a:blip r:embed="rId9">
            <a:alphaModFix amt="90000"/>
            <a:extLst>
              <a:ext uri="{BEBA8EAE-BF5A-486C-A8C5-ECC9F3942E4B}">
                <a14:imgProps xmlns:a14="http://schemas.microsoft.com/office/drawing/2010/main">
                  <a14:imgLayer r:embed="rId10">
                    <a14:imgEffect>
                      <a14:brightnessContrast bright="-18000"/>
                    </a14:imgEffect>
                  </a14:imgLayer>
                </a14:imgProps>
              </a:ext>
            </a:extLst>
          </a:blip>
          <a:srcRect l="1617" t="84677" r="894" b="1408"/>
          <a:stretch>
            <a:fillRect/>
          </a:stretch>
        </p:blipFill>
        <p:spPr>
          <a:xfrm>
            <a:off x="1222248" y="5037826"/>
            <a:ext cx="4534662" cy="647274"/>
          </a:xfrm>
          <a:prstGeom prst="roundRect">
            <a:avLst>
              <a:gd name="adj" fmla="val 21888"/>
            </a:avLst>
          </a:prstGeom>
          <a:ln>
            <a:noFill/>
          </a:ln>
        </p:spPr>
      </p:pic>
      <p:sp>
        <p:nvSpPr>
          <p:cNvPr id="21" name="TextBox 20">
            <a:extLst>
              <a:ext uri="{FF2B5EF4-FFF2-40B4-BE49-F238E27FC236}">
                <a16:creationId xmlns:a16="http://schemas.microsoft.com/office/drawing/2014/main" id="{195A686D-FAB6-545C-E9A5-CDD6ADBAC33E}"/>
              </a:ext>
            </a:extLst>
          </p:cNvPr>
          <p:cNvSpPr txBox="1"/>
          <p:nvPr/>
        </p:nvSpPr>
        <p:spPr>
          <a:xfrm>
            <a:off x="1673911" y="3054281"/>
            <a:ext cx="380659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Variable Display Semib" pitchFamily="2" charset="0"/>
                <a:ea typeface="+mn-ea"/>
                <a:cs typeface="+mn-cs"/>
              </a:rPr>
              <a:t>Enrich employee experiences</a:t>
            </a:r>
          </a:p>
        </p:txBody>
      </p:sp>
      <p:sp>
        <p:nvSpPr>
          <p:cNvPr id="24" name="TextBox 23">
            <a:extLst>
              <a:ext uri="{FF2B5EF4-FFF2-40B4-BE49-F238E27FC236}">
                <a16:creationId xmlns:a16="http://schemas.microsoft.com/office/drawing/2014/main" id="{546754FA-6548-8B97-B28E-752DD8D2FACA}"/>
              </a:ext>
            </a:extLst>
          </p:cNvPr>
          <p:cNvSpPr txBox="1"/>
          <p:nvPr/>
        </p:nvSpPr>
        <p:spPr>
          <a:xfrm>
            <a:off x="1717604" y="3774371"/>
            <a:ext cx="364542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Variable Display Semib" pitchFamily="2" charset="0"/>
                <a:ea typeface="+mn-ea"/>
                <a:cs typeface="+mn-cs"/>
              </a:rPr>
              <a:t>Reinvent customer engagement</a:t>
            </a:r>
          </a:p>
        </p:txBody>
      </p:sp>
      <p:sp>
        <p:nvSpPr>
          <p:cNvPr id="22" name="TextBox 21">
            <a:extLst>
              <a:ext uri="{FF2B5EF4-FFF2-40B4-BE49-F238E27FC236}">
                <a16:creationId xmlns:a16="http://schemas.microsoft.com/office/drawing/2014/main" id="{636344CE-3EB5-0666-CBF3-61B96B7D16F0}"/>
              </a:ext>
            </a:extLst>
          </p:cNvPr>
          <p:cNvSpPr txBox="1"/>
          <p:nvPr/>
        </p:nvSpPr>
        <p:spPr>
          <a:xfrm>
            <a:off x="1722611" y="4483410"/>
            <a:ext cx="387361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Variable Display Semib" pitchFamily="2" charset="0"/>
                <a:ea typeface="+mn-ea"/>
                <a:cs typeface="+mn-cs"/>
              </a:rPr>
              <a:t>Reshape business processes</a:t>
            </a:r>
          </a:p>
        </p:txBody>
      </p:sp>
      <p:sp>
        <p:nvSpPr>
          <p:cNvPr id="23" name="TextBox 22">
            <a:extLst>
              <a:ext uri="{FF2B5EF4-FFF2-40B4-BE49-F238E27FC236}">
                <a16:creationId xmlns:a16="http://schemas.microsoft.com/office/drawing/2014/main" id="{A27202C4-F13F-1F56-FBB9-0EEB1D38D99D}"/>
              </a:ext>
            </a:extLst>
          </p:cNvPr>
          <p:cNvSpPr txBox="1"/>
          <p:nvPr/>
        </p:nvSpPr>
        <p:spPr>
          <a:xfrm>
            <a:off x="1744154" y="5222964"/>
            <a:ext cx="32394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Variable Display Semib" pitchFamily="2" charset="0"/>
                <a:ea typeface="+mn-ea"/>
                <a:cs typeface="+mn-cs"/>
              </a:rPr>
              <a:t>Bend the curve on innovation</a:t>
            </a:r>
          </a:p>
        </p:txBody>
      </p:sp>
      <p:sp>
        <p:nvSpPr>
          <p:cNvPr id="8" name="Graphic 9">
            <a:extLst>
              <a:ext uri="{FF2B5EF4-FFF2-40B4-BE49-F238E27FC236}">
                <a16:creationId xmlns:a16="http://schemas.microsoft.com/office/drawing/2014/main" id="{17F231A2-58AE-A2D1-B8F1-DE3350C45469}"/>
              </a:ext>
              <a:ext uri="{C183D7F6-B498-43B3-948B-1728B52AA6E4}">
                <adec:decorative xmlns:adec="http://schemas.microsoft.com/office/drawing/2017/decorative" val="1"/>
              </a:ext>
            </a:extLst>
          </p:cNvPr>
          <p:cNvSpPr>
            <a:spLocks/>
          </p:cNvSpPr>
          <p:nvPr/>
        </p:nvSpPr>
        <p:spPr>
          <a:xfrm rot="16200000">
            <a:off x="5915093" y="4059194"/>
            <a:ext cx="371046" cy="374904"/>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sp>
        <p:nvSpPr>
          <p:cNvPr id="9" name="Rectangle: Rounded Corners 8">
            <a:extLst>
              <a:ext uri="{FF2B5EF4-FFF2-40B4-BE49-F238E27FC236}">
                <a16:creationId xmlns:a16="http://schemas.microsoft.com/office/drawing/2014/main" id="{A9BB0ED8-F2F8-85C7-056A-6FF508FBA281}"/>
              </a:ext>
              <a:ext uri="{C183D7F6-B498-43B3-948B-1728B52AA6E4}">
                <adec:decorative xmlns:adec="http://schemas.microsoft.com/office/drawing/2017/decorative" val="0"/>
              </a:ext>
            </a:extLst>
          </p:cNvPr>
          <p:cNvSpPr/>
          <p:nvPr/>
        </p:nvSpPr>
        <p:spPr bwMode="auto">
          <a:xfrm>
            <a:off x="7722903" y="2143091"/>
            <a:ext cx="1984248" cy="365760"/>
          </a:xfrm>
          <a:prstGeom prst="roundRect">
            <a:avLst>
              <a:gd name="adj" fmla="val 34256"/>
            </a:avLst>
          </a:prstGeom>
          <a:solidFill>
            <a:srgbClr val="EDF6F3"/>
          </a:solidFill>
          <a:ln w="19050">
            <a:solidFill>
              <a:srgbClr val="B8B8B7"/>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13" b="1" i="0" u="none" strike="noStrike" kern="1200" cap="none" spc="0" normalizeH="0" baseline="0" noProof="0">
                <a:ln w="3175">
                  <a:noFill/>
                </a:ln>
                <a:solidFill>
                  <a:srgbClr val="091F2C"/>
                </a:solidFill>
                <a:effectLst/>
                <a:uLnTx/>
                <a:uFillTx/>
                <a:latin typeface="Segoe UI Variable Display Semib" pitchFamily="2" charset="0"/>
                <a:ea typeface="+mn-ea"/>
                <a:cs typeface="Segoe UI" pitchFamily="34" charset="0"/>
              </a:rPr>
              <a:t>Approach</a:t>
            </a:r>
          </a:p>
        </p:txBody>
      </p:sp>
      <p:sp>
        <p:nvSpPr>
          <p:cNvPr id="10" name="TextBox 9">
            <a:extLst>
              <a:ext uri="{FF2B5EF4-FFF2-40B4-BE49-F238E27FC236}">
                <a16:creationId xmlns:a16="http://schemas.microsoft.com/office/drawing/2014/main" id="{36065FC0-B030-CB82-1E04-AC17267E1D52}"/>
              </a:ext>
              <a:ext uri="{C183D7F6-B498-43B3-948B-1728B52AA6E4}">
                <adec:decorative xmlns:adec="http://schemas.microsoft.com/office/drawing/2017/decorative" val="0"/>
              </a:ext>
            </a:extLst>
          </p:cNvPr>
          <p:cNvSpPr txBox="1">
            <a:spLocks/>
          </p:cNvSpPr>
          <p:nvPr/>
        </p:nvSpPr>
        <p:spPr>
          <a:xfrm>
            <a:off x="6443151" y="2865551"/>
            <a:ext cx="4543752" cy="906764"/>
          </a:xfrm>
          <a:prstGeom prst="roundRect">
            <a:avLst>
              <a:gd name="adj" fmla="val 15219"/>
            </a:avLst>
          </a:prstGeom>
          <a:solidFill>
            <a:srgbClr val="194449">
              <a:alpha val="10000"/>
            </a:srgbClr>
          </a:solidFill>
        </p:spPr>
        <p:txBody>
          <a:bodyPr wrap="square" lIns="1280160" tIns="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AI Business Solutions</a:t>
            </a:r>
          </a:p>
        </p:txBody>
      </p:sp>
      <p:pic>
        <p:nvPicPr>
          <p:cNvPr id="13" name="Picture 12">
            <a:extLst>
              <a:ext uri="{FF2B5EF4-FFF2-40B4-BE49-F238E27FC236}">
                <a16:creationId xmlns:a16="http://schemas.microsoft.com/office/drawing/2014/main" id="{6C20E40E-2770-2EAF-3D69-259BD7396B14}"/>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78579" y="3136816"/>
            <a:ext cx="364234" cy="364234"/>
          </a:xfrm>
          <a:prstGeom prst="rect">
            <a:avLst/>
          </a:prstGeom>
        </p:spPr>
      </p:pic>
      <p:sp>
        <p:nvSpPr>
          <p:cNvPr id="11" name="TextBox 10">
            <a:extLst>
              <a:ext uri="{FF2B5EF4-FFF2-40B4-BE49-F238E27FC236}">
                <a16:creationId xmlns:a16="http://schemas.microsoft.com/office/drawing/2014/main" id="{CE28D41C-D9FF-129C-2415-9866C5C9C497}"/>
              </a:ext>
              <a:ext uri="{C183D7F6-B498-43B3-948B-1728B52AA6E4}">
                <adec:decorative xmlns:adec="http://schemas.microsoft.com/office/drawing/2017/decorative" val="0"/>
              </a:ext>
            </a:extLst>
          </p:cNvPr>
          <p:cNvSpPr txBox="1">
            <a:spLocks/>
          </p:cNvSpPr>
          <p:nvPr/>
        </p:nvSpPr>
        <p:spPr>
          <a:xfrm>
            <a:off x="6443151" y="3815571"/>
            <a:ext cx="4543752" cy="906764"/>
          </a:xfrm>
          <a:prstGeom prst="roundRect">
            <a:avLst>
              <a:gd name="adj" fmla="val 15585"/>
            </a:avLst>
          </a:prstGeom>
          <a:solidFill>
            <a:srgbClr val="194449">
              <a:alpha val="10000"/>
            </a:srgbClr>
          </a:solidFill>
        </p:spPr>
        <p:txBody>
          <a:bodyPr wrap="square" lIns="128016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Cloud &amp; AI Platforms</a:t>
            </a:r>
          </a:p>
        </p:txBody>
      </p:sp>
      <p:pic>
        <p:nvPicPr>
          <p:cNvPr id="14" name="Picture 13">
            <a:extLst>
              <a:ext uri="{FF2B5EF4-FFF2-40B4-BE49-F238E27FC236}">
                <a16:creationId xmlns:a16="http://schemas.microsoft.com/office/drawing/2014/main" id="{976D1650-5F43-E9F9-B15E-1145E4D8C811}"/>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90838" y="4099095"/>
            <a:ext cx="339717" cy="339716"/>
          </a:xfrm>
          <a:prstGeom prst="rect">
            <a:avLst/>
          </a:prstGeom>
        </p:spPr>
      </p:pic>
      <p:sp>
        <p:nvSpPr>
          <p:cNvPr id="12" name="TextBox 11">
            <a:extLst>
              <a:ext uri="{FF2B5EF4-FFF2-40B4-BE49-F238E27FC236}">
                <a16:creationId xmlns:a16="http://schemas.microsoft.com/office/drawing/2014/main" id="{66616418-E3F5-0135-87D9-C6171DFE7048}"/>
              </a:ext>
              <a:ext uri="{C183D7F6-B498-43B3-948B-1728B52AA6E4}">
                <adec:decorative xmlns:adec="http://schemas.microsoft.com/office/drawing/2017/decorative" val="0"/>
              </a:ext>
            </a:extLst>
          </p:cNvPr>
          <p:cNvSpPr txBox="1">
            <a:spLocks/>
          </p:cNvSpPr>
          <p:nvPr/>
        </p:nvSpPr>
        <p:spPr>
          <a:xfrm>
            <a:off x="6443151" y="4765593"/>
            <a:ext cx="4543752" cy="906764"/>
          </a:xfrm>
          <a:prstGeom prst="roundRect">
            <a:avLst>
              <a:gd name="adj" fmla="val 15684"/>
            </a:avLst>
          </a:prstGeom>
          <a:solidFill>
            <a:srgbClr val="194449">
              <a:alpha val="10000"/>
            </a:srgbClr>
          </a:solidFill>
        </p:spPr>
        <p:txBody>
          <a:bodyPr wrap="square" lIns="128016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marL="0" marR="0" lvl="0" indent="0" algn="l" defTabSz="2275850" rtl="0" eaLnBrk="1" fontAlgn="base" latinLnBrk="0" hangingPunct="1">
              <a:lnSpc>
                <a:spcPct val="100000"/>
              </a:lnSpc>
              <a:spcBef>
                <a:spcPts val="20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rPr>
              <a:t>Security</a:t>
            </a:r>
          </a:p>
        </p:txBody>
      </p:sp>
      <p:pic>
        <p:nvPicPr>
          <p:cNvPr id="15" name="Picture 8">
            <a:extLst>
              <a:ext uri="{FF2B5EF4-FFF2-40B4-BE49-F238E27FC236}">
                <a16:creationId xmlns:a16="http://schemas.microsoft.com/office/drawing/2014/main" id="{B4138EF5-F30D-9DCB-96FD-5714438B3101}"/>
              </a:ext>
              <a:ext uri="{C183D7F6-B498-43B3-948B-1728B52AA6E4}">
                <adec:decorative xmlns:adec="http://schemas.microsoft.com/office/drawing/2017/decorative" val="1"/>
              </a:ext>
            </a:extLst>
          </p:cNvPr>
          <p:cNvPicPr>
            <a:picLocks noChangeAspect="1"/>
          </p:cNvPicPr>
          <p:nvPr/>
        </p:nvPicPr>
        <p:blipFill>
          <a:blip r:embed="rId13"/>
          <a:srcRect t="13346" b="12252"/>
          <a:stretch/>
        </p:blipFill>
        <p:spPr>
          <a:xfrm>
            <a:off x="7262988" y="5071879"/>
            <a:ext cx="395416" cy="294192"/>
          </a:xfrm>
          <a:prstGeom prst="rect">
            <a:avLst/>
          </a:prstGeom>
        </p:spPr>
      </p:pic>
    </p:spTree>
    <p:extLst>
      <p:ext uri="{BB962C8B-B14F-4D97-AF65-F5344CB8AC3E}">
        <p14:creationId xmlns:p14="http://schemas.microsoft.com/office/powerpoint/2010/main" val="148464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26617-CD63-B8DF-0DF4-582B11C8015D}"/>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4A668427-5A93-2F9F-B7E2-7460CEBD57A3}"/>
              </a:ext>
              <a:ext uri="{C183D7F6-B498-43B3-948B-1728B52AA6E4}">
                <adec:decorative xmlns:adec="http://schemas.microsoft.com/office/drawing/2017/decorative" val="1"/>
              </a:ext>
            </a:extLst>
          </p:cNvPr>
          <p:cNvSpPr txBox="1">
            <a:spLocks/>
          </p:cNvSpPr>
          <p:nvPr/>
        </p:nvSpPr>
        <p:spPr>
          <a:xfrm>
            <a:off x="588263" y="1436688"/>
            <a:ext cx="11018520" cy="4925488"/>
          </a:xfrm>
          <a:prstGeom prst="roundRect">
            <a:avLst>
              <a:gd name="adj" fmla="val 4786"/>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cs typeface="Segoe UI" pitchFamily="34" charset="0"/>
            </a:endParaRPr>
          </a:p>
        </p:txBody>
      </p:sp>
      <p:sp>
        <p:nvSpPr>
          <p:cNvPr id="15" name="Rectangle: Rounded Corners 14">
            <a:extLst>
              <a:ext uri="{FF2B5EF4-FFF2-40B4-BE49-F238E27FC236}">
                <a16:creationId xmlns:a16="http://schemas.microsoft.com/office/drawing/2014/main" id="{005181D8-3E7E-567F-6619-2A0A7C121300}"/>
              </a:ext>
              <a:ext uri="{C183D7F6-B498-43B3-948B-1728B52AA6E4}">
                <adec:decorative xmlns:adec="http://schemas.microsoft.com/office/drawing/2017/decorative" val="1"/>
              </a:ext>
            </a:extLst>
          </p:cNvPr>
          <p:cNvSpPr>
            <a:spLocks/>
          </p:cNvSpPr>
          <p:nvPr/>
        </p:nvSpPr>
        <p:spPr bwMode="auto">
          <a:xfrm>
            <a:off x="721599" y="1573848"/>
            <a:ext cx="2584331" cy="4651168"/>
          </a:xfrm>
          <a:prstGeom prst="roundRect">
            <a:avLst>
              <a:gd name="adj" fmla="val 5275"/>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7" name="Rectangle: Rounded Corners 16">
            <a:extLst>
              <a:ext uri="{FF2B5EF4-FFF2-40B4-BE49-F238E27FC236}">
                <a16:creationId xmlns:a16="http://schemas.microsoft.com/office/drawing/2014/main" id="{430290D6-77D5-D93F-506D-39D01E0DF9E8}"/>
              </a:ext>
              <a:ext uri="{C183D7F6-B498-43B3-948B-1728B52AA6E4}">
                <adec:decorative xmlns:adec="http://schemas.microsoft.com/office/drawing/2017/decorative" val="1"/>
              </a:ext>
            </a:extLst>
          </p:cNvPr>
          <p:cNvSpPr>
            <a:spLocks/>
          </p:cNvSpPr>
          <p:nvPr/>
        </p:nvSpPr>
        <p:spPr bwMode="auto">
          <a:xfrm>
            <a:off x="8886071" y="1573848"/>
            <a:ext cx="2584331" cy="4651168"/>
          </a:xfrm>
          <a:prstGeom prst="roundRect">
            <a:avLst>
              <a:gd name="adj" fmla="val 5275"/>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 name="Rectangle: Rounded Corners 19">
            <a:extLst>
              <a:ext uri="{FF2B5EF4-FFF2-40B4-BE49-F238E27FC236}">
                <a16:creationId xmlns:a16="http://schemas.microsoft.com/office/drawing/2014/main" id="{0F75BFFC-EFCB-DB0E-1B97-2B4EA059555E}"/>
              </a:ext>
              <a:ext uri="{C183D7F6-B498-43B3-948B-1728B52AA6E4}">
                <adec:decorative xmlns:adec="http://schemas.microsoft.com/office/drawing/2017/decorative" val="1"/>
              </a:ext>
            </a:extLst>
          </p:cNvPr>
          <p:cNvSpPr>
            <a:spLocks/>
          </p:cNvSpPr>
          <p:nvPr/>
        </p:nvSpPr>
        <p:spPr bwMode="auto">
          <a:xfrm>
            <a:off x="3443089" y="1573848"/>
            <a:ext cx="2584331" cy="4651168"/>
          </a:xfrm>
          <a:prstGeom prst="roundRect">
            <a:avLst>
              <a:gd name="adj" fmla="val 5275"/>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2" name="Rectangle: Rounded Corners 21">
            <a:extLst>
              <a:ext uri="{FF2B5EF4-FFF2-40B4-BE49-F238E27FC236}">
                <a16:creationId xmlns:a16="http://schemas.microsoft.com/office/drawing/2014/main" id="{F2557B76-3BBA-0F77-A9DF-ACE99D7AF8C2}"/>
              </a:ext>
              <a:ext uri="{C183D7F6-B498-43B3-948B-1728B52AA6E4}">
                <adec:decorative xmlns:adec="http://schemas.microsoft.com/office/drawing/2017/decorative" val="1"/>
              </a:ext>
            </a:extLst>
          </p:cNvPr>
          <p:cNvSpPr>
            <a:spLocks/>
          </p:cNvSpPr>
          <p:nvPr/>
        </p:nvSpPr>
        <p:spPr bwMode="auto">
          <a:xfrm>
            <a:off x="6164580" y="1573848"/>
            <a:ext cx="2584331" cy="4651168"/>
          </a:xfrm>
          <a:prstGeom prst="roundRect">
            <a:avLst>
              <a:gd name="adj" fmla="val 5275"/>
            </a:avLst>
          </a:prstGeom>
          <a:solidFill>
            <a:schemeClr val="bg1">
              <a:alpha val="65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7" name="Oval 26">
            <a:extLst>
              <a:ext uri="{FF2B5EF4-FFF2-40B4-BE49-F238E27FC236}">
                <a16:creationId xmlns:a16="http://schemas.microsoft.com/office/drawing/2014/main" id="{A1AF2AC1-2445-FD0B-C577-BF5EA1913D77}"/>
              </a:ext>
              <a:ext uri="{C183D7F6-B498-43B3-948B-1728B52AA6E4}">
                <adec:decorative xmlns:adec="http://schemas.microsoft.com/office/drawing/2017/decorative" val="1"/>
              </a:ext>
            </a:extLst>
          </p:cNvPr>
          <p:cNvSpPr/>
          <p:nvPr/>
        </p:nvSpPr>
        <p:spPr bwMode="auto">
          <a:xfrm>
            <a:off x="1701316" y="1834098"/>
            <a:ext cx="624898" cy="62489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6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30" name="Graphic 30">
            <a:extLst>
              <a:ext uri="{FF2B5EF4-FFF2-40B4-BE49-F238E27FC236}">
                <a16:creationId xmlns:a16="http://schemas.microsoft.com/office/drawing/2014/main" id="{F684C2C2-F110-5331-DCE8-A123BA2D1514}"/>
              </a:ext>
              <a:ext uri="{C183D7F6-B498-43B3-948B-1728B52AA6E4}">
                <adec:decorative xmlns:adec="http://schemas.microsoft.com/office/drawing/2017/decorative" val="1"/>
              </a:ext>
            </a:extLst>
          </p:cNvPr>
          <p:cNvSpPr>
            <a:spLocks noChangeAspect="1"/>
          </p:cNvSpPr>
          <p:nvPr/>
        </p:nvSpPr>
        <p:spPr>
          <a:xfrm>
            <a:off x="1867444" y="2022176"/>
            <a:ext cx="292642" cy="248742"/>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chemeClr val="bg1"/>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cxnSp>
        <p:nvCxnSpPr>
          <p:cNvPr id="31" name="Straight Connector 30">
            <a:extLst>
              <a:ext uri="{FF2B5EF4-FFF2-40B4-BE49-F238E27FC236}">
                <a16:creationId xmlns:a16="http://schemas.microsoft.com/office/drawing/2014/main" id="{2579EC6D-F964-0FD3-2DAF-66BAF21D19A8}"/>
              </a:ext>
              <a:ext uri="{C183D7F6-B498-43B3-948B-1728B52AA6E4}">
                <adec:decorative xmlns:adec="http://schemas.microsoft.com/office/drawing/2017/decorative" val="1"/>
              </a:ext>
            </a:extLst>
          </p:cNvPr>
          <p:cNvCxnSpPr>
            <a:cxnSpLocks/>
          </p:cNvCxnSpPr>
          <p:nvPr/>
        </p:nvCxnSpPr>
        <p:spPr>
          <a:xfrm flipH="1">
            <a:off x="789029" y="3276671"/>
            <a:ext cx="244947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7A6F886-CDDF-2AF7-9BF5-CD80D0CC0736}"/>
              </a:ext>
              <a:ext uri="{C183D7F6-B498-43B3-948B-1728B52AA6E4}">
                <adec:decorative xmlns:adec="http://schemas.microsoft.com/office/drawing/2017/decorative" val="1"/>
              </a:ext>
            </a:extLst>
          </p:cNvPr>
          <p:cNvCxnSpPr>
            <a:cxnSpLocks/>
          </p:cNvCxnSpPr>
          <p:nvPr/>
        </p:nvCxnSpPr>
        <p:spPr>
          <a:xfrm flipH="1">
            <a:off x="3510519" y="3276671"/>
            <a:ext cx="244947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21A319-DF0B-69FD-66CE-C27821424DF0}"/>
              </a:ext>
              <a:ext uri="{C183D7F6-B498-43B3-948B-1728B52AA6E4}">
                <adec:decorative xmlns:adec="http://schemas.microsoft.com/office/drawing/2017/decorative" val="1"/>
              </a:ext>
            </a:extLst>
          </p:cNvPr>
          <p:cNvCxnSpPr>
            <a:cxnSpLocks/>
          </p:cNvCxnSpPr>
          <p:nvPr/>
        </p:nvCxnSpPr>
        <p:spPr>
          <a:xfrm flipH="1">
            <a:off x="6232011" y="3276671"/>
            <a:ext cx="244947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BDA0575-3750-59F2-ACC8-C45F4F01FFB3}"/>
              </a:ext>
              <a:ext uri="{C183D7F6-B498-43B3-948B-1728B52AA6E4}">
                <adec:decorative xmlns:adec="http://schemas.microsoft.com/office/drawing/2017/decorative" val="1"/>
              </a:ext>
            </a:extLst>
          </p:cNvPr>
          <p:cNvCxnSpPr>
            <a:cxnSpLocks/>
          </p:cNvCxnSpPr>
          <p:nvPr/>
        </p:nvCxnSpPr>
        <p:spPr>
          <a:xfrm flipH="1">
            <a:off x="8953501" y="3276671"/>
            <a:ext cx="244947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2ED3E70E-B613-C29E-B3E4-75DA5FA5AEC7}"/>
              </a:ext>
              <a:ext uri="{C183D7F6-B498-43B3-948B-1728B52AA6E4}">
                <adec:decorative xmlns:adec="http://schemas.microsoft.com/office/drawing/2017/decorative" val="1"/>
              </a:ext>
            </a:extLst>
          </p:cNvPr>
          <p:cNvSpPr/>
          <p:nvPr/>
        </p:nvSpPr>
        <p:spPr bwMode="auto">
          <a:xfrm>
            <a:off x="4422805" y="1834098"/>
            <a:ext cx="624898" cy="62489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6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40" name="Oval 39">
            <a:extLst>
              <a:ext uri="{FF2B5EF4-FFF2-40B4-BE49-F238E27FC236}">
                <a16:creationId xmlns:a16="http://schemas.microsoft.com/office/drawing/2014/main" id="{2ECE4CE1-C3FE-CBB7-475F-548A90996842}"/>
              </a:ext>
              <a:ext uri="{C183D7F6-B498-43B3-948B-1728B52AA6E4}">
                <adec:decorative xmlns:adec="http://schemas.microsoft.com/office/drawing/2017/decorative" val="1"/>
              </a:ext>
            </a:extLst>
          </p:cNvPr>
          <p:cNvSpPr/>
          <p:nvPr/>
        </p:nvSpPr>
        <p:spPr bwMode="auto">
          <a:xfrm>
            <a:off x="7144296" y="1834098"/>
            <a:ext cx="624898" cy="62489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6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41" name="Oval 40">
            <a:extLst>
              <a:ext uri="{FF2B5EF4-FFF2-40B4-BE49-F238E27FC236}">
                <a16:creationId xmlns:a16="http://schemas.microsoft.com/office/drawing/2014/main" id="{337AA761-D4DC-59A3-FFA7-839E91AB2D26}"/>
              </a:ext>
              <a:ext uri="{C183D7F6-B498-43B3-948B-1728B52AA6E4}">
                <adec:decorative xmlns:adec="http://schemas.microsoft.com/office/drawing/2017/decorative" val="1"/>
              </a:ext>
            </a:extLst>
          </p:cNvPr>
          <p:cNvSpPr/>
          <p:nvPr/>
        </p:nvSpPr>
        <p:spPr bwMode="auto">
          <a:xfrm>
            <a:off x="9865787" y="1834098"/>
            <a:ext cx="624898" cy="624898"/>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5"/>
              </a:spcBef>
              <a:spcAft>
                <a:spcPts val="0"/>
              </a:spcAft>
              <a:buClrTx/>
              <a:buSzTx/>
              <a:buFontTx/>
              <a:buNone/>
              <a:tabLst>
                <a:tab pos="5665570" algn="l"/>
              </a:tabLst>
              <a:defRPr/>
            </a:pPr>
            <a:endParaRPr kumimoji="0" lang="en-US" sz="16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45" name="Graphic 27">
            <a:extLst>
              <a:ext uri="{FF2B5EF4-FFF2-40B4-BE49-F238E27FC236}">
                <a16:creationId xmlns:a16="http://schemas.microsoft.com/office/drawing/2014/main" id="{8C97F9F9-9FCD-A2F8-BB7A-792616DF857B}"/>
              </a:ext>
              <a:ext uri="{C183D7F6-B498-43B3-948B-1728B52AA6E4}">
                <adec:decorative xmlns:adec="http://schemas.microsoft.com/office/drawing/2017/decorative" val="1"/>
              </a:ext>
            </a:extLst>
          </p:cNvPr>
          <p:cNvSpPr>
            <a:spLocks noChangeAspect="1"/>
          </p:cNvSpPr>
          <p:nvPr/>
        </p:nvSpPr>
        <p:spPr>
          <a:xfrm>
            <a:off x="4567515" y="1996024"/>
            <a:ext cx="335478" cy="301046"/>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chemeClr val="bg1"/>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46" name="Graphic 20">
            <a:extLst>
              <a:ext uri="{FF2B5EF4-FFF2-40B4-BE49-F238E27FC236}">
                <a16:creationId xmlns:a16="http://schemas.microsoft.com/office/drawing/2014/main" id="{0FB1ABA9-7BAC-3435-B554-BA90715DE6F8}"/>
              </a:ext>
              <a:ext uri="{C183D7F6-B498-43B3-948B-1728B52AA6E4}">
                <adec:decorative xmlns:adec="http://schemas.microsoft.com/office/drawing/2017/decorative" val="1"/>
              </a:ext>
            </a:extLst>
          </p:cNvPr>
          <p:cNvSpPr>
            <a:spLocks noChangeAspect="1"/>
          </p:cNvSpPr>
          <p:nvPr/>
        </p:nvSpPr>
        <p:spPr>
          <a:xfrm>
            <a:off x="7286346" y="1969085"/>
            <a:ext cx="340798" cy="354924"/>
          </a:xfrm>
          <a:custGeom>
            <a:avLst/>
            <a:gdLst>
              <a:gd name="connsiteX0" fmla="*/ 213265 w 426043"/>
              <a:gd name="connsiteY0" fmla="*/ 0 h 443705"/>
              <a:gd name="connsiteX1" fmla="*/ 262903 w 426043"/>
              <a:gd name="connsiteY1" fmla="*/ 5758 h 443705"/>
              <a:gd name="connsiteX2" fmla="*/ 276148 w 426043"/>
              <a:gd name="connsiteY2" fmla="*/ 20523 h 443705"/>
              <a:gd name="connsiteX3" fmla="*/ 280021 w 426043"/>
              <a:gd name="connsiteY3" fmla="*/ 55266 h 443705"/>
              <a:gd name="connsiteX4" fmla="*/ 311299 w 426043"/>
              <a:gd name="connsiteY4" fmla="*/ 83316 h 443705"/>
              <a:gd name="connsiteX5" fmla="*/ 323873 w 426043"/>
              <a:gd name="connsiteY5" fmla="*/ 80660 h 443705"/>
              <a:gd name="connsiteX6" fmla="*/ 355742 w 426043"/>
              <a:gd name="connsiteY6" fmla="*/ 66660 h 443705"/>
              <a:gd name="connsiteX7" fmla="*/ 375063 w 426043"/>
              <a:gd name="connsiteY7" fmla="*/ 70620 h 443705"/>
              <a:gd name="connsiteX8" fmla="*/ 425231 w 426043"/>
              <a:gd name="connsiteY8" fmla="*/ 156903 h 443705"/>
              <a:gd name="connsiteX9" fmla="*/ 419058 w 426043"/>
              <a:gd name="connsiteY9" fmla="*/ 175696 h 443705"/>
              <a:gd name="connsiteX10" fmla="*/ 390809 w 426043"/>
              <a:gd name="connsiteY10" fmla="*/ 196519 h 443705"/>
              <a:gd name="connsiteX11" fmla="*/ 377991 w 426043"/>
              <a:gd name="connsiteY11" fmla="*/ 221842 h 443705"/>
              <a:gd name="connsiteX12" fmla="*/ 390827 w 426043"/>
              <a:gd name="connsiteY12" fmla="*/ 247176 h 443705"/>
              <a:gd name="connsiteX13" fmla="*/ 419099 w 426043"/>
              <a:gd name="connsiteY13" fmla="*/ 268005 h 443705"/>
              <a:gd name="connsiteX14" fmla="*/ 425277 w 426043"/>
              <a:gd name="connsiteY14" fmla="*/ 286800 h 443705"/>
              <a:gd name="connsiteX15" fmla="*/ 375136 w 426043"/>
              <a:gd name="connsiteY15" fmla="*/ 373080 h 443705"/>
              <a:gd name="connsiteX16" fmla="*/ 355826 w 426043"/>
              <a:gd name="connsiteY16" fmla="*/ 377050 h 443705"/>
              <a:gd name="connsiteX17" fmla="*/ 323827 w 426043"/>
              <a:gd name="connsiteY17" fmla="*/ 363031 h 443705"/>
              <a:gd name="connsiteX18" fmla="*/ 295505 w 426043"/>
              <a:gd name="connsiteY18" fmla="*/ 364613 h 443705"/>
              <a:gd name="connsiteX19" fmla="*/ 279998 w 426043"/>
              <a:gd name="connsiteY19" fmla="*/ 388361 h 443705"/>
              <a:gd name="connsiteX20" fmla="*/ 276150 w 426043"/>
              <a:gd name="connsiteY20" fmla="*/ 423100 h 443705"/>
              <a:gd name="connsiteX21" fmla="*/ 263137 w 426043"/>
              <a:gd name="connsiteY21" fmla="*/ 437824 h 443705"/>
              <a:gd name="connsiteX22" fmla="*/ 162883 w 426043"/>
              <a:gd name="connsiteY22" fmla="*/ 437824 h 443705"/>
              <a:gd name="connsiteX23" fmla="*/ 149871 w 426043"/>
              <a:gd name="connsiteY23" fmla="*/ 423100 h 443705"/>
              <a:gd name="connsiteX24" fmla="*/ 146030 w 426043"/>
              <a:gd name="connsiteY24" fmla="*/ 388414 h 443705"/>
              <a:gd name="connsiteX25" fmla="*/ 130490 w 426043"/>
              <a:gd name="connsiteY25" fmla="*/ 364727 h 443705"/>
              <a:gd name="connsiteX26" fmla="*/ 102224 w 426043"/>
              <a:gd name="connsiteY26" fmla="*/ 363143 h 443705"/>
              <a:gd name="connsiteX27" fmla="*/ 70218 w 426043"/>
              <a:gd name="connsiteY27" fmla="*/ 377164 h 443705"/>
              <a:gd name="connsiteX28" fmla="*/ 50904 w 426043"/>
              <a:gd name="connsiteY28" fmla="*/ 373189 h 443705"/>
              <a:gd name="connsiteX29" fmla="*/ 763 w 426043"/>
              <a:gd name="connsiteY29" fmla="*/ 286812 h 443705"/>
              <a:gd name="connsiteX30" fmla="*/ 6945 w 426043"/>
              <a:gd name="connsiteY30" fmla="*/ 268028 h 443705"/>
              <a:gd name="connsiteX31" fmla="*/ 35236 w 426043"/>
              <a:gd name="connsiteY31" fmla="*/ 247185 h 443705"/>
              <a:gd name="connsiteX32" fmla="*/ 48053 w 426043"/>
              <a:gd name="connsiteY32" fmla="*/ 221865 h 443705"/>
              <a:gd name="connsiteX33" fmla="*/ 35225 w 426043"/>
              <a:gd name="connsiteY33" fmla="*/ 196535 h 443705"/>
              <a:gd name="connsiteX34" fmla="*/ 6952 w 426043"/>
              <a:gd name="connsiteY34" fmla="*/ 175727 h 443705"/>
              <a:gd name="connsiteX35" fmla="*/ 767 w 426043"/>
              <a:gd name="connsiteY35" fmla="*/ 156926 h 443705"/>
              <a:gd name="connsiteX36" fmla="*/ 50935 w 426043"/>
              <a:gd name="connsiteY36" fmla="*/ 70643 h 443705"/>
              <a:gd name="connsiteX37" fmla="*/ 70256 w 426043"/>
              <a:gd name="connsiteY37" fmla="*/ 66682 h 443705"/>
              <a:gd name="connsiteX38" fmla="*/ 102120 w 426043"/>
              <a:gd name="connsiteY38" fmla="*/ 80680 h 443705"/>
              <a:gd name="connsiteX39" fmla="*/ 130521 w 426043"/>
              <a:gd name="connsiteY39" fmla="*/ 79018 h 443705"/>
              <a:gd name="connsiteX40" fmla="*/ 146048 w 426043"/>
              <a:gd name="connsiteY40" fmla="*/ 55239 h 443705"/>
              <a:gd name="connsiteX41" fmla="*/ 149918 w 426043"/>
              <a:gd name="connsiteY41" fmla="*/ 20523 h 443705"/>
              <a:gd name="connsiteX42" fmla="*/ 163174 w 426043"/>
              <a:gd name="connsiteY42" fmla="*/ 5755 h 443705"/>
              <a:gd name="connsiteX43" fmla="*/ 213265 w 426043"/>
              <a:gd name="connsiteY43" fmla="*/ 0 h 443705"/>
              <a:gd name="connsiteX44" fmla="*/ 212980 w 426043"/>
              <a:gd name="connsiteY44" fmla="*/ 153590 h 443705"/>
              <a:gd name="connsiteX45" fmla="*/ 144718 w 426043"/>
              <a:gd name="connsiteY45" fmla="*/ 221853 h 443705"/>
              <a:gd name="connsiteX46" fmla="*/ 212980 w 426043"/>
              <a:gd name="connsiteY46" fmla="*/ 290116 h 443705"/>
              <a:gd name="connsiteX47" fmla="*/ 281243 w 426043"/>
              <a:gd name="connsiteY47" fmla="*/ 221853 h 443705"/>
              <a:gd name="connsiteX48" fmla="*/ 212980 w 426043"/>
              <a:gd name="connsiteY48" fmla="*/ 153590 h 44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6043" h="443705">
                <a:moveTo>
                  <a:pt x="213265" y="0"/>
                </a:moveTo>
                <a:cubicBezTo>
                  <a:pt x="229966" y="193"/>
                  <a:pt x="246602" y="2122"/>
                  <a:pt x="262903" y="5758"/>
                </a:cubicBezTo>
                <a:cubicBezTo>
                  <a:pt x="270018" y="7345"/>
                  <a:pt x="275340" y="13277"/>
                  <a:pt x="276148" y="20523"/>
                </a:cubicBezTo>
                <a:lnTo>
                  <a:pt x="280021" y="55266"/>
                </a:lnTo>
                <a:cubicBezTo>
                  <a:pt x="281775" y="71217"/>
                  <a:pt x="295243" y="83299"/>
                  <a:pt x="311299" y="83316"/>
                </a:cubicBezTo>
                <a:cubicBezTo>
                  <a:pt x="315615" y="83323"/>
                  <a:pt x="319884" y="82424"/>
                  <a:pt x="323873" y="80660"/>
                </a:cubicBezTo>
                <a:lnTo>
                  <a:pt x="355742" y="66660"/>
                </a:lnTo>
                <a:cubicBezTo>
                  <a:pt x="362370" y="63748"/>
                  <a:pt x="370116" y="65335"/>
                  <a:pt x="375063" y="70620"/>
                </a:cubicBezTo>
                <a:cubicBezTo>
                  <a:pt x="398094" y="95218"/>
                  <a:pt x="415247" y="124719"/>
                  <a:pt x="425231" y="156903"/>
                </a:cubicBezTo>
                <a:cubicBezTo>
                  <a:pt x="427384" y="163843"/>
                  <a:pt x="424906" y="171385"/>
                  <a:pt x="419058" y="175696"/>
                </a:cubicBezTo>
                <a:lnTo>
                  <a:pt x="390809" y="196519"/>
                </a:lnTo>
                <a:cubicBezTo>
                  <a:pt x="382749" y="202439"/>
                  <a:pt x="377991" y="211841"/>
                  <a:pt x="377991" y="221842"/>
                </a:cubicBezTo>
                <a:cubicBezTo>
                  <a:pt x="377991" y="231840"/>
                  <a:pt x="382749" y="241242"/>
                  <a:pt x="390827" y="247176"/>
                </a:cubicBezTo>
                <a:lnTo>
                  <a:pt x="419099" y="268005"/>
                </a:lnTo>
                <a:cubicBezTo>
                  <a:pt x="424949" y="272315"/>
                  <a:pt x="427429" y="279858"/>
                  <a:pt x="425277" y="286800"/>
                </a:cubicBezTo>
                <a:cubicBezTo>
                  <a:pt x="415297" y="318979"/>
                  <a:pt x="398154" y="348478"/>
                  <a:pt x="375136" y="373080"/>
                </a:cubicBezTo>
                <a:cubicBezTo>
                  <a:pt x="370193" y="378363"/>
                  <a:pt x="362455" y="379956"/>
                  <a:pt x="355826" y="377050"/>
                </a:cubicBezTo>
                <a:lnTo>
                  <a:pt x="323827" y="363031"/>
                </a:lnTo>
                <a:cubicBezTo>
                  <a:pt x="314671" y="359024"/>
                  <a:pt x="304158" y="359611"/>
                  <a:pt x="295505" y="364613"/>
                </a:cubicBezTo>
                <a:cubicBezTo>
                  <a:pt x="286854" y="369612"/>
                  <a:pt x="281097" y="378429"/>
                  <a:pt x="279998" y="388361"/>
                </a:cubicBezTo>
                <a:lnTo>
                  <a:pt x="276150" y="423100"/>
                </a:lnTo>
                <a:cubicBezTo>
                  <a:pt x="275356" y="430263"/>
                  <a:pt x="270150" y="436156"/>
                  <a:pt x="263137" y="437824"/>
                </a:cubicBezTo>
                <a:cubicBezTo>
                  <a:pt x="230180" y="445665"/>
                  <a:pt x="195842" y="445665"/>
                  <a:pt x="162883" y="437824"/>
                </a:cubicBezTo>
                <a:cubicBezTo>
                  <a:pt x="155872" y="436156"/>
                  <a:pt x="150665" y="430263"/>
                  <a:pt x="149871" y="423100"/>
                </a:cubicBezTo>
                <a:lnTo>
                  <a:pt x="146030" y="388414"/>
                </a:lnTo>
                <a:cubicBezTo>
                  <a:pt x="144901" y="378500"/>
                  <a:pt x="139135" y="369710"/>
                  <a:pt x="130490" y="364727"/>
                </a:cubicBezTo>
                <a:cubicBezTo>
                  <a:pt x="121845" y="359743"/>
                  <a:pt x="111349" y="359159"/>
                  <a:pt x="102224" y="363143"/>
                </a:cubicBezTo>
                <a:lnTo>
                  <a:pt x="70218" y="377164"/>
                </a:lnTo>
                <a:cubicBezTo>
                  <a:pt x="63588" y="380070"/>
                  <a:pt x="55847" y="378477"/>
                  <a:pt x="50904" y="373189"/>
                </a:cubicBezTo>
                <a:cubicBezTo>
                  <a:pt x="27873" y="348560"/>
                  <a:pt x="10730" y="319025"/>
                  <a:pt x="763" y="286812"/>
                </a:cubicBezTo>
                <a:cubicBezTo>
                  <a:pt x="-1383" y="279874"/>
                  <a:pt x="1097" y="272336"/>
                  <a:pt x="6945" y="268028"/>
                </a:cubicBezTo>
                <a:lnTo>
                  <a:pt x="35236" y="247185"/>
                </a:lnTo>
                <a:cubicBezTo>
                  <a:pt x="43294" y="241265"/>
                  <a:pt x="48053" y="231863"/>
                  <a:pt x="48053" y="221865"/>
                </a:cubicBezTo>
                <a:cubicBezTo>
                  <a:pt x="48053" y="211864"/>
                  <a:pt x="43294" y="202462"/>
                  <a:pt x="35225" y="196535"/>
                </a:cubicBezTo>
                <a:lnTo>
                  <a:pt x="6952" y="175727"/>
                </a:lnTo>
                <a:cubicBezTo>
                  <a:pt x="1096" y="171417"/>
                  <a:pt x="-1387" y="163871"/>
                  <a:pt x="767" y="156926"/>
                </a:cubicBezTo>
                <a:cubicBezTo>
                  <a:pt x="10751" y="124742"/>
                  <a:pt x="27903" y="95241"/>
                  <a:pt x="50935" y="70643"/>
                </a:cubicBezTo>
                <a:cubicBezTo>
                  <a:pt x="55883" y="65358"/>
                  <a:pt x="63627" y="63771"/>
                  <a:pt x="70256" y="66682"/>
                </a:cubicBezTo>
                <a:lnTo>
                  <a:pt x="102120" y="80680"/>
                </a:lnTo>
                <a:cubicBezTo>
                  <a:pt x="111289" y="84704"/>
                  <a:pt x="121829" y="84096"/>
                  <a:pt x="130521" y="79018"/>
                </a:cubicBezTo>
                <a:cubicBezTo>
                  <a:pt x="139175" y="73999"/>
                  <a:pt x="144936" y="65173"/>
                  <a:pt x="146048" y="55239"/>
                </a:cubicBezTo>
                <a:lnTo>
                  <a:pt x="149918" y="20523"/>
                </a:lnTo>
                <a:cubicBezTo>
                  <a:pt x="150726" y="13274"/>
                  <a:pt x="156053" y="7339"/>
                  <a:pt x="163174" y="5755"/>
                </a:cubicBezTo>
                <a:cubicBezTo>
                  <a:pt x="179495" y="2126"/>
                  <a:pt x="196149" y="197"/>
                  <a:pt x="213265" y="0"/>
                </a:cubicBezTo>
                <a:close/>
                <a:moveTo>
                  <a:pt x="212980" y="153590"/>
                </a:moveTo>
                <a:cubicBezTo>
                  <a:pt x="175279" y="153590"/>
                  <a:pt x="144718" y="184152"/>
                  <a:pt x="144718" y="221853"/>
                </a:cubicBezTo>
                <a:cubicBezTo>
                  <a:pt x="144718" y="259552"/>
                  <a:pt x="175279" y="290116"/>
                  <a:pt x="212980" y="290116"/>
                </a:cubicBezTo>
                <a:cubicBezTo>
                  <a:pt x="250679" y="290116"/>
                  <a:pt x="281243" y="259552"/>
                  <a:pt x="281243" y="221853"/>
                </a:cubicBezTo>
                <a:cubicBezTo>
                  <a:pt x="281243" y="184152"/>
                  <a:pt x="250679" y="153590"/>
                  <a:pt x="212980" y="153590"/>
                </a:cubicBezTo>
                <a:close/>
              </a:path>
            </a:pathLst>
          </a:custGeom>
          <a:solidFill>
            <a:schemeClr val="bg1"/>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47" name="Graphic 11">
            <a:extLst>
              <a:ext uri="{FF2B5EF4-FFF2-40B4-BE49-F238E27FC236}">
                <a16:creationId xmlns:a16="http://schemas.microsoft.com/office/drawing/2014/main" id="{8F89E74D-74E4-31D8-58C7-74137AC1A1D9}"/>
              </a:ext>
              <a:ext uri="{C183D7F6-B498-43B3-948B-1728B52AA6E4}">
                <adec:decorative xmlns:adec="http://schemas.microsoft.com/office/drawing/2017/decorative" val="1"/>
              </a:ext>
            </a:extLst>
          </p:cNvPr>
          <p:cNvSpPr>
            <a:spLocks noChangeAspect="1"/>
          </p:cNvSpPr>
          <p:nvPr/>
        </p:nvSpPr>
        <p:spPr>
          <a:xfrm>
            <a:off x="10062874" y="1987438"/>
            <a:ext cx="230724" cy="318218"/>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chemeClr val="bg1"/>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9" name="Rounded Rectangle 62">
            <a:extLst>
              <a:ext uri="{FF2B5EF4-FFF2-40B4-BE49-F238E27FC236}">
                <a16:creationId xmlns:a16="http://schemas.microsoft.com/office/drawing/2014/main" id="{C6CF5C74-2095-2C42-E0EB-D538F15A83F1}"/>
              </a:ext>
              <a:ext uri="{C183D7F6-B498-43B3-948B-1728B52AA6E4}">
                <adec:decorative xmlns:adec="http://schemas.microsoft.com/office/drawing/2017/decorative" val="0"/>
              </a:ext>
            </a:extLst>
          </p:cNvPr>
          <p:cNvSpPr>
            <a:spLocks noGrp="1"/>
          </p:cNvSpPr>
          <p:nvPr>
            <p:ph type="title"/>
          </p:nvPr>
        </p:nvSpPr>
        <p:spPr bwMode="auto">
          <a:xfrm>
            <a:off x="588263" y="457200"/>
            <a:ext cx="11018520" cy="553998"/>
          </a:xfr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noProof="0"/>
              <a:t>Becoming Frontier | </a:t>
            </a:r>
            <a:r>
              <a:rPr lang="en-US" noProof="0">
                <a:solidFill>
                  <a:schemeClr val="accent2"/>
                </a:solidFill>
              </a:rPr>
              <a:t>Energy and Resources</a:t>
            </a:r>
          </a:p>
        </p:txBody>
      </p:sp>
      <p:sp>
        <p:nvSpPr>
          <p:cNvPr id="48" name="!! 1">
            <a:extLst>
              <a:ext uri="{FF2B5EF4-FFF2-40B4-BE49-F238E27FC236}">
                <a16:creationId xmlns:a16="http://schemas.microsoft.com/office/drawing/2014/main" id="{C693AD53-9156-ED28-9E46-77C6F55BB779}"/>
              </a:ext>
            </a:extLst>
          </p:cNvPr>
          <p:cNvSpPr>
            <a:spLocks/>
          </p:cNvSpPr>
          <p:nvPr/>
        </p:nvSpPr>
        <p:spPr bwMode="auto">
          <a:xfrm>
            <a:off x="910710" y="2589923"/>
            <a:ext cx="2206110" cy="553998"/>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Enrich employee</a:t>
            </a:r>
            <a:br>
              <a:rPr kumimoji="0" lang="en-US" sz="1800" b="0" i="0" u="none" strike="noStrike" kern="1200" cap="none" spc="0" normalizeH="0" baseline="0" noProof="0">
                <a:ln w="3175">
                  <a:noFill/>
                </a:ln>
                <a:solidFill>
                  <a:srgbClr val="000000"/>
                </a:solidFill>
                <a:effectLst/>
                <a:uLnTx/>
                <a:uFillTx/>
                <a:latin typeface="Segoe UI Semibold"/>
                <a:ea typeface="+mn-ea"/>
                <a:cs typeface="+mn-cs"/>
              </a:rPr>
            </a:b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experiences</a:t>
            </a:r>
          </a:p>
        </p:txBody>
      </p:sp>
      <p:sp>
        <p:nvSpPr>
          <p:cNvPr id="26" name="TextBox 25">
            <a:extLst>
              <a:ext uri="{FF2B5EF4-FFF2-40B4-BE49-F238E27FC236}">
                <a16:creationId xmlns:a16="http://schemas.microsoft.com/office/drawing/2014/main" id="{09822FB2-C151-260C-1013-DFD6995C663C}"/>
              </a:ext>
            </a:extLst>
          </p:cNvPr>
          <p:cNvSpPr txBox="1">
            <a:spLocks/>
          </p:cNvSpPr>
          <p:nvPr/>
        </p:nvSpPr>
        <p:spPr>
          <a:xfrm>
            <a:off x="891501" y="3361795"/>
            <a:ext cx="2244526" cy="2041585"/>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enabling AI copilots and agents for field workers to summarize work orders, generate inspection reports, and provide safety guidance in real tim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improving training and upskilling to increase productivity and efficiency</a:t>
            </a:r>
          </a:p>
        </p:txBody>
      </p:sp>
      <p:sp>
        <p:nvSpPr>
          <p:cNvPr id="50" name="!! 1">
            <a:extLst>
              <a:ext uri="{FF2B5EF4-FFF2-40B4-BE49-F238E27FC236}">
                <a16:creationId xmlns:a16="http://schemas.microsoft.com/office/drawing/2014/main" id="{19B971C0-2882-D272-3002-2EF346BE24BB}"/>
              </a:ext>
            </a:extLst>
          </p:cNvPr>
          <p:cNvSpPr>
            <a:spLocks/>
          </p:cNvSpPr>
          <p:nvPr/>
        </p:nvSpPr>
        <p:spPr bwMode="auto">
          <a:xfrm>
            <a:off x="3632199" y="2589923"/>
            <a:ext cx="2206110" cy="553998"/>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Reinvent customer engagement</a:t>
            </a:r>
          </a:p>
        </p:txBody>
      </p:sp>
      <p:sp>
        <p:nvSpPr>
          <p:cNvPr id="42" name="TextBox 41">
            <a:extLst>
              <a:ext uri="{FF2B5EF4-FFF2-40B4-BE49-F238E27FC236}">
                <a16:creationId xmlns:a16="http://schemas.microsoft.com/office/drawing/2014/main" id="{5FB369FA-E99E-74B1-D8C6-72641C8C9754}"/>
              </a:ext>
            </a:extLst>
          </p:cNvPr>
          <p:cNvSpPr txBox="1">
            <a:spLocks/>
          </p:cNvSpPr>
          <p:nvPr/>
        </p:nvSpPr>
        <p:spPr>
          <a:xfrm>
            <a:off x="3558143" y="3361795"/>
            <a:ext cx="2354222" cy="2790508"/>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reducing case volumes, improving response times, and enhancing service consistenc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deploying autonomous agents to handle inquiries, complex issues, and to deliver personalized, real-time update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forecasting market trends and demand to better plan and respond to customers</a:t>
            </a:r>
          </a:p>
        </p:txBody>
      </p:sp>
      <p:sp>
        <p:nvSpPr>
          <p:cNvPr id="52" name="!! 1">
            <a:extLst>
              <a:ext uri="{FF2B5EF4-FFF2-40B4-BE49-F238E27FC236}">
                <a16:creationId xmlns:a16="http://schemas.microsoft.com/office/drawing/2014/main" id="{21DFD4DD-4E69-D82F-EE08-FE76D8ED7AB1}"/>
              </a:ext>
            </a:extLst>
          </p:cNvPr>
          <p:cNvSpPr>
            <a:spLocks/>
          </p:cNvSpPr>
          <p:nvPr/>
        </p:nvSpPr>
        <p:spPr bwMode="auto">
          <a:xfrm>
            <a:off x="6353690" y="2589923"/>
            <a:ext cx="2206110" cy="553998"/>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Reshape business</a:t>
            </a:r>
            <a:br>
              <a:rPr kumimoji="0" lang="en-US" sz="1800" b="0" i="0" u="none" strike="noStrike" kern="1200" cap="none" spc="0" normalizeH="0" baseline="0" noProof="0">
                <a:ln w="3175">
                  <a:noFill/>
                </a:ln>
                <a:solidFill>
                  <a:srgbClr val="000000"/>
                </a:solidFill>
                <a:effectLst/>
                <a:uLnTx/>
                <a:uFillTx/>
                <a:latin typeface="Segoe UI Semibold"/>
                <a:ea typeface="+mn-ea"/>
                <a:cs typeface="+mn-cs"/>
              </a:rPr>
            </a:b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processes</a:t>
            </a:r>
          </a:p>
        </p:txBody>
      </p:sp>
      <p:sp>
        <p:nvSpPr>
          <p:cNvPr id="43" name="TextBox 42">
            <a:extLst>
              <a:ext uri="{FF2B5EF4-FFF2-40B4-BE49-F238E27FC236}">
                <a16:creationId xmlns:a16="http://schemas.microsoft.com/office/drawing/2014/main" id="{7D645C0E-BAF1-7CE4-BBFD-0CE22FD36A38}"/>
              </a:ext>
            </a:extLst>
          </p:cNvPr>
          <p:cNvSpPr txBox="1">
            <a:spLocks/>
          </p:cNvSpPr>
          <p:nvPr/>
        </p:nvSpPr>
        <p:spPr>
          <a:xfrm>
            <a:off x="6334483" y="3361795"/>
            <a:ext cx="2244526" cy="2575064"/>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harnessing AI to optimize supply chains, secure assets, and power intelligent system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forecasting transformer failure or substation degrada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optimizing vegetation management programs with AI vision models and satellite analysis</a:t>
            </a:r>
          </a:p>
        </p:txBody>
      </p:sp>
      <p:sp>
        <p:nvSpPr>
          <p:cNvPr id="54" name="!! 1">
            <a:extLst>
              <a:ext uri="{FF2B5EF4-FFF2-40B4-BE49-F238E27FC236}">
                <a16:creationId xmlns:a16="http://schemas.microsoft.com/office/drawing/2014/main" id="{D20BDD9E-2629-5E6B-6CBE-140EA8283FFE}"/>
              </a:ext>
            </a:extLst>
          </p:cNvPr>
          <p:cNvSpPr>
            <a:spLocks/>
          </p:cNvSpPr>
          <p:nvPr/>
        </p:nvSpPr>
        <p:spPr bwMode="auto">
          <a:xfrm>
            <a:off x="9075181" y="2589923"/>
            <a:ext cx="2206110" cy="553998"/>
          </a:xfrm>
          <a:prstGeom prst="rect">
            <a:avLst/>
          </a:prstGeom>
          <a:noFill/>
          <a:ln w="1587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2413444" rtl="0" eaLnBrk="1" fontAlgn="base" latinLnBrk="0" hangingPunct="1">
              <a:lnSpc>
                <a:spcPct val="100000"/>
              </a:lnSpc>
              <a:spcBef>
                <a:spcPts val="844"/>
              </a:spcBef>
              <a:spcAft>
                <a:spcPct val="0"/>
              </a:spcAft>
              <a:buClrTx/>
              <a:buSzTx/>
              <a:buFontTx/>
              <a:buNone/>
              <a:tabLst>
                <a:tab pos="3966300"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Bend the curve</a:t>
            </a:r>
            <a:br>
              <a:rPr kumimoji="0" lang="en-US" sz="1800" b="0" i="0" u="none" strike="noStrike" kern="1200" cap="none" spc="0" normalizeH="0" baseline="0" noProof="0">
                <a:ln w="3175">
                  <a:noFill/>
                </a:ln>
                <a:solidFill>
                  <a:srgbClr val="000000"/>
                </a:solidFill>
                <a:effectLst/>
                <a:uLnTx/>
                <a:uFillTx/>
                <a:latin typeface="Segoe UI Semibold"/>
                <a:ea typeface="+mn-ea"/>
                <a:cs typeface="+mn-cs"/>
              </a:rPr>
            </a:b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on innovation</a:t>
            </a:r>
          </a:p>
        </p:txBody>
      </p:sp>
      <p:sp>
        <p:nvSpPr>
          <p:cNvPr id="44" name="TextBox 43">
            <a:extLst>
              <a:ext uri="{FF2B5EF4-FFF2-40B4-BE49-F238E27FC236}">
                <a16:creationId xmlns:a16="http://schemas.microsoft.com/office/drawing/2014/main" id="{B1A61E5D-48C7-BA27-7F77-77E8A3EF1D37}"/>
              </a:ext>
            </a:extLst>
          </p:cNvPr>
          <p:cNvSpPr txBox="1">
            <a:spLocks/>
          </p:cNvSpPr>
          <p:nvPr/>
        </p:nvSpPr>
        <p:spPr>
          <a:xfrm>
            <a:off x="9055973" y="3361795"/>
            <a:ext cx="2244526" cy="2359620"/>
          </a:xfrm>
          <a:prstGeom prst="rect">
            <a:avLst/>
          </a:prstGeom>
          <a:noFill/>
        </p:spPr>
        <p:txBody>
          <a:bodyPr wrap="square" lIns="0" tIns="0" rIns="0" bIns="0" anchor="t">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growing sustainable,</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 AI-powered businesse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using AI to develop better battery storage materials and decarbonization method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using AI to simulate DER integration scenarios to stress-test grid flexibility and investment planning</a:t>
            </a:r>
          </a:p>
        </p:txBody>
      </p:sp>
    </p:spTree>
    <p:extLst>
      <p:ext uri="{BB962C8B-B14F-4D97-AF65-F5344CB8AC3E}">
        <p14:creationId xmlns:p14="http://schemas.microsoft.com/office/powerpoint/2010/main" val="22235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2.08333E-7 -4.44444E-6 L -2.08333E-7 0.03542 " pathEditMode="relative" rAng="0" ptsTypes="AA">
                                      <p:cBhvr>
                                        <p:cTn id="9" dur="500" spd="-100000" fill="hold"/>
                                        <p:tgtEl>
                                          <p:spTgt spid="1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250"/>
                                        <p:tgtEl>
                                          <p:spTgt spid="26"/>
                                        </p:tgtEl>
                                      </p:cBhvr>
                                    </p:animEffect>
                                  </p:childTnLst>
                                </p:cTn>
                              </p:par>
                              <p:par>
                                <p:cTn id="13" presetID="42" presetClass="path" presetSubtype="0" decel="100000" fill="hold" grpId="1" nodeType="withEffect">
                                  <p:stCondLst>
                                    <p:cond delay="0"/>
                                  </p:stCondLst>
                                  <p:childTnLst>
                                    <p:animMotion origin="layout" path="M -4.16667E-6 0.03889 L -4.16667E-6 -3.7037E-7 " pathEditMode="relative" rAng="0" ptsTypes="AA">
                                      <p:cBhvr>
                                        <p:cTn id="14" dur="500" fill="hold"/>
                                        <p:tgtEl>
                                          <p:spTgt spid="26"/>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250"/>
                                        <p:tgtEl>
                                          <p:spTgt spid="42"/>
                                        </p:tgtEl>
                                      </p:cBhvr>
                                    </p:animEffect>
                                  </p:childTnLst>
                                </p:cTn>
                              </p:par>
                              <p:par>
                                <p:cTn id="18" presetID="42" presetClass="path" presetSubtype="0" decel="100000" fill="hold" grpId="1" nodeType="withEffect">
                                  <p:stCondLst>
                                    <p:cond delay="0"/>
                                  </p:stCondLst>
                                  <p:childTnLst>
                                    <p:animMotion origin="layout" path="M -1.25E-6 0.03889 L -1.25E-6 1.48148E-6 " pathEditMode="relative" rAng="0" ptsTypes="AA">
                                      <p:cBhvr>
                                        <p:cTn id="19" dur="500" fill="hold"/>
                                        <p:tgtEl>
                                          <p:spTgt spid="42"/>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250"/>
                                        <p:tgtEl>
                                          <p:spTgt spid="43"/>
                                        </p:tgtEl>
                                      </p:cBhvr>
                                    </p:animEffect>
                                  </p:childTnLst>
                                </p:cTn>
                              </p:par>
                              <p:par>
                                <p:cTn id="23" presetID="42" presetClass="path" presetSubtype="0" decel="100000" fill="hold" grpId="1" nodeType="withEffect">
                                  <p:stCondLst>
                                    <p:cond delay="0"/>
                                  </p:stCondLst>
                                  <p:childTnLst>
                                    <p:animMotion origin="layout" path="M 1.45833E-6 0.03889 L 1.45833E-6 7.40741E-7 " pathEditMode="relative" rAng="0" ptsTypes="AA">
                                      <p:cBhvr>
                                        <p:cTn id="24" dur="500" fill="hold"/>
                                        <p:tgtEl>
                                          <p:spTgt spid="4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250"/>
                                        <p:tgtEl>
                                          <p:spTgt spid="44"/>
                                        </p:tgtEl>
                                      </p:cBhvr>
                                    </p:animEffect>
                                  </p:childTnLst>
                                </p:cTn>
                              </p:par>
                              <p:par>
                                <p:cTn id="28" presetID="42" presetClass="path" presetSubtype="0" decel="100000" fill="hold" grpId="1" nodeType="withEffect">
                                  <p:stCondLst>
                                    <p:cond delay="0"/>
                                  </p:stCondLst>
                                  <p:childTnLst>
                                    <p:animMotion origin="layout" path="M 4.375E-6 0.03889 L 4.375E-6 1.48148E-6 " pathEditMode="relative" rAng="0" ptsTypes="AA">
                                      <p:cBhvr>
                                        <p:cTn id="29" dur="500" fill="hold"/>
                                        <p:tgtEl>
                                          <p:spTgt spid="44"/>
                                        </p:tgtEl>
                                        <p:attrNameLst>
                                          <p:attrName>ppt_x</p:attrName>
                                          <p:attrName>ppt_y</p:attrName>
                                        </p:attrNameLst>
                                      </p:cBhvr>
                                      <p:rCtr x="0" y="-1944"/>
                                    </p:animMotion>
                                  </p:childTnLst>
                                </p:cTn>
                              </p:par>
                              <p:par>
                                <p:cTn id="30" presetID="10" presetClass="entr" presetSubtype="0" fill="hold" grpId="0" nodeType="withEffect">
                                  <p:stCondLst>
                                    <p:cond delay="1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100000" fill="hold" grpId="1" nodeType="withEffect">
                                  <p:stCondLst>
                                    <p:cond delay="100"/>
                                  </p:stCondLst>
                                  <p:childTnLst>
                                    <p:animMotion origin="layout" path="M -2.08333E-7 -3.7037E-7 L -2.08333E-7 0.03542 " pathEditMode="relative" rAng="0" ptsTypes="AA">
                                      <p:cBhvr>
                                        <p:cTn id="34" dur="700" spd="-100000" fill="hold"/>
                                        <p:tgtEl>
                                          <p:spTgt spid="13"/>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42" presetClass="path" presetSubtype="0" decel="100000" fill="hold" grpId="1" nodeType="withEffect">
                                  <p:stCondLst>
                                    <p:cond delay="100"/>
                                  </p:stCondLst>
                                  <p:childTnLst>
                                    <p:animMotion origin="layout" path="M -4.16667E-6 -2.22222E-6 L -4.16667E-6 0.03542 " pathEditMode="relative" rAng="0" ptsTypes="AA">
                                      <p:cBhvr>
                                        <p:cTn id="39" dur="700" spd="-100000" fill="hold"/>
                                        <p:tgtEl>
                                          <p:spTgt spid="15"/>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42" presetClass="path" presetSubtype="0" decel="100000" fill="hold" grpId="1" nodeType="withEffect">
                                  <p:stCondLst>
                                    <p:cond delay="100"/>
                                  </p:stCondLst>
                                  <p:childTnLst>
                                    <p:animMotion origin="layout" path="M -4.16667E-6 -2.96296E-6 L -4.16667E-6 0.03542 " pathEditMode="relative" rAng="0" ptsTypes="AA">
                                      <p:cBhvr>
                                        <p:cTn id="44" dur="700" spd="-100000" fill="hold"/>
                                        <p:tgtEl>
                                          <p:spTgt spid="27"/>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42" presetClass="path" presetSubtype="0" decel="100000" fill="hold" grpId="1" nodeType="withEffect">
                                  <p:stCondLst>
                                    <p:cond delay="100"/>
                                  </p:stCondLst>
                                  <p:childTnLst>
                                    <p:animMotion origin="layout" path="M -4.16667E-6 -2.96296E-6 L -4.16667E-6 0.03542 " pathEditMode="relative" rAng="0" ptsTypes="AA">
                                      <p:cBhvr>
                                        <p:cTn id="49" dur="700" spd="-100000" fill="hold"/>
                                        <p:tgtEl>
                                          <p:spTgt spid="30"/>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42" presetClass="path" presetSubtype="0" decel="100000" fill="hold" grpId="1" nodeType="withEffect">
                                  <p:stCondLst>
                                    <p:cond delay="100"/>
                                  </p:stCondLst>
                                  <p:childTnLst>
                                    <p:animMotion origin="layout" path="M -4.16667E-6 -4.07407E-6 L -4.16667E-6 0.03542 " pathEditMode="relative" rAng="0" ptsTypes="AA">
                                      <p:cBhvr>
                                        <p:cTn id="54" dur="700" spd="-100000" fill="hold"/>
                                        <p:tgtEl>
                                          <p:spTgt spid="48"/>
                                        </p:tgtEl>
                                        <p:attrNameLst>
                                          <p:attrName>ppt_x</p:attrName>
                                          <p:attrName>ppt_y</p:attrName>
                                        </p:attrNameLst>
                                      </p:cBhvr>
                                      <p:rCtr x="0" y="1759"/>
                                    </p:animMotion>
                                  </p:childTnLst>
                                </p:cTn>
                              </p:par>
                              <p:par>
                                <p:cTn id="55" presetID="10" presetClass="entr" presetSubtype="0" fill="hold" nodeType="withEffect">
                                  <p:stCondLst>
                                    <p:cond delay="10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500"/>
                                        <p:tgtEl>
                                          <p:spTgt spid="31"/>
                                        </p:tgtEl>
                                      </p:cBhvr>
                                    </p:animEffect>
                                  </p:childTnLst>
                                </p:cTn>
                              </p:par>
                              <p:par>
                                <p:cTn id="58" presetID="42" presetClass="path" presetSubtype="0" decel="100000" fill="hold" nodeType="withEffect">
                                  <p:stCondLst>
                                    <p:cond delay="100"/>
                                  </p:stCondLst>
                                  <p:childTnLst>
                                    <p:animMotion origin="layout" path="M -4.16667E-6 2.22222E-6 L -4.16667E-6 0.03541 " pathEditMode="relative" rAng="0" ptsTypes="AA">
                                      <p:cBhvr>
                                        <p:cTn id="59" dur="700" spd="-100000" fill="hold"/>
                                        <p:tgtEl>
                                          <p:spTgt spid="31"/>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par>
                                <p:cTn id="63" presetID="42" presetClass="path" presetSubtype="0" decel="100000" fill="hold" grpId="1" nodeType="withEffect">
                                  <p:stCondLst>
                                    <p:cond delay="200"/>
                                  </p:stCondLst>
                                  <p:childTnLst>
                                    <p:animMotion origin="layout" path="M -1.45833E-6 -2.22222E-6 L -1.45833E-6 0.03542 " pathEditMode="relative" rAng="0" ptsTypes="AA">
                                      <p:cBhvr>
                                        <p:cTn id="64" dur="700" spd="-100000" fill="hold"/>
                                        <p:tgtEl>
                                          <p:spTgt spid="20"/>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par>
                                <p:cTn id="68" presetID="42" presetClass="path" presetSubtype="0" decel="100000" fill="hold" grpId="1" nodeType="withEffect">
                                  <p:stCondLst>
                                    <p:cond delay="200"/>
                                  </p:stCondLst>
                                  <p:childTnLst>
                                    <p:animMotion origin="layout" path="M -1.45833E-6 -4.07407E-6 L -1.45833E-6 0.03542 " pathEditMode="relative" rAng="0" ptsTypes="AA">
                                      <p:cBhvr>
                                        <p:cTn id="69" dur="700" spd="-100000" fill="hold"/>
                                        <p:tgtEl>
                                          <p:spTgt spid="50"/>
                                        </p:tgtEl>
                                        <p:attrNameLst>
                                          <p:attrName>ppt_x</p:attrName>
                                          <p:attrName>ppt_y</p:attrName>
                                        </p:attrNameLst>
                                      </p:cBhvr>
                                      <p:rCtr x="0" y="1759"/>
                                    </p:animMotion>
                                  </p:childTnLst>
                                </p:cTn>
                              </p:par>
                              <p:par>
                                <p:cTn id="70" presetID="10" presetClass="entr" presetSubtype="0" fill="hold" nodeType="withEffect">
                                  <p:stCondLst>
                                    <p:cond delay="20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42" presetClass="path" presetSubtype="0" decel="100000" fill="hold" nodeType="withEffect">
                                  <p:stCondLst>
                                    <p:cond delay="200"/>
                                  </p:stCondLst>
                                  <p:childTnLst>
                                    <p:animMotion origin="layout" path="M -1.25E-6 2.22222E-6 L -1.25E-6 0.03541 " pathEditMode="relative" rAng="0" ptsTypes="AA">
                                      <p:cBhvr>
                                        <p:cTn id="74" dur="700" spd="-100000" fill="hold"/>
                                        <p:tgtEl>
                                          <p:spTgt spid="34"/>
                                        </p:tgtEl>
                                        <p:attrNameLst>
                                          <p:attrName>ppt_x</p:attrName>
                                          <p:attrName>ppt_y</p:attrName>
                                        </p:attrNameLst>
                                      </p:cBhvr>
                                      <p:rCtr x="0" y="1759"/>
                                    </p:animMotion>
                                  </p:childTnLst>
                                </p:cTn>
                              </p:par>
                              <p:par>
                                <p:cTn id="75" presetID="10" presetClass="entr" presetSubtype="0" fill="hold" grpId="0" nodeType="withEffect">
                                  <p:stCondLst>
                                    <p:cond delay="30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500"/>
                                        <p:tgtEl>
                                          <p:spTgt spid="22"/>
                                        </p:tgtEl>
                                      </p:cBhvr>
                                    </p:animEffect>
                                  </p:childTnLst>
                                </p:cTn>
                              </p:par>
                              <p:par>
                                <p:cTn id="78" presetID="42" presetClass="path" presetSubtype="0" decel="100000" fill="hold" grpId="1" nodeType="withEffect">
                                  <p:stCondLst>
                                    <p:cond delay="300"/>
                                  </p:stCondLst>
                                  <p:childTnLst>
                                    <p:animMotion origin="layout" path="M 1.45833E-6 -2.22222E-6 L 1.45833E-6 0.03542 " pathEditMode="relative" rAng="0" ptsTypes="AA">
                                      <p:cBhvr>
                                        <p:cTn id="79" dur="700" spd="-100000" fill="hold"/>
                                        <p:tgtEl>
                                          <p:spTgt spid="22"/>
                                        </p:tgtEl>
                                        <p:attrNameLst>
                                          <p:attrName>ppt_x</p:attrName>
                                          <p:attrName>ppt_y</p:attrName>
                                        </p:attrNameLst>
                                      </p:cBhvr>
                                      <p:rCtr x="0" y="1759"/>
                                    </p:animMotion>
                                  </p:childTnLst>
                                </p:cTn>
                              </p:par>
                              <p:par>
                                <p:cTn id="80" presetID="10" presetClass="entr" presetSubtype="0" fill="hold" grpId="0" nodeType="withEffect">
                                  <p:stCondLst>
                                    <p:cond delay="30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42" presetClass="path" presetSubtype="0" decel="100000" fill="hold" grpId="1" nodeType="withEffect">
                                  <p:stCondLst>
                                    <p:cond delay="300"/>
                                  </p:stCondLst>
                                  <p:childTnLst>
                                    <p:animMotion origin="layout" path="M 1.45833E-6 -4.07407E-6 L 1.45833E-6 0.03542 " pathEditMode="relative" rAng="0" ptsTypes="AA">
                                      <p:cBhvr>
                                        <p:cTn id="84" dur="700" spd="-100000" fill="hold"/>
                                        <p:tgtEl>
                                          <p:spTgt spid="52"/>
                                        </p:tgtEl>
                                        <p:attrNameLst>
                                          <p:attrName>ppt_x</p:attrName>
                                          <p:attrName>ppt_y</p:attrName>
                                        </p:attrNameLst>
                                      </p:cBhvr>
                                      <p:rCtr x="0" y="1759"/>
                                    </p:animMotion>
                                  </p:childTnLst>
                                </p:cTn>
                              </p:par>
                              <p:par>
                                <p:cTn id="85" presetID="10" presetClass="entr" presetSubtype="0" fill="hold" nodeType="withEffect">
                                  <p:stCondLst>
                                    <p:cond delay="300"/>
                                  </p:stCondLst>
                                  <p:childTnLst>
                                    <p:set>
                                      <p:cBhvr>
                                        <p:cTn id="86" dur="1" fill="hold">
                                          <p:stCondLst>
                                            <p:cond delay="0"/>
                                          </p:stCondLst>
                                        </p:cTn>
                                        <p:tgtEl>
                                          <p:spTgt spid="35"/>
                                        </p:tgtEl>
                                        <p:attrNameLst>
                                          <p:attrName>style.visibility</p:attrName>
                                        </p:attrNameLst>
                                      </p:cBhvr>
                                      <p:to>
                                        <p:strVal val="visible"/>
                                      </p:to>
                                    </p:set>
                                    <p:animEffect transition="in" filter="fade">
                                      <p:cBhvr>
                                        <p:cTn id="87" dur="500"/>
                                        <p:tgtEl>
                                          <p:spTgt spid="35"/>
                                        </p:tgtEl>
                                      </p:cBhvr>
                                    </p:animEffect>
                                  </p:childTnLst>
                                </p:cTn>
                              </p:par>
                              <p:par>
                                <p:cTn id="88" presetID="42" presetClass="path" presetSubtype="0" decel="100000" fill="hold" nodeType="withEffect">
                                  <p:stCondLst>
                                    <p:cond delay="300"/>
                                  </p:stCondLst>
                                  <p:childTnLst>
                                    <p:animMotion origin="layout" path="M 1.45833E-6 2.22222E-6 L 1.45833E-6 0.03541 " pathEditMode="relative" rAng="0" ptsTypes="AA">
                                      <p:cBhvr>
                                        <p:cTn id="89" dur="700" spd="-100000" fill="hold"/>
                                        <p:tgtEl>
                                          <p:spTgt spid="35"/>
                                        </p:tgtEl>
                                        <p:attrNameLst>
                                          <p:attrName>ppt_x</p:attrName>
                                          <p:attrName>ppt_y</p:attrName>
                                        </p:attrNameLst>
                                      </p:cBhvr>
                                      <p:rCtr x="0" y="1759"/>
                                    </p:animMotion>
                                  </p:childTnLst>
                                </p:cTn>
                              </p:par>
                              <p:par>
                                <p:cTn id="90" presetID="10" presetClass="entr" presetSubtype="0" fill="hold" grpId="0" nodeType="withEffect">
                                  <p:stCondLst>
                                    <p:cond delay="400"/>
                                  </p:stCondLst>
                                  <p:childTnLst>
                                    <p:set>
                                      <p:cBhvr>
                                        <p:cTn id="91" dur="1" fill="hold">
                                          <p:stCondLst>
                                            <p:cond delay="0"/>
                                          </p:stCondLst>
                                        </p:cTn>
                                        <p:tgtEl>
                                          <p:spTgt spid="17"/>
                                        </p:tgtEl>
                                        <p:attrNameLst>
                                          <p:attrName>style.visibility</p:attrName>
                                        </p:attrNameLst>
                                      </p:cBhvr>
                                      <p:to>
                                        <p:strVal val="visible"/>
                                      </p:to>
                                    </p:set>
                                    <p:animEffect transition="in" filter="fade">
                                      <p:cBhvr>
                                        <p:cTn id="92" dur="500"/>
                                        <p:tgtEl>
                                          <p:spTgt spid="17"/>
                                        </p:tgtEl>
                                      </p:cBhvr>
                                    </p:animEffect>
                                  </p:childTnLst>
                                </p:cTn>
                              </p:par>
                              <p:par>
                                <p:cTn id="93" presetID="42" presetClass="path" presetSubtype="0" decel="100000" fill="hold" grpId="1" nodeType="withEffect">
                                  <p:stCondLst>
                                    <p:cond delay="400"/>
                                  </p:stCondLst>
                                  <p:childTnLst>
                                    <p:animMotion origin="layout" path="M 4.375E-6 -2.22222E-6 L 4.375E-6 0.03542 " pathEditMode="relative" rAng="0" ptsTypes="AA">
                                      <p:cBhvr>
                                        <p:cTn id="94" dur="700" spd="-100000" fill="hold"/>
                                        <p:tgtEl>
                                          <p:spTgt spid="17"/>
                                        </p:tgtEl>
                                        <p:attrNameLst>
                                          <p:attrName>ppt_x</p:attrName>
                                          <p:attrName>ppt_y</p:attrName>
                                        </p:attrNameLst>
                                      </p:cBhvr>
                                      <p:rCtr x="0" y="1759"/>
                                    </p:animMotion>
                                  </p:childTnLst>
                                </p:cTn>
                              </p:par>
                              <p:par>
                                <p:cTn id="95" presetID="10" presetClass="entr" presetSubtype="0" fill="hold" grpId="0" nodeType="withEffect">
                                  <p:stCondLst>
                                    <p:cond delay="400"/>
                                  </p:stCondLst>
                                  <p:childTnLst>
                                    <p:set>
                                      <p:cBhvr>
                                        <p:cTn id="96" dur="1" fill="hold">
                                          <p:stCondLst>
                                            <p:cond delay="0"/>
                                          </p:stCondLst>
                                        </p:cTn>
                                        <p:tgtEl>
                                          <p:spTgt spid="54"/>
                                        </p:tgtEl>
                                        <p:attrNameLst>
                                          <p:attrName>style.visibility</p:attrName>
                                        </p:attrNameLst>
                                      </p:cBhvr>
                                      <p:to>
                                        <p:strVal val="visible"/>
                                      </p:to>
                                    </p:set>
                                    <p:animEffect transition="in" filter="fade">
                                      <p:cBhvr>
                                        <p:cTn id="97" dur="500"/>
                                        <p:tgtEl>
                                          <p:spTgt spid="54"/>
                                        </p:tgtEl>
                                      </p:cBhvr>
                                    </p:animEffect>
                                  </p:childTnLst>
                                </p:cTn>
                              </p:par>
                              <p:par>
                                <p:cTn id="98" presetID="42" presetClass="path" presetSubtype="0" decel="100000" fill="hold" grpId="1" nodeType="withEffect">
                                  <p:stCondLst>
                                    <p:cond delay="400"/>
                                  </p:stCondLst>
                                  <p:childTnLst>
                                    <p:animMotion origin="layout" path="M 4.375E-6 -4.07407E-6 L 4.375E-6 0.03542 " pathEditMode="relative" rAng="0" ptsTypes="AA">
                                      <p:cBhvr>
                                        <p:cTn id="99" dur="700" spd="-100000" fill="hold"/>
                                        <p:tgtEl>
                                          <p:spTgt spid="54"/>
                                        </p:tgtEl>
                                        <p:attrNameLst>
                                          <p:attrName>ppt_x</p:attrName>
                                          <p:attrName>ppt_y</p:attrName>
                                        </p:attrNameLst>
                                      </p:cBhvr>
                                      <p:rCtr x="0" y="1759"/>
                                    </p:animMotion>
                                  </p:childTnLst>
                                </p:cTn>
                              </p:par>
                              <p:par>
                                <p:cTn id="100" presetID="10" presetClass="entr" presetSubtype="0" fill="hold" nodeType="withEffect">
                                  <p:stCondLst>
                                    <p:cond delay="400"/>
                                  </p:stCondLst>
                                  <p:childTnLst>
                                    <p:set>
                                      <p:cBhvr>
                                        <p:cTn id="101" dur="1" fill="hold">
                                          <p:stCondLst>
                                            <p:cond delay="0"/>
                                          </p:stCondLst>
                                        </p:cTn>
                                        <p:tgtEl>
                                          <p:spTgt spid="36"/>
                                        </p:tgtEl>
                                        <p:attrNameLst>
                                          <p:attrName>style.visibility</p:attrName>
                                        </p:attrNameLst>
                                      </p:cBhvr>
                                      <p:to>
                                        <p:strVal val="visible"/>
                                      </p:to>
                                    </p:set>
                                    <p:animEffect transition="in" filter="fade">
                                      <p:cBhvr>
                                        <p:cTn id="102" dur="500"/>
                                        <p:tgtEl>
                                          <p:spTgt spid="36"/>
                                        </p:tgtEl>
                                      </p:cBhvr>
                                    </p:animEffect>
                                  </p:childTnLst>
                                </p:cTn>
                              </p:par>
                              <p:par>
                                <p:cTn id="103" presetID="42" presetClass="path" presetSubtype="0" decel="100000" fill="hold" nodeType="withEffect">
                                  <p:stCondLst>
                                    <p:cond delay="400"/>
                                  </p:stCondLst>
                                  <p:childTnLst>
                                    <p:animMotion origin="layout" path="M 4.375E-6 2.22222E-6 L 4.375E-6 0.03541 " pathEditMode="relative" rAng="0" ptsTypes="AA">
                                      <p:cBhvr>
                                        <p:cTn id="104" dur="700" spd="-100000" fill="hold"/>
                                        <p:tgtEl>
                                          <p:spTgt spid="36"/>
                                        </p:tgtEl>
                                        <p:attrNameLst>
                                          <p:attrName>ppt_x</p:attrName>
                                          <p:attrName>ppt_y</p:attrName>
                                        </p:attrNameLst>
                                      </p:cBhvr>
                                      <p:rCtr x="0" y="1759"/>
                                    </p:animMotion>
                                  </p:childTnLst>
                                </p:cTn>
                              </p:par>
                              <p:par>
                                <p:cTn id="105" presetID="10" presetClass="entr" presetSubtype="0" fill="hold" grpId="0" nodeType="withEffect">
                                  <p:stCondLst>
                                    <p:cond delay="20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par>
                                <p:cTn id="108" presetID="42" presetClass="path" presetSubtype="0" decel="100000" fill="hold" grpId="1" nodeType="withEffect">
                                  <p:stCondLst>
                                    <p:cond delay="200"/>
                                  </p:stCondLst>
                                  <p:childTnLst>
                                    <p:animMotion origin="layout" path="M -1.25E-6 -2.96296E-6 L -1.25E-6 0.03542 " pathEditMode="relative" rAng="0" ptsTypes="AA">
                                      <p:cBhvr>
                                        <p:cTn id="109" dur="700" spd="-100000" fill="hold"/>
                                        <p:tgtEl>
                                          <p:spTgt spid="45"/>
                                        </p:tgtEl>
                                        <p:attrNameLst>
                                          <p:attrName>ppt_x</p:attrName>
                                          <p:attrName>ppt_y</p:attrName>
                                        </p:attrNameLst>
                                      </p:cBhvr>
                                      <p:rCtr x="0" y="1759"/>
                                    </p:animMotion>
                                  </p:childTnLst>
                                </p:cTn>
                              </p:par>
                              <p:par>
                                <p:cTn id="110" presetID="10" presetClass="entr" presetSubtype="0" fill="hold" grpId="0" nodeType="withEffect">
                                  <p:stCondLst>
                                    <p:cond delay="200"/>
                                  </p:stCondLst>
                                  <p:childTnLst>
                                    <p:set>
                                      <p:cBhvr>
                                        <p:cTn id="111" dur="1" fill="hold">
                                          <p:stCondLst>
                                            <p:cond delay="0"/>
                                          </p:stCondLst>
                                        </p:cTn>
                                        <p:tgtEl>
                                          <p:spTgt spid="37"/>
                                        </p:tgtEl>
                                        <p:attrNameLst>
                                          <p:attrName>style.visibility</p:attrName>
                                        </p:attrNameLst>
                                      </p:cBhvr>
                                      <p:to>
                                        <p:strVal val="visible"/>
                                      </p:to>
                                    </p:set>
                                    <p:animEffect transition="in" filter="fade">
                                      <p:cBhvr>
                                        <p:cTn id="112" dur="500"/>
                                        <p:tgtEl>
                                          <p:spTgt spid="37"/>
                                        </p:tgtEl>
                                      </p:cBhvr>
                                    </p:animEffect>
                                  </p:childTnLst>
                                </p:cTn>
                              </p:par>
                              <p:par>
                                <p:cTn id="113" presetID="42" presetClass="path" presetSubtype="0" decel="100000" fill="hold" grpId="1" nodeType="withEffect">
                                  <p:stCondLst>
                                    <p:cond delay="200"/>
                                  </p:stCondLst>
                                  <p:childTnLst>
                                    <p:animMotion origin="layout" path="M -1.45833E-6 -2.96296E-6 L -1.45833E-6 0.03542 " pathEditMode="relative" rAng="0" ptsTypes="AA">
                                      <p:cBhvr>
                                        <p:cTn id="114" dur="700" spd="-100000" fill="hold"/>
                                        <p:tgtEl>
                                          <p:spTgt spid="37"/>
                                        </p:tgtEl>
                                        <p:attrNameLst>
                                          <p:attrName>ppt_x</p:attrName>
                                          <p:attrName>ppt_y</p:attrName>
                                        </p:attrNameLst>
                                      </p:cBhvr>
                                      <p:rCtr x="0" y="1759"/>
                                    </p:animMotion>
                                  </p:childTnLst>
                                </p:cTn>
                              </p:par>
                              <p:par>
                                <p:cTn id="115" presetID="10" presetClass="entr" presetSubtype="0" fill="hold" grpId="0" nodeType="withEffect">
                                  <p:stCondLst>
                                    <p:cond delay="300"/>
                                  </p:stCondLst>
                                  <p:childTnLst>
                                    <p:set>
                                      <p:cBhvr>
                                        <p:cTn id="116" dur="1" fill="hold">
                                          <p:stCondLst>
                                            <p:cond delay="0"/>
                                          </p:stCondLst>
                                        </p:cTn>
                                        <p:tgtEl>
                                          <p:spTgt spid="46"/>
                                        </p:tgtEl>
                                        <p:attrNameLst>
                                          <p:attrName>style.visibility</p:attrName>
                                        </p:attrNameLst>
                                      </p:cBhvr>
                                      <p:to>
                                        <p:strVal val="visible"/>
                                      </p:to>
                                    </p:set>
                                    <p:animEffect transition="in" filter="fade">
                                      <p:cBhvr>
                                        <p:cTn id="117" dur="500"/>
                                        <p:tgtEl>
                                          <p:spTgt spid="46"/>
                                        </p:tgtEl>
                                      </p:cBhvr>
                                    </p:animEffect>
                                  </p:childTnLst>
                                </p:cTn>
                              </p:par>
                              <p:par>
                                <p:cTn id="118" presetID="42" presetClass="path" presetSubtype="0" decel="100000" fill="hold" grpId="1" nodeType="withEffect">
                                  <p:stCondLst>
                                    <p:cond delay="300"/>
                                  </p:stCondLst>
                                  <p:childTnLst>
                                    <p:animMotion origin="layout" path="M 1.45833E-6 -2.96296E-6 L 1.45833E-6 0.03542 " pathEditMode="relative" rAng="0" ptsTypes="AA">
                                      <p:cBhvr>
                                        <p:cTn id="119" dur="700" spd="-100000" fill="hold"/>
                                        <p:tgtEl>
                                          <p:spTgt spid="46"/>
                                        </p:tgtEl>
                                        <p:attrNameLst>
                                          <p:attrName>ppt_x</p:attrName>
                                          <p:attrName>ppt_y</p:attrName>
                                        </p:attrNameLst>
                                      </p:cBhvr>
                                      <p:rCtr x="0" y="1759"/>
                                    </p:animMotion>
                                  </p:childTnLst>
                                </p:cTn>
                              </p:par>
                              <p:par>
                                <p:cTn id="120" presetID="10" presetClass="entr" presetSubtype="0" fill="hold" grpId="0" nodeType="withEffect">
                                  <p:stCondLst>
                                    <p:cond delay="300"/>
                                  </p:stCondLst>
                                  <p:childTnLst>
                                    <p:set>
                                      <p:cBhvr>
                                        <p:cTn id="121" dur="1" fill="hold">
                                          <p:stCondLst>
                                            <p:cond delay="0"/>
                                          </p:stCondLst>
                                        </p:cTn>
                                        <p:tgtEl>
                                          <p:spTgt spid="40"/>
                                        </p:tgtEl>
                                        <p:attrNameLst>
                                          <p:attrName>style.visibility</p:attrName>
                                        </p:attrNameLst>
                                      </p:cBhvr>
                                      <p:to>
                                        <p:strVal val="visible"/>
                                      </p:to>
                                    </p:set>
                                    <p:animEffect transition="in" filter="fade">
                                      <p:cBhvr>
                                        <p:cTn id="122" dur="500"/>
                                        <p:tgtEl>
                                          <p:spTgt spid="40"/>
                                        </p:tgtEl>
                                      </p:cBhvr>
                                    </p:animEffect>
                                  </p:childTnLst>
                                </p:cTn>
                              </p:par>
                              <p:par>
                                <p:cTn id="123" presetID="42" presetClass="path" presetSubtype="0" decel="100000" fill="hold" grpId="1" nodeType="withEffect">
                                  <p:stCondLst>
                                    <p:cond delay="300"/>
                                  </p:stCondLst>
                                  <p:childTnLst>
                                    <p:animMotion origin="layout" path="M 1.45833E-6 -2.96296E-6 L 1.45833E-6 0.03542 " pathEditMode="relative" rAng="0" ptsTypes="AA">
                                      <p:cBhvr>
                                        <p:cTn id="124" dur="700" spd="-100000" fill="hold"/>
                                        <p:tgtEl>
                                          <p:spTgt spid="40"/>
                                        </p:tgtEl>
                                        <p:attrNameLst>
                                          <p:attrName>ppt_x</p:attrName>
                                          <p:attrName>ppt_y</p:attrName>
                                        </p:attrNameLst>
                                      </p:cBhvr>
                                      <p:rCtr x="0" y="1759"/>
                                    </p:animMotion>
                                  </p:childTnLst>
                                </p:cTn>
                              </p:par>
                              <p:par>
                                <p:cTn id="125" presetID="10" presetClass="entr" presetSubtype="0" fill="hold" grpId="0" nodeType="withEffect">
                                  <p:stCondLst>
                                    <p:cond delay="400"/>
                                  </p:stCondLst>
                                  <p:childTnLst>
                                    <p:set>
                                      <p:cBhvr>
                                        <p:cTn id="126" dur="1" fill="hold">
                                          <p:stCondLst>
                                            <p:cond delay="0"/>
                                          </p:stCondLst>
                                        </p:cTn>
                                        <p:tgtEl>
                                          <p:spTgt spid="47"/>
                                        </p:tgtEl>
                                        <p:attrNameLst>
                                          <p:attrName>style.visibility</p:attrName>
                                        </p:attrNameLst>
                                      </p:cBhvr>
                                      <p:to>
                                        <p:strVal val="visible"/>
                                      </p:to>
                                    </p:set>
                                    <p:animEffect transition="in" filter="fade">
                                      <p:cBhvr>
                                        <p:cTn id="127" dur="500"/>
                                        <p:tgtEl>
                                          <p:spTgt spid="47"/>
                                        </p:tgtEl>
                                      </p:cBhvr>
                                    </p:animEffect>
                                  </p:childTnLst>
                                </p:cTn>
                              </p:par>
                              <p:par>
                                <p:cTn id="128" presetID="42" presetClass="path" presetSubtype="0" decel="100000" fill="hold" grpId="1" nodeType="withEffect">
                                  <p:stCondLst>
                                    <p:cond delay="400"/>
                                  </p:stCondLst>
                                  <p:childTnLst>
                                    <p:animMotion origin="layout" path="M 4.375E-6 -2.96296E-6 L 4.375E-6 0.03542 " pathEditMode="relative" rAng="0" ptsTypes="AA">
                                      <p:cBhvr>
                                        <p:cTn id="129" dur="700" spd="-100000" fill="hold"/>
                                        <p:tgtEl>
                                          <p:spTgt spid="47"/>
                                        </p:tgtEl>
                                        <p:attrNameLst>
                                          <p:attrName>ppt_x</p:attrName>
                                          <p:attrName>ppt_y</p:attrName>
                                        </p:attrNameLst>
                                      </p:cBhvr>
                                      <p:rCtr x="0" y="1759"/>
                                    </p:animMotion>
                                  </p:childTnLst>
                                </p:cTn>
                              </p:par>
                              <p:par>
                                <p:cTn id="130" presetID="10" presetClass="entr" presetSubtype="0" fill="hold" grpId="0" nodeType="withEffect">
                                  <p:stCondLst>
                                    <p:cond delay="400"/>
                                  </p:stCondLst>
                                  <p:childTnLst>
                                    <p:set>
                                      <p:cBhvr>
                                        <p:cTn id="131" dur="1" fill="hold">
                                          <p:stCondLst>
                                            <p:cond delay="0"/>
                                          </p:stCondLst>
                                        </p:cTn>
                                        <p:tgtEl>
                                          <p:spTgt spid="41"/>
                                        </p:tgtEl>
                                        <p:attrNameLst>
                                          <p:attrName>style.visibility</p:attrName>
                                        </p:attrNameLst>
                                      </p:cBhvr>
                                      <p:to>
                                        <p:strVal val="visible"/>
                                      </p:to>
                                    </p:set>
                                    <p:animEffect transition="in" filter="fade">
                                      <p:cBhvr>
                                        <p:cTn id="132" dur="500"/>
                                        <p:tgtEl>
                                          <p:spTgt spid="41"/>
                                        </p:tgtEl>
                                      </p:cBhvr>
                                    </p:animEffect>
                                  </p:childTnLst>
                                </p:cTn>
                              </p:par>
                              <p:par>
                                <p:cTn id="133" presetID="42" presetClass="path" presetSubtype="0" decel="100000" fill="hold" grpId="1" nodeType="withEffect">
                                  <p:stCondLst>
                                    <p:cond delay="400"/>
                                  </p:stCondLst>
                                  <p:childTnLst>
                                    <p:animMotion origin="layout" path="M 4.375E-6 -2.96296E-6 L 4.375E-6 0.03542 " pathEditMode="relative" rAng="0" ptsTypes="AA">
                                      <p:cBhvr>
                                        <p:cTn id="134" dur="700" spd="-100000" fill="hold"/>
                                        <p:tgtEl>
                                          <p:spTgt spid="4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P spid="17" grpId="0" animBg="1"/>
      <p:bldP spid="17" grpId="1" animBg="1"/>
      <p:bldP spid="20" grpId="0" animBg="1"/>
      <p:bldP spid="20" grpId="1" animBg="1"/>
      <p:bldP spid="22" grpId="0" animBg="1"/>
      <p:bldP spid="22" grpId="1" animBg="1"/>
      <p:bldP spid="27" grpId="0" animBg="1"/>
      <p:bldP spid="27" grpId="1" animBg="1"/>
      <p:bldP spid="30" grpId="0" animBg="1"/>
      <p:bldP spid="30" grpId="1" animBg="1"/>
      <p:bldP spid="37" grpId="0" animBg="1"/>
      <p:bldP spid="37" grpId="1" animBg="1"/>
      <p:bldP spid="40" grpId="0" animBg="1"/>
      <p:bldP spid="40" grpId="1" animBg="1"/>
      <p:bldP spid="41" grpId="0" animBg="1"/>
      <p:bldP spid="41" grpId="1" animBg="1"/>
      <p:bldP spid="45" grpId="0" animBg="1"/>
      <p:bldP spid="45" grpId="1" animBg="1"/>
      <p:bldP spid="46" grpId="0" animBg="1"/>
      <p:bldP spid="46" grpId="1" animBg="1"/>
      <p:bldP spid="47" grpId="0" animBg="1"/>
      <p:bldP spid="47" grpId="1" animBg="1"/>
      <p:bldP spid="19" grpId="0"/>
      <p:bldP spid="19" grpId="1"/>
      <p:bldP spid="48" grpId="0"/>
      <p:bldP spid="48" grpId="1"/>
      <p:bldP spid="26" grpId="0"/>
      <p:bldP spid="26" grpId="1"/>
      <p:bldP spid="50" grpId="0"/>
      <p:bldP spid="50" grpId="1"/>
      <p:bldP spid="42" grpId="0"/>
      <p:bldP spid="42" grpId="1"/>
      <p:bldP spid="52" grpId="0"/>
      <p:bldP spid="52" grpId="1"/>
      <p:bldP spid="43" grpId="0"/>
      <p:bldP spid="43" grpId="1"/>
      <p:bldP spid="54" grpId="0"/>
      <p:bldP spid="54" grpId="1"/>
      <p:bldP spid="44" grpId="0"/>
      <p:bldP spid="4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3_IPS New">
  <a:themeElements>
    <a:clrScheme name="IPS Brand Color">
      <a:dk1>
        <a:srgbClr val="000000"/>
      </a:dk1>
      <a:lt1>
        <a:srgbClr val="FFFFFF"/>
      </a:lt1>
      <a:dk2>
        <a:srgbClr val="2A446F"/>
      </a:dk2>
      <a:lt2>
        <a:srgbClr val="D9D9D6"/>
      </a:lt2>
      <a:accent1>
        <a:srgbClr val="0078D4"/>
      </a:accent1>
      <a:accent2>
        <a:srgbClr val="2A446F"/>
      </a:accent2>
      <a:accent3>
        <a:srgbClr val="49C5B1"/>
      </a:accent3>
      <a:accent4>
        <a:srgbClr val="FFB900"/>
      </a:accent4>
      <a:accent5>
        <a:srgbClr val="FF5C39"/>
      </a:accent5>
      <a:accent6>
        <a:srgbClr val="B1B3B3"/>
      </a:accent6>
      <a:hlink>
        <a:srgbClr val="0078D4"/>
      </a:hlink>
      <a:folHlink>
        <a:srgbClr val="0078D4"/>
      </a:folHlink>
    </a:clrScheme>
    <a:fontScheme name="Custom 9">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PS New" id="{4EB5C47F-3DB3-48A5-94F6-D61450CF9D22}" vid="{E1F90190-1B4A-4B19-82C0-BA5BED2AC0D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6_Microsoft AI Tour 16:9 Template Light">
  <a:themeElements>
    <a:clrScheme name="Custom 1">
      <a:dk1>
        <a:srgbClr val="000000"/>
      </a:dk1>
      <a:lt1>
        <a:srgbClr val="FFFFFF"/>
      </a:lt1>
      <a:dk2>
        <a:srgbClr val="2A446F"/>
      </a:dk2>
      <a:lt2>
        <a:srgbClr val="E8E6DF"/>
      </a:lt2>
      <a:accent1>
        <a:srgbClr val="0078D4"/>
      </a:accent1>
      <a:accent2>
        <a:srgbClr val="49C5B1"/>
      </a:accent2>
      <a:accent3>
        <a:srgbClr val="2A446F"/>
      </a:accent3>
      <a:accent4>
        <a:srgbClr val="BF9474"/>
      </a:accent4>
      <a:accent5>
        <a:srgbClr val="8661C5"/>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4" id="{132193F1-52ED-4B7E-891E-8F377557E42A}" vid="{10158B7C-243E-434A-B902-9727AF24F1AA}"/>
    </a:ext>
  </a:extLst>
</a:theme>
</file>

<file path=ppt/theme/theme3.xml><?xml version="1.0" encoding="utf-8"?>
<a:theme xmlns:a="http://schemas.openxmlformats.org/drawingml/2006/main" name="IPS New">
  <a:themeElements>
    <a:clrScheme name="IPS Brand Color">
      <a:dk1>
        <a:srgbClr val="000000"/>
      </a:dk1>
      <a:lt1>
        <a:srgbClr val="FFFFFF"/>
      </a:lt1>
      <a:dk2>
        <a:srgbClr val="2A446F"/>
      </a:dk2>
      <a:lt2>
        <a:srgbClr val="D9D9D6"/>
      </a:lt2>
      <a:accent1>
        <a:srgbClr val="0078D4"/>
      </a:accent1>
      <a:accent2>
        <a:srgbClr val="2A446F"/>
      </a:accent2>
      <a:accent3>
        <a:srgbClr val="49C5B1"/>
      </a:accent3>
      <a:accent4>
        <a:srgbClr val="FFB900"/>
      </a:accent4>
      <a:accent5>
        <a:srgbClr val="FF5C39"/>
      </a:accent5>
      <a:accent6>
        <a:srgbClr val="B1B3B3"/>
      </a:accent6>
      <a:hlink>
        <a:srgbClr val="0078D4"/>
      </a:hlink>
      <a:folHlink>
        <a:srgbClr val="0078D4"/>
      </a:folHlink>
    </a:clrScheme>
    <a:fontScheme name="Custom 9">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PS New" id="{4EB5C47F-3DB3-48A5-94F6-D61450CF9D22}" vid="{E1F90190-1B4A-4B19-82C0-BA5BED2AC0DB}"/>
    </a:ext>
  </a:extLst>
</a:theme>
</file>

<file path=ppt/theme/theme4.xml><?xml version="1.0" encoding="utf-8"?>
<a:theme xmlns:a="http://schemas.openxmlformats.org/drawingml/2006/main" name="BLUEPRINT">
  <a:themeElements>
    <a:clrScheme name="BAR Dark">
      <a:dk1>
        <a:srgbClr val="000000"/>
      </a:dk1>
      <a:lt1>
        <a:srgbClr val="FFFFFF"/>
      </a:lt1>
      <a:dk2>
        <a:srgbClr val="091F2E"/>
      </a:dk2>
      <a:lt2>
        <a:srgbClr val="FFF8F3"/>
      </a:lt2>
      <a:accent1>
        <a:srgbClr val="C3B1E1"/>
      </a:accent1>
      <a:accent2>
        <a:srgbClr val="B9DBD0"/>
      </a:accent2>
      <a:accent3>
        <a:srgbClr val="8CC7E7"/>
      </a:accent3>
      <a:accent4>
        <a:srgbClr val="8660C4"/>
      </a:accent4>
      <a:accent5>
        <a:srgbClr val="48C4B1"/>
      </a:accent5>
      <a:accent6>
        <a:srgbClr val="0077D3"/>
      </a:accent6>
      <a:hlink>
        <a:srgbClr val="8CC7E7"/>
      </a:hlink>
      <a:folHlink>
        <a:srgbClr val="8CC7E7"/>
      </a:folHlink>
    </a:clrScheme>
    <a:fontScheme name="Custom 1">
      <a:majorFont>
        <a:latin typeface="Segoe Pro Cond Bold"/>
        <a:ea typeface=""/>
        <a:cs typeface=""/>
      </a:majorFont>
      <a:minorFont>
        <a:latin typeface="Segoe Pro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715F673F-5B19-486C-BA57-854FA516ACA1}"/>
    </a:ext>
  </a:extLst>
</a:theme>
</file>

<file path=ppt/theme/theme5.xml><?xml version="1.0" encoding="utf-8"?>
<a:theme xmlns:a="http://schemas.openxmlformats.org/drawingml/2006/main" name="Microsoft Template">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template_CB" id="{4B8AA69E-EBE7-4047-BF1F-90F6BA368CD2}" vid="{69C113E0-CB3F-4B54-852E-7E4528D7BA17}"/>
    </a:ext>
  </a:extLst>
</a:theme>
</file>

<file path=ppt/theme/theme6.xml><?xml version="1.0" encoding="utf-8"?>
<a:theme xmlns:a="http://schemas.openxmlformats.org/drawingml/2006/main" name="1_Microsoft Template">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Custom 5">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template_CB" id="{4B8AA69E-EBE7-4047-BF1F-90F6BA368CD2}" vid="{69C113E0-CB3F-4B54-852E-7E4528D7BA17}"/>
    </a:ext>
  </a:extLst>
</a:theme>
</file>

<file path=ppt/theme/theme7.xml><?xml version="1.0" encoding="utf-8"?>
<a:theme xmlns:a="http://schemas.openxmlformats.org/drawingml/2006/main" name="1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8.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9.xml><?xml version="1.0" encoding="utf-8"?>
<a:theme xmlns:a="http://schemas.openxmlformats.org/drawingml/2006/main" name="2_Microsoft Template">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template_CB" id="{4B8AA69E-EBE7-4047-BF1F-90F6BA368CD2}" vid="{69C113E0-CB3F-4B54-852E-7E4528D7BA17}"/>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themeOverrid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61</TotalTime>
  <Words>10191</Words>
  <Application>Microsoft Office PowerPoint</Application>
  <PresentationFormat>Widescreen</PresentationFormat>
  <Paragraphs>832</Paragraphs>
  <Slides>35</Slides>
  <Notes>34</Notes>
  <HiddenSlides>3</HiddenSlides>
  <MMClips>0</MMClips>
  <ScaleCrop>false</ScaleCrop>
  <HeadingPairs>
    <vt:vector size="8" baseType="variant">
      <vt:variant>
        <vt:lpstr>Fonts Used</vt:lpstr>
      </vt:variant>
      <vt:variant>
        <vt:i4>21</vt:i4>
      </vt:variant>
      <vt:variant>
        <vt:lpstr>Theme</vt:lpstr>
      </vt:variant>
      <vt:variant>
        <vt:i4>10</vt:i4>
      </vt:variant>
      <vt:variant>
        <vt:lpstr>Embedded OLE Servers</vt:lpstr>
      </vt:variant>
      <vt:variant>
        <vt:i4>1</vt:i4>
      </vt:variant>
      <vt:variant>
        <vt:lpstr>Slide Titles</vt:lpstr>
      </vt:variant>
      <vt:variant>
        <vt:i4>35</vt:i4>
      </vt:variant>
    </vt:vector>
  </HeadingPairs>
  <TitlesOfParts>
    <vt:vector size="67" baseType="lpstr">
      <vt:lpstr>Aptos</vt:lpstr>
      <vt:lpstr>Aptos Display</vt:lpstr>
      <vt:lpstr>Arial</vt:lpstr>
      <vt:lpstr>Arial,Sans-Serif</vt:lpstr>
      <vt:lpstr>Calibri</vt:lpstr>
      <vt:lpstr>Consolas</vt:lpstr>
      <vt:lpstr>Segoe Pro Cond Bold</vt:lpstr>
      <vt:lpstr>Segoe Pro Light</vt:lpstr>
      <vt:lpstr>Segoe Pro Semibold</vt:lpstr>
      <vt:lpstr>Segoe Sans</vt:lpstr>
      <vt:lpstr>Segoe Sans Display</vt:lpstr>
      <vt:lpstr>Segoe Sans Display Semibold</vt:lpstr>
      <vt:lpstr>Segoe UI</vt:lpstr>
      <vt:lpstr>Segoe UI (Body)</vt:lpstr>
      <vt:lpstr>Segoe UI Semibold</vt:lpstr>
      <vt:lpstr>Segoe UI Semibold (Headings)</vt:lpstr>
      <vt:lpstr>Segoe UI Semilight</vt:lpstr>
      <vt:lpstr>Segoe UI Variable Display Semib</vt:lpstr>
      <vt:lpstr>Segoe UI Variable Display Semibold</vt:lpstr>
      <vt:lpstr>Symbol</vt:lpstr>
      <vt:lpstr>Wingdings</vt:lpstr>
      <vt:lpstr>Office Theme</vt:lpstr>
      <vt:lpstr>6_Microsoft AI Tour 16:9 Template Light</vt:lpstr>
      <vt:lpstr>IPS New</vt:lpstr>
      <vt:lpstr>BLUEPRINT</vt:lpstr>
      <vt:lpstr>Microsoft Template</vt:lpstr>
      <vt:lpstr>1_Microsoft Template</vt:lpstr>
      <vt:lpstr>1_Microsoft AI Tour 16:9 Template Light</vt:lpstr>
      <vt:lpstr>Microsoft AI Tour 16:9 Template Light</vt:lpstr>
      <vt:lpstr>2_Microsoft Template</vt:lpstr>
      <vt:lpstr>3_IPS New</vt:lpstr>
      <vt:lpstr>think-cell Slide</vt:lpstr>
      <vt:lpstr>Becoming Frontier</vt:lpstr>
      <vt:lpstr>PowerPoint Presentation</vt:lpstr>
      <vt:lpstr>Journey to the Frontier Firm </vt:lpstr>
      <vt:lpstr>The industry’s rapid evolution is raising challenges for Energy and Resources</vt:lpstr>
      <vt:lpstr>AI is already transforming Energy and Resources</vt:lpstr>
      <vt:lpstr>Becoming Frontier</vt:lpstr>
      <vt:lpstr>AI First Differentiation</vt:lpstr>
      <vt:lpstr>Becoming Frontier</vt:lpstr>
      <vt:lpstr>Becoming Frontier | Energy and Resources</vt:lpstr>
      <vt:lpstr>Becoming Frontier | Energy and Resources </vt:lpstr>
      <vt:lpstr>Becoming Frontier | Energy and Resources</vt:lpstr>
      <vt:lpstr>FY26 Becoming Frontier in E&amp;R Energy &amp; Resources</vt:lpstr>
      <vt:lpstr>Enrich employee experiences</vt:lpstr>
      <vt:lpstr>Enrich employee experiences</vt:lpstr>
      <vt:lpstr>Real-time insights enhance worker safety while lowering operational costs at Chevron</vt:lpstr>
      <vt:lpstr>South32 links people, tech, and trust in data with Microsoft Purview Unified Catalog</vt:lpstr>
      <vt:lpstr>Reinvent customer engagement</vt:lpstr>
      <vt:lpstr>Eneco moves to Microsoft Copilot Studio to better support over  1.5 Million customers</vt:lpstr>
      <vt:lpstr>Pacific Gas &amp; Electric saves Millions each year by automating business processes with Power Platform</vt:lpstr>
      <vt:lpstr>Reshape business processes</vt:lpstr>
      <vt:lpstr>Powering the energy transition with AI and Copilot for Microsoft 365: Uniper optimizes processes and simplifies day-to-day operations</vt:lpstr>
      <vt:lpstr>E.ON UK powers transition to renewable energy with Dynamics 365</vt:lpstr>
      <vt:lpstr>Public utility Evergy saves over 120,000 hours per year with Power Platform</vt:lpstr>
      <vt:lpstr>Energy and Resources Gen AI Permitting Accelerator</vt:lpstr>
      <vt:lpstr>Bend the curve on innovation</vt:lpstr>
      <vt:lpstr>PETRONAS drives quality decision-making with fast, easy access to intelligent data hub built on Azure</vt:lpstr>
      <vt:lpstr>Enerjisa Üretim revolutionizes sustainable energy management with Microsoft Azure  and AI</vt:lpstr>
      <vt:lpstr>Aker BP transforms its data and operations with Microsoft Azure Data Manager for Energy</vt:lpstr>
      <vt:lpstr>Energy Asset Evaluation Accelerator</vt:lpstr>
      <vt:lpstr>PowerPoint Presentation</vt:lpstr>
      <vt:lpstr>PowerPoint Presentation</vt:lpstr>
      <vt:lpstr>Microsoft’s AI Advantage </vt:lpstr>
      <vt:lpstr>PowerPoint Presentation</vt:lpstr>
      <vt:lpstr>Top AI use cases for Energy and Resources</vt:lpstr>
      <vt:lpstr>Take the next step with Microsof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wa Airhiavbere</dc:creator>
  <cp:lastModifiedBy>Jeffrey Bennett</cp:lastModifiedBy>
  <cp:revision>2</cp:revision>
  <dcterms:created xsi:type="dcterms:W3CDTF">2025-10-06T16:36:45Z</dcterms:created>
  <dcterms:modified xsi:type="dcterms:W3CDTF">2025-10-28T18:05:21Z</dcterms:modified>
</cp:coreProperties>
</file>